
<file path=[Content_Types].xml><?xml version="1.0" encoding="utf-8"?>
<Types xmlns="http://schemas.openxmlformats.org/package/2006/content-types">
  <Default Extension="bin" ContentType="application/vnd.openxmlformats-officedocument.presentationml.printerSettings"/>
  <Default Extension="png" ContentType="image/png"/>
  <Default Extension="jpeg" ContentType="image/jpeg"/>
  <Default Extension="rels" ContentType="application/vnd.openxmlformats-package.relationships+xml"/>
  <Default Extension="emf" ContentType="image/x-emf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4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3.xml" ContentType="application/vnd.openxmlformats-officedocument.presentationml.slide+xml"/>
  <Override PartName="/ppt/slides/slide5.xml" ContentType="application/vnd.openxmlformats-officedocument.presentationml.slide+xml"/>
  <Override PartName="/ppt/notesSlides/notesSlide1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notesSlides/notesSlide2.xml" ContentType="application/vnd.openxmlformats-officedocument.presentationml.notesSlid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embeddings/oleObject2.bin" ContentType="application/vnd.openxmlformats-officedocument.oleObject"/>
  <Override PartName="/ppt/embeddings/oleObject1.bin" ContentType="application/vnd.openxmlformats-officedocument.oleObject"/>
  <Override PartName="/ppt/notesMasters/notesMaster1.xml" ContentType="application/vnd.openxmlformats-officedocument.presentationml.notesMaster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53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5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0.xml" ContentType="application/vnd.openxmlformats-officedocument.presentationml.tags+xml"/>
  <Override PartName="/ppt/tags/tag269.xml" ContentType="application/vnd.openxmlformats-officedocument.presentationml.tags+xml"/>
  <Override PartName="/ppt/tags/tag273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84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4.xml" ContentType="application/vnd.openxmlformats-officedocument.presentationml.tags+xml"/>
  <Override PartName="/ppt/tags/tag290.xml" ContentType="application/vnd.openxmlformats-officedocument.presentationml.tags+xml"/>
  <Override PartName="/ppt/tags/tag28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296.xml" ContentType="application/vnd.openxmlformats-officedocument.presentationml.tags+xml"/>
  <Override PartName="/ppt/tags/tag295.xml" ContentType="application/vnd.openxmlformats-officedocument.presentationml.tags+xml"/>
  <Override PartName="/ppt/tags/tag294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65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85.xml" ContentType="application/vnd.openxmlformats-officedocument.presentationml.tags+xml"/>
  <Override PartName="/ppt/tags/tag259.xml" ContentType="application/vnd.openxmlformats-officedocument.presentationml.tags+xml"/>
  <Override PartName="/ppt/tags/tag263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35.xml" ContentType="application/vnd.openxmlformats-officedocument.presentationml.tags+xml"/>
  <Override PartName="/ppt/tags/tag234.xml" ContentType="application/vnd.openxmlformats-officedocument.presentationml.tags+xml"/>
  <Override PartName="/ppt/tags/tag233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304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55.xml" ContentType="application/vnd.openxmlformats-officedocument.presentationml.tags+xml"/>
  <Override PartName="/ppt/tags/tag254.xml" ContentType="application/vnd.openxmlformats-officedocument.presentationml.tags+xml"/>
  <Override PartName="/ppt/tags/tag253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64.xml" ContentType="application/vnd.openxmlformats-officedocument.presentationml.tags+xml"/>
  <Override PartName="/ppt/tags/tag311.xml" ContentType="application/vnd.openxmlformats-officedocument.presentationml.tags+xml"/>
  <Override PartName="/ppt/tags/tag306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16.xml" ContentType="application/vnd.openxmlformats-officedocument.presentationml.tags+xml"/>
  <Override PartName="/ppt/tags/tag315.xml" ContentType="application/vnd.openxmlformats-officedocument.presentationml.tags+xml"/>
  <Override PartName="/ppt/tags/tag314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225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24.xml" ContentType="application/vnd.openxmlformats-officedocument.presentationml.tags+xml"/>
  <Override PartName="/ppt/tags/tag52.xml" ContentType="application/vnd.openxmlformats-officedocument.presentationml.tags+xml"/>
  <Override PartName="/ppt/tags/tag51.xml" ContentType="application/vnd.openxmlformats-officedocument.presentationml.tags+xml"/>
  <Override PartName="/ppt/tags/tag46.xml" ContentType="application/vnd.openxmlformats-officedocument.presentationml.tags+xml"/>
  <Override PartName="/ppt/tags/tag45.xml" ContentType="application/vnd.openxmlformats-officedocument.presentationml.tag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330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325.xml" ContentType="application/vnd.openxmlformats-officedocument.presentationml.tags+xml"/>
  <Override PartName="/ppt/tags/tag50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49.xml" ContentType="application/vnd.openxmlformats-officedocument.presentationml.tags+xml"/>
  <Override PartName="/ppt/tags/tag305.xml" ContentType="application/vnd.openxmlformats-officedocument.presentationml.tags+xml"/>
  <Override PartName="/ppt/tags/tag224.xml" ContentType="application/vnd.openxmlformats-officedocument.presentationml.tags+xml"/>
  <Override PartName="/ppt/tags/tag223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07.xml" ContentType="application/vnd.openxmlformats-officedocument.presentationml.tags+xml"/>
  <Override PartName="/ppt/tags/tag106.xml" ContentType="application/vnd.openxmlformats-officedocument.presentationml.tags+xml"/>
  <Override PartName="/ppt/tags/tag105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28.xml" ContentType="application/vnd.openxmlformats-officedocument.presentationml.tags+xml"/>
  <Override PartName="/ppt/tags/tag127.xml" ContentType="application/vnd.openxmlformats-officedocument.presentationml.tags+xml"/>
  <Override PartName="/ppt/tags/tag126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96.xml" ContentType="application/vnd.openxmlformats-officedocument.presentationml.tags+xml"/>
  <Override PartName="/ppt/tags/tag95.xml" ContentType="application/vnd.openxmlformats-officedocument.presentationml.tags+xml"/>
  <Override PartName="/ppt/tags/tag9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64.xml" ContentType="application/vnd.openxmlformats-officedocument.presentationml.tags+xml"/>
  <Override PartName="/ppt/tags/tag63.xml" ContentType="application/vnd.openxmlformats-officedocument.presentationml.tags+xml"/>
  <Override PartName="/ppt/tags/tag62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85.xml" ContentType="application/vnd.openxmlformats-officedocument.presentationml.tags+xml"/>
  <Override PartName="/ppt/tags/tag84.xml" ContentType="application/vnd.openxmlformats-officedocument.presentationml.tags+xml"/>
  <Override PartName="/ppt/tags/tag83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193.xml" ContentType="application/vnd.openxmlformats-officedocument.presentationml.tags+xml"/>
  <Override PartName="/ppt/tags/tag192.xml" ContentType="application/vnd.openxmlformats-officedocument.presentationml.tags+xml"/>
  <Override PartName="/ppt/tags/tag191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14.xml" ContentType="application/vnd.openxmlformats-officedocument.presentationml.tags+xml"/>
  <Override PartName="/ppt/tags/tag213.xml" ContentType="application/vnd.openxmlformats-officedocument.presentationml.tags+xml"/>
  <Override PartName="/ppt/tags/tag212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182.xml" ContentType="application/vnd.openxmlformats-officedocument.presentationml.tags+xml"/>
  <Override PartName="/ppt/tags/tag181.xml" ContentType="application/vnd.openxmlformats-officedocument.presentationml.tags+xml"/>
  <Override PartName="/ppt/tags/tag18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0.xml" ContentType="application/vnd.openxmlformats-officedocument.presentationml.tags+xml"/>
  <Override PartName="/ppt/tags/tag149.xml" ContentType="application/vnd.openxmlformats-officedocument.presentationml.tags+xml"/>
  <Override PartName="/ppt/tags/tag148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71.xml" ContentType="application/vnd.openxmlformats-officedocument.presentationml.tags+xml"/>
  <Override PartName="/ppt/tags/tag170.xml" ContentType="application/vnd.openxmlformats-officedocument.presentationml.tags+xml"/>
  <Override PartName="/ppt/tags/tag169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8" r:id="rId1"/>
    <p:sldMasterId id="2147483690" r:id="rId2"/>
    <p:sldMasterId id="2147483714" r:id="rId3"/>
  </p:sldMasterIdLst>
  <p:notesMasterIdLst>
    <p:notesMasterId r:id="rId11"/>
  </p:notesMasterIdLst>
  <p:sldIdLst>
    <p:sldId id="256" r:id="rId4"/>
    <p:sldId id="258" r:id="rId5"/>
    <p:sldId id="260" r:id="rId6"/>
    <p:sldId id="259" r:id="rId7"/>
    <p:sldId id="263" r:id="rId8"/>
    <p:sldId id="261" r:id="rId9"/>
    <p:sldId id="262" r:id="rId10"/>
  </p:sldIdLst>
  <p:sldSz cx="9144000" cy="6858000" type="screen4x3"/>
  <p:notesSz cx="6858000" cy="9144000"/>
  <p:defaultTextStyle>
    <a:defPPr>
      <a:defRPr lang="ru-RU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F3FA"/>
    <a:srgbClr val="90C2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>
        <p:scale>
          <a:sx n="152" d="100"/>
          <a:sy n="152" d="100"/>
        </p:scale>
        <p:origin x="-272" y="170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presProps" Target="presProps.xml"/><Relationship Id="rId8" Type="http://schemas.openxmlformats.org/officeDocument/2006/relationships/slide" Target="slides/slide5.xml"/><Relationship Id="rId18" Type="http://schemas.openxmlformats.org/officeDocument/2006/relationships/customXml" Target="../customXml/item2.xml"/><Relationship Id="rId3" Type="http://schemas.openxmlformats.org/officeDocument/2006/relationships/slideMaster" Target="slideMasters/slideMaster3.xml"/><Relationship Id="rId12" Type="http://schemas.openxmlformats.org/officeDocument/2006/relationships/printerSettings" Target="printerSettings/printerSettings1.bin"/><Relationship Id="rId7" Type="http://schemas.openxmlformats.org/officeDocument/2006/relationships/slide" Target="slides/slide4.xml"/><Relationship Id="rId17" Type="http://schemas.openxmlformats.org/officeDocument/2006/relationships/customXml" Target="../customXml/item1.xml"/><Relationship Id="rId1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customXml" Target="../customXml/item3.xml"/><Relationship Id="rId14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A9073F-0148-D54B-848A-0CD440EAEDC6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5CA37C-5659-704E-B0AB-19E0B5FD0A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79539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B8291F-7122-4223-8777-35D50163381A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2139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B8291F-7122-4223-8777-35D50163381A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61960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 bwMode="auto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371600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Образец заголовка</a:t>
            </a:r>
            <a:endParaRPr lang="ru-RU" noProof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95400" y="3048000"/>
            <a:ext cx="6400800" cy="6858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noProof="0" smtClean="0"/>
              <a:t>Образец подзаголовка</a:t>
            </a:r>
            <a:endParaRPr lang="ru-RU" noProof="0" smtClean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 sz="1200"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 sz="1200"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95172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48652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 bwMode="auto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371600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Образец заголовка</a:t>
            </a:r>
            <a:endParaRPr lang="ru-RU" noProof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95400" y="3048000"/>
            <a:ext cx="6400800" cy="6858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noProof="0" smtClean="0"/>
              <a:t>Образец подзаголовка</a:t>
            </a:r>
            <a:endParaRPr lang="ru-RU" noProof="0" smtClean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 sz="1200"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 sz="1200"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89651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03911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59201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26654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45990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46094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01843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89651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Чтобы добавить рисунок, перетащите его на заполнитель или щелкните значок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59660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95172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48652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 bwMode="auto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371600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Образец заголовка</a:t>
            </a:r>
            <a:endParaRPr lang="ru-RU" noProof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95400" y="3048000"/>
            <a:ext cx="6400800" cy="6858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noProof="0" smtClean="0"/>
              <a:t>Образец подзаголовка</a:t>
            </a:r>
            <a:endParaRPr lang="ru-RU" noProof="0" smtClean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 sz="1200"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 sz="1200"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89651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03911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59201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26654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45990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46094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03911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01843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Чтобы добавить рисунок, перетащите его на заполнитель или щелкните значок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596605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95172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48652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323529" y="1268760"/>
            <a:ext cx="8496944" cy="4896544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Line 33"/>
          <p:cNvSpPr>
            <a:spLocks noChangeShapeType="1"/>
          </p:cNvSpPr>
          <p:nvPr userDrawn="1"/>
        </p:nvSpPr>
        <p:spPr bwMode="gray">
          <a:xfrm>
            <a:off x="0" y="6381328"/>
            <a:ext cx="913667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GB" sz="1950" dirty="0">
              <a:solidFill>
                <a:srgbClr val="000000"/>
              </a:solidFill>
            </a:endParaRPr>
          </a:p>
        </p:txBody>
      </p:sp>
      <p:sp>
        <p:nvSpPr>
          <p:cNvPr id="5" name="Line 31"/>
          <p:cNvSpPr>
            <a:spLocks noChangeShapeType="1"/>
          </p:cNvSpPr>
          <p:nvPr userDrawn="1"/>
        </p:nvSpPr>
        <p:spPr bwMode="gray">
          <a:xfrm>
            <a:off x="0" y="908720"/>
            <a:ext cx="913667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GB" sz="1950" dirty="0">
              <a:solidFill>
                <a:srgbClr val="000000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923638" y="43432"/>
            <a:ext cx="3124200" cy="313088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ru-RU" sz="1400" b="0" dirty="0" smtClean="0"/>
              <a:t>Иллюстративный пример</a:t>
            </a:r>
            <a:endParaRPr lang="en-US" sz="900" b="0" dirty="0"/>
          </a:p>
        </p:txBody>
      </p:sp>
    </p:spTree>
    <p:extLst>
      <p:ext uri="{BB962C8B-B14F-4D97-AF65-F5344CB8AC3E}">
        <p14:creationId xmlns:p14="http://schemas.microsoft.com/office/powerpoint/2010/main" val="22952903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Key Issues Box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2123728" y="116632"/>
            <a:ext cx="6768226" cy="576064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251520" y="1196752"/>
            <a:ext cx="8640960" cy="4896544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33"/>
          <p:cNvSpPr>
            <a:spLocks noChangeShapeType="1"/>
          </p:cNvSpPr>
          <p:nvPr userDrawn="1"/>
        </p:nvSpPr>
        <p:spPr bwMode="gray">
          <a:xfrm>
            <a:off x="0" y="6381328"/>
            <a:ext cx="913667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GB" sz="1950" dirty="0"/>
          </a:p>
        </p:txBody>
      </p:sp>
      <p:sp>
        <p:nvSpPr>
          <p:cNvPr id="9" name="Line 31"/>
          <p:cNvSpPr>
            <a:spLocks noChangeShapeType="1"/>
          </p:cNvSpPr>
          <p:nvPr userDrawn="1"/>
        </p:nvSpPr>
        <p:spPr bwMode="gray">
          <a:xfrm>
            <a:off x="0" y="908720"/>
            <a:ext cx="913667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GB" sz="1950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923638" y="43432"/>
            <a:ext cx="3124200" cy="313088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ru-RU" sz="1400" b="0" dirty="0" smtClean="0"/>
              <a:t>Иллюстративный пример</a:t>
            </a:r>
            <a:endParaRPr lang="en-US" sz="900" b="0" dirty="0"/>
          </a:p>
        </p:txBody>
      </p:sp>
    </p:spTree>
    <p:extLst>
      <p:ext uri="{BB962C8B-B14F-4D97-AF65-F5344CB8AC3E}">
        <p14:creationId xmlns:p14="http://schemas.microsoft.com/office/powerpoint/2010/main" val="15219489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59201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26654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45990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4609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01843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Чтобы добавить рисунок, перетащите его на заполнитель или щелкните значок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59660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3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5.xml"/><Relationship Id="rId14" Type="http://schemas.openxmlformats.org/officeDocument/2006/relationships/theme" Target="../theme/theme3.xml"/><Relationship Id="rId15" Type="http://schemas.openxmlformats.org/officeDocument/2006/relationships/image" Target="../media/image1.png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7.xml"/><Relationship Id="rId6" Type="http://schemas.openxmlformats.org/officeDocument/2006/relationships/slideLayout" Target="../slideLayouts/slideLayout28.xml"/><Relationship Id="rId7" Type="http://schemas.openxmlformats.org/officeDocument/2006/relationships/slideLayout" Target="../slideLayouts/slideLayout29.xml"/><Relationship Id="rId8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+mn-lt"/>
              </a:defRPr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</a:defRPr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+mn-lt"/>
              </a:defRPr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</a:defRPr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+mn-lt"/>
              </a:defRPr>
            </a:lvl1pPr>
          </a:lstStyle>
          <a:p>
            <a:fld id="{121B8116-5848-8541-9B9F-30A5C3129947}" type="datetimeFigureOut">
              <a:rPr lang="ru-RU" smtClean="0"/>
              <a:t>01.12.15</a:t>
            </a:fld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</a:defRPr>
            </a:lvl1pPr>
          </a:lstStyle>
          <a:p>
            <a:fld id="{C978706A-1229-C645-A751-3A6F1032DCB2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rebuchet MS" charset="0"/>
          <a:ea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106" Type="http://schemas.openxmlformats.org/officeDocument/2006/relationships/tags" Target="../tags/tag105.xml"/><Relationship Id="rId107" Type="http://schemas.openxmlformats.org/officeDocument/2006/relationships/tags" Target="../tags/tag106.xml"/><Relationship Id="rId108" Type="http://schemas.openxmlformats.org/officeDocument/2006/relationships/tags" Target="../tags/tag107.xml"/><Relationship Id="rId109" Type="http://schemas.openxmlformats.org/officeDocument/2006/relationships/tags" Target="../tags/tag108.xml"/><Relationship Id="rId70" Type="http://schemas.openxmlformats.org/officeDocument/2006/relationships/tags" Target="../tags/tag69.xml"/><Relationship Id="rId71" Type="http://schemas.openxmlformats.org/officeDocument/2006/relationships/tags" Target="../tags/tag70.xml"/><Relationship Id="rId72" Type="http://schemas.openxmlformats.org/officeDocument/2006/relationships/tags" Target="../tags/tag71.xml"/><Relationship Id="rId73" Type="http://schemas.openxmlformats.org/officeDocument/2006/relationships/tags" Target="../tags/tag72.xml"/><Relationship Id="rId74" Type="http://schemas.openxmlformats.org/officeDocument/2006/relationships/tags" Target="../tags/tag73.xml"/><Relationship Id="rId75" Type="http://schemas.openxmlformats.org/officeDocument/2006/relationships/tags" Target="../tags/tag74.xml"/><Relationship Id="rId76" Type="http://schemas.openxmlformats.org/officeDocument/2006/relationships/tags" Target="../tags/tag75.xml"/><Relationship Id="rId77" Type="http://schemas.openxmlformats.org/officeDocument/2006/relationships/tags" Target="../tags/tag76.xml"/><Relationship Id="rId78" Type="http://schemas.openxmlformats.org/officeDocument/2006/relationships/tags" Target="../tags/tag77.xml"/><Relationship Id="rId79" Type="http://schemas.openxmlformats.org/officeDocument/2006/relationships/tags" Target="../tags/tag78.xml"/><Relationship Id="rId170" Type="http://schemas.openxmlformats.org/officeDocument/2006/relationships/tags" Target="../tags/tag169.xml"/><Relationship Id="rId171" Type="http://schemas.openxmlformats.org/officeDocument/2006/relationships/tags" Target="../tags/tag170.xml"/><Relationship Id="rId172" Type="http://schemas.openxmlformats.org/officeDocument/2006/relationships/tags" Target="../tags/tag171.xml"/><Relationship Id="rId173" Type="http://schemas.openxmlformats.org/officeDocument/2006/relationships/tags" Target="../tags/tag172.xml"/><Relationship Id="rId174" Type="http://schemas.openxmlformats.org/officeDocument/2006/relationships/tags" Target="../tags/tag173.xml"/><Relationship Id="rId175" Type="http://schemas.openxmlformats.org/officeDocument/2006/relationships/tags" Target="../tags/tag174.xml"/><Relationship Id="rId176" Type="http://schemas.openxmlformats.org/officeDocument/2006/relationships/tags" Target="../tags/tag175.xml"/><Relationship Id="rId177" Type="http://schemas.openxmlformats.org/officeDocument/2006/relationships/tags" Target="../tags/tag176.xml"/><Relationship Id="rId178" Type="http://schemas.openxmlformats.org/officeDocument/2006/relationships/tags" Target="../tags/tag177.xml"/><Relationship Id="rId179" Type="http://schemas.openxmlformats.org/officeDocument/2006/relationships/tags" Target="../tags/tag178.xml"/><Relationship Id="rId260" Type="http://schemas.openxmlformats.org/officeDocument/2006/relationships/tags" Target="../tags/tag259.xml"/><Relationship Id="rId10" Type="http://schemas.openxmlformats.org/officeDocument/2006/relationships/tags" Target="../tags/tag9.xml"/><Relationship Id="rId11" Type="http://schemas.openxmlformats.org/officeDocument/2006/relationships/tags" Target="../tags/tag10.xml"/><Relationship Id="rId12" Type="http://schemas.openxmlformats.org/officeDocument/2006/relationships/tags" Target="../tags/tag11.xml"/><Relationship Id="rId13" Type="http://schemas.openxmlformats.org/officeDocument/2006/relationships/tags" Target="../tags/tag12.xml"/><Relationship Id="rId14" Type="http://schemas.openxmlformats.org/officeDocument/2006/relationships/tags" Target="../tags/tag13.xml"/><Relationship Id="rId15" Type="http://schemas.openxmlformats.org/officeDocument/2006/relationships/tags" Target="../tags/tag14.xml"/><Relationship Id="rId16" Type="http://schemas.openxmlformats.org/officeDocument/2006/relationships/tags" Target="../tags/tag15.xml"/><Relationship Id="rId17" Type="http://schemas.openxmlformats.org/officeDocument/2006/relationships/tags" Target="../tags/tag16.xml"/><Relationship Id="rId18" Type="http://schemas.openxmlformats.org/officeDocument/2006/relationships/tags" Target="../tags/tag17.xml"/><Relationship Id="rId19" Type="http://schemas.openxmlformats.org/officeDocument/2006/relationships/tags" Target="../tags/tag18.xml"/><Relationship Id="rId261" Type="http://schemas.openxmlformats.org/officeDocument/2006/relationships/tags" Target="../tags/tag260.xml"/><Relationship Id="rId262" Type="http://schemas.openxmlformats.org/officeDocument/2006/relationships/tags" Target="../tags/tag261.xml"/><Relationship Id="rId263" Type="http://schemas.openxmlformats.org/officeDocument/2006/relationships/tags" Target="../tags/tag262.xml"/><Relationship Id="rId264" Type="http://schemas.openxmlformats.org/officeDocument/2006/relationships/tags" Target="../tags/tag263.xml"/><Relationship Id="rId110" Type="http://schemas.openxmlformats.org/officeDocument/2006/relationships/tags" Target="../tags/tag109.xml"/><Relationship Id="rId111" Type="http://schemas.openxmlformats.org/officeDocument/2006/relationships/tags" Target="../tags/tag110.xml"/><Relationship Id="rId112" Type="http://schemas.openxmlformats.org/officeDocument/2006/relationships/tags" Target="../tags/tag111.xml"/><Relationship Id="rId113" Type="http://schemas.openxmlformats.org/officeDocument/2006/relationships/tags" Target="../tags/tag112.xml"/><Relationship Id="rId114" Type="http://schemas.openxmlformats.org/officeDocument/2006/relationships/tags" Target="../tags/tag113.xml"/><Relationship Id="rId115" Type="http://schemas.openxmlformats.org/officeDocument/2006/relationships/tags" Target="../tags/tag114.xml"/><Relationship Id="rId116" Type="http://schemas.openxmlformats.org/officeDocument/2006/relationships/tags" Target="../tags/tag115.xml"/><Relationship Id="rId117" Type="http://schemas.openxmlformats.org/officeDocument/2006/relationships/tags" Target="../tags/tag116.xml"/><Relationship Id="rId118" Type="http://schemas.openxmlformats.org/officeDocument/2006/relationships/tags" Target="../tags/tag117.xml"/><Relationship Id="rId119" Type="http://schemas.openxmlformats.org/officeDocument/2006/relationships/tags" Target="../tags/tag118.xml"/><Relationship Id="rId200" Type="http://schemas.openxmlformats.org/officeDocument/2006/relationships/tags" Target="../tags/tag199.xml"/><Relationship Id="rId201" Type="http://schemas.openxmlformats.org/officeDocument/2006/relationships/tags" Target="../tags/tag200.xml"/><Relationship Id="rId202" Type="http://schemas.openxmlformats.org/officeDocument/2006/relationships/tags" Target="../tags/tag201.xml"/><Relationship Id="rId203" Type="http://schemas.openxmlformats.org/officeDocument/2006/relationships/tags" Target="../tags/tag202.xml"/><Relationship Id="rId204" Type="http://schemas.openxmlformats.org/officeDocument/2006/relationships/tags" Target="../tags/tag203.xml"/><Relationship Id="rId205" Type="http://schemas.openxmlformats.org/officeDocument/2006/relationships/tags" Target="../tags/tag204.xml"/><Relationship Id="rId206" Type="http://schemas.openxmlformats.org/officeDocument/2006/relationships/tags" Target="../tags/tag205.xml"/><Relationship Id="rId207" Type="http://schemas.openxmlformats.org/officeDocument/2006/relationships/tags" Target="../tags/tag206.xml"/><Relationship Id="rId208" Type="http://schemas.openxmlformats.org/officeDocument/2006/relationships/tags" Target="../tags/tag207.xml"/><Relationship Id="rId209" Type="http://schemas.openxmlformats.org/officeDocument/2006/relationships/tags" Target="../tags/tag208.xml"/><Relationship Id="rId265" Type="http://schemas.openxmlformats.org/officeDocument/2006/relationships/tags" Target="../tags/tag264.xml"/><Relationship Id="rId266" Type="http://schemas.openxmlformats.org/officeDocument/2006/relationships/tags" Target="../tags/tag265.xml"/><Relationship Id="rId267" Type="http://schemas.openxmlformats.org/officeDocument/2006/relationships/tags" Target="../tags/tag266.xml"/><Relationship Id="rId268" Type="http://schemas.openxmlformats.org/officeDocument/2006/relationships/tags" Target="../tags/tag267.xml"/><Relationship Id="rId269" Type="http://schemas.openxmlformats.org/officeDocument/2006/relationships/tags" Target="../tags/tag268.xml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tags" Target="../tags/tag5.xml"/><Relationship Id="rId7" Type="http://schemas.openxmlformats.org/officeDocument/2006/relationships/tags" Target="../tags/tag6.xml"/><Relationship Id="rId8" Type="http://schemas.openxmlformats.org/officeDocument/2006/relationships/tags" Target="../tags/tag7.xml"/><Relationship Id="rId9" Type="http://schemas.openxmlformats.org/officeDocument/2006/relationships/tags" Target="../tags/tag8.xml"/><Relationship Id="rId80" Type="http://schemas.openxmlformats.org/officeDocument/2006/relationships/tags" Target="../tags/tag79.xml"/><Relationship Id="rId81" Type="http://schemas.openxmlformats.org/officeDocument/2006/relationships/tags" Target="../tags/tag80.xml"/><Relationship Id="rId82" Type="http://schemas.openxmlformats.org/officeDocument/2006/relationships/tags" Target="../tags/tag81.xml"/><Relationship Id="rId83" Type="http://schemas.openxmlformats.org/officeDocument/2006/relationships/tags" Target="../tags/tag82.xml"/><Relationship Id="rId84" Type="http://schemas.openxmlformats.org/officeDocument/2006/relationships/tags" Target="../tags/tag83.xml"/><Relationship Id="rId85" Type="http://schemas.openxmlformats.org/officeDocument/2006/relationships/tags" Target="../tags/tag84.xml"/><Relationship Id="rId86" Type="http://schemas.openxmlformats.org/officeDocument/2006/relationships/tags" Target="../tags/tag85.xml"/><Relationship Id="rId87" Type="http://schemas.openxmlformats.org/officeDocument/2006/relationships/tags" Target="../tags/tag86.xml"/><Relationship Id="rId88" Type="http://schemas.openxmlformats.org/officeDocument/2006/relationships/tags" Target="../tags/tag87.xml"/><Relationship Id="rId89" Type="http://schemas.openxmlformats.org/officeDocument/2006/relationships/tags" Target="../tags/tag88.xml"/><Relationship Id="rId180" Type="http://schemas.openxmlformats.org/officeDocument/2006/relationships/tags" Target="../tags/tag179.xml"/><Relationship Id="rId181" Type="http://schemas.openxmlformats.org/officeDocument/2006/relationships/tags" Target="../tags/tag180.xml"/><Relationship Id="rId182" Type="http://schemas.openxmlformats.org/officeDocument/2006/relationships/tags" Target="../tags/tag181.xml"/><Relationship Id="rId183" Type="http://schemas.openxmlformats.org/officeDocument/2006/relationships/tags" Target="../tags/tag182.xml"/><Relationship Id="rId184" Type="http://schemas.openxmlformats.org/officeDocument/2006/relationships/tags" Target="../tags/tag183.xml"/><Relationship Id="rId185" Type="http://schemas.openxmlformats.org/officeDocument/2006/relationships/tags" Target="../tags/tag184.xml"/><Relationship Id="rId186" Type="http://schemas.openxmlformats.org/officeDocument/2006/relationships/tags" Target="../tags/tag185.xml"/><Relationship Id="rId187" Type="http://schemas.openxmlformats.org/officeDocument/2006/relationships/tags" Target="../tags/tag186.xml"/><Relationship Id="rId188" Type="http://schemas.openxmlformats.org/officeDocument/2006/relationships/tags" Target="../tags/tag187.xml"/><Relationship Id="rId189" Type="http://schemas.openxmlformats.org/officeDocument/2006/relationships/tags" Target="../tags/tag188.xml"/><Relationship Id="rId270" Type="http://schemas.openxmlformats.org/officeDocument/2006/relationships/tags" Target="../tags/tag269.xml"/><Relationship Id="rId20" Type="http://schemas.openxmlformats.org/officeDocument/2006/relationships/tags" Target="../tags/tag19.xml"/><Relationship Id="rId21" Type="http://schemas.openxmlformats.org/officeDocument/2006/relationships/tags" Target="../tags/tag20.xml"/><Relationship Id="rId22" Type="http://schemas.openxmlformats.org/officeDocument/2006/relationships/tags" Target="../tags/tag21.xml"/><Relationship Id="rId23" Type="http://schemas.openxmlformats.org/officeDocument/2006/relationships/tags" Target="../tags/tag22.xml"/><Relationship Id="rId24" Type="http://schemas.openxmlformats.org/officeDocument/2006/relationships/tags" Target="../tags/tag23.xml"/><Relationship Id="rId25" Type="http://schemas.openxmlformats.org/officeDocument/2006/relationships/tags" Target="../tags/tag24.xml"/><Relationship Id="rId26" Type="http://schemas.openxmlformats.org/officeDocument/2006/relationships/tags" Target="../tags/tag25.xml"/><Relationship Id="rId27" Type="http://schemas.openxmlformats.org/officeDocument/2006/relationships/tags" Target="../tags/tag26.xml"/><Relationship Id="rId28" Type="http://schemas.openxmlformats.org/officeDocument/2006/relationships/tags" Target="../tags/tag27.xml"/><Relationship Id="rId29" Type="http://schemas.openxmlformats.org/officeDocument/2006/relationships/tags" Target="../tags/tag28.xml"/><Relationship Id="rId271" Type="http://schemas.openxmlformats.org/officeDocument/2006/relationships/tags" Target="../tags/tag270.xml"/><Relationship Id="rId272" Type="http://schemas.openxmlformats.org/officeDocument/2006/relationships/tags" Target="../tags/tag271.xml"/><Relationship Id="rId273" Type="http://schemas.openxmlformats.org/officeDocument/2006/relationships/tags" Target="../tags/tag272.xml"/><Relationship Id="rId274" Type="http://schemas.openxmlformats.org/officeDocument/2006/relationships/tags" Target="../tags/tag273.xml"/><Relationship Id="rId120" Type="http://schemas.openxmlformats.org/officeDocument/2006/relationships/tags" Target="../tags/tag119.xml"/><Relationship Id="rId121" Type="http://schemas.openxmlformats.org/officeDocument/2006/relationships/tags" Target="../tags/tag120.xml"/><Relationship Id="rId122" Type="http://schemas.openxmlformats.org/officeDocument/2006/relationships/tags" Target="../tags/tag121.xml"/><Relationship Id="rId123" Type="http://schemas.openxmlformats.org/officeDocument/2006/relationships/tags" Target="../tags/tag122.xml"/><Relationship Id="rId124" Type="http://schemas.openxmlformats.org/officeDocument/2006/relationships/tags" Target="../tags/tag123.xml"/><Relationship Id="rId125" Type="http://schemas.openxmlformats.org/officeDocument/2006/relationships/tags" Target="../tags/tag124.xml"/><Relationship Id="rId126" Type="http://schemas.openxmlformats.org/officeDocument/2006/relationships/tags" Target="../tags/tag125.xml"/><Relationship Id="rId127" Type="http://schemas.openxmlformats.org/officeDocument/2006/relationships/tags" Target="../tags/tag126.xml"/><Relationship Id="rId128" Type="http://schemas.openxmlformats.org/officeDocument/2006/relationships/tags" Target="../tags/tag127.xml"/><Relationship Id="rId129" Type="http://schemas.openxmlformats.org/officeDocument/2006/relationships/tags" Target="../tags/tag128.xml"/><Relationship Id="rId210" Type="http://schemas.openxmlformats.org/officeDocument/2006/relationships/tags" Target="../tags/tag209.xml"/><Relationship Id="rId211" Type="http://schemas.openxmlformats.org/officeDocument/2006/relationships/tags" Target="../tags/tag210.xml"/><Relationship Id="rId212" Type="http://schemas.openxmlformats.org/officeDocument/2006/relationships/tags" Target="../tags/tag211.xml"/><Relationship Id="rId213" Type="http://schemas.openxmlformats.org/officeDocument/2006/relationships/tags" Target="../tags/tag212.xml"/><Relationship Id="rId214" Type="http://schemas.openxmlformats.org/officeDocument/2006/relationships/tags" Target="../tags/tag213.xml"/><Relationship Id="rId215" Type="http://schemas.openxmlformats.org/officeDocument/2006/relationships/tags" Target="../tags/tag214.xml"/><Relationship Id="rId216" Type="http://schemas.openxmlformats.org/officeDocument/2006/relationships/tags" Target="../tags/tag215.xml"/><Relationship Id="rId217" Type="http://schemas.openxmlformats.org/officeDocument/2006/relationships/tags" Target="../tags/tag216.xml"/><Relationship Id="rId218" Type="http://schemas.openxmlformats.org/officeDocument/2006/relationships/tags" Target="../tags/tag217.xml"/><Relationship Id="rId219" Type="http://schemas.openxmlformats.org/officeDocument/2006/relationships/tags" Target="../tags/tag218.xml"/><Relationship Id="rId275" Type="http://schemas.openxmlformats.org/officeDocument/2006/relationships/tags" Target="../tags/tag274.xml"/><Relationship Id="rId276" Type="http://schemas.openxmlformats.org/officeDocument/2006/relationships/tags" Target="../tags/tag275.xml"/><Relationship Id="rId277" Type="http://schemas.openxmlformats.org/officeDocument/2006/relationships/tags" Target="../tags/tag276.xml"/><Relationship Id="rId278" Type="http://schemas.openxmlformats.org/officeDocument/2006/relationships/tags" Target="../tags/tag277.xml"/><Relationship Id="rId279" Type="http://schemas.openxmlformats.org/officeDocument/2006/relationships/tags" Target="../tags/tag278.xml"/><Relationship Id="rId300" Type="http://schemas.openxmlformats.org/officeDocument/2006/relationships/tags" Target="../tags/tag299.xml"/><Relationship Id="rId301" Type="http://schemas.openxmlformats.org/officeDocument/2006/relationships/tags" Target="../tags/tag300.xml"/><Relationship Id="rId302" Type="http://schemas.openxmlformats.org/officeDocument/2006/relationships/tags" Target="../tags/tag301.xml"/><Relationship Id="rId303" Type="http://schemas.openxmlformats.org/officeDocument/2006/relationships/tags" Target="../tags/tag302.xml"/><Relationship Id="rId304" Type="http://schemas.openxmlformats.org/officeDocument/2006/relationships/tags" Target="../tags/tag303.xml"/><Relationship Id="rId305" Type="http://schemas.openxmlformats.org/officeDocument/2006/relationships/tags" Target="../tags/tag304.xml"/><Relationship Id="rId306" Type="http://schemas.openxmlformats.org/officeDocument/2006/relationships/tags" Target="../tags/tag305.xml"/><Relationship Id="rId307" Type="http://schemas.openxmlformats.org/officeDocument/2006/relationships/tags" Target="../tags/tag306.xml"/><Relationship Id="rId308" Type="http://schemas.openxmlformats.org/officeDocument/2006/relationships/tags" Target="../tags/tag307.xml"/><Relationship Id="rId309" Type="http://schemas.openxmlformats.org/officeDocument/2006/relationships/tags" Target="../tags/tag308.xml"/><Relationship Id="rId90" Type="http://schemas.openxmlformats.org/officeDocument/2006/relationships/tags" Target="../tags/tag89.xml"/><Relationship Id="rId91" Type="http://schemas.openxmlformats.org/officeDocument/2006/relationships/tags" Target="../tags/tag90.xml"/><Relationship Id="rId92" Type="http://schemas.openxmlformats.org/officeDocument/2006/relationships/tags" Target="../tags/tag91.xml"/><Relationship Id="rId93" Type="http://schemas.openxmlformats.org/officeDocument/2006/relationships/tags" Target="../tags/tag92.xml"/><Relationship Id="rId94" Type="http://schemas.openxmlformats.org/officeDocument/2006/relationships/tags" Target="../tags/tag93.xml"/><Relationship Id="rId95" Type="http://schemas.openxmlformats.org/officeDocument/2006/relationships/tags" Target="../tags/tag94.xml"/><Relationship Id="rId96" Type="http://schemas.openxmlformats.org/officeDocument/2006/relationships/tags" Target="../tags/tag95.xml"/><Relationship Id="rId97" Type="http://schemas.openxmlformats.org/officeDocument/2006/relationships/tags" Target="../tags/tag96.xml"/><Relationship Id="rId98" Type="http://schemas.openxmlformats.org/officeDocument/2006/relationships/tags" Target="../tags/tag97.xml"/><Relationship Id="rId99" Type="http://schemas.openxmlformats.org/officeDocument/2006/relationships/tags" Target="../tags/tag98.xml"/><Relationship Id="rId190" Type="http://schemas.openxmlformats.org/officeDocument/2006/relationships/tags" Target="../tags/tag189.xml"/><Relationship Id="rId191" Type="http://schemas.openxmlformats.org/officeDocument/2006/relationships/tags" Target="../tags/tag190.xml"/><Relationship Id="rId192" Type="http://schemas.openxmlformats.org/officeDocument/2006/relationships/tags" Target="../tags/tag191.xml"/><Relationship Id="rId193" Type="http://schemas.openxmlformats.org/officeDocument/2006/relationships/tags" Target="../tags/tag192.xml"/><Relationship Id="rId194" Type="http://schemas.openxmlformats.org/officeDocument/2006/relationships/tags" Target="../tags/tag193.xml"/><Relationship Id="rId195" Type="http://schemas.openxmlformats.org/officeDocument/2006/relationships/tags" Target="../tags/tag194.xml"/><Relationship Id="rId196" Type="http://schemas.openxmlformats.org/officeDocument/2006/relationships/tags" Target="../tags/tag195.xml"/><Relationship Id="rId197" Type="http://schemas.openxmlformats.org/officeDocument/2006/relationships/tags" Target="../tags/tag196.xml"/><Relationship Id="rId198" Type="http://schemas.openxmlformats.org/officeDocument/2006/relationships/tags" Target="../tags/tag197.xml"/><Relationship Id="rId199" Type="http://schemas.openxmlformats.org/officeDocument/2006/relationships/tags" Target="../tags/tag198.xml"/><Relationship Id="rId280" Type="http://schemas.openxmlformats.org/officeDocument/2006/relationships/tags" Target="../tags/tag279.xml"/><Relationship Id="rId30" Type="http://schemas.openxmlformats.org/officeDocument/2006/relationships/tags" Target="../tags/tag29.xml"/><Relationship Id="rId31" Type="http://schemas.openxmlformats.org/officeDocument/2006/relationships/tags" Target="../tags/tag30.xml"/><Relationship Id="rId32" Type="http://schemas.openxmlformats.org/officeDocument/2006/relationships/tags" Target="../tags/tag31.xml"/><Relationship Id="rId33" Type="http://schemas.openxmlformats.org/officeDocument/2006/relationships/tags" Target="../tags/tag32.xml"/><Relationship Id="rId34" Type="http://schemas.openxmlformats.org/officeDocument/2006/relationships/tags" Target="../tags/tag33.xml"/><Relationship Id="rId35" Type="http://schemas.openxmlformats.org/officeDocument/2006/relationships/tags" Target="../tags/tag34.xml"/><Relationship Id="rId36" Type="http://schemas.openxmlformats.org/officeDocument/2006/relationships/tags" Target="../tags/tag35.xml"/><Relationship Id="rId37" Type="http://schemas.openxmlformats.org/officeDocument/2006/relationships/tags" Target="../tags/tag36.xml"/><Relationship Id="rId38" Type="http://schemas.openxmlformats.org/officeDocument/2006/relationships/tags" Target="../tags/tag37.xml"/><Relationship Id="rId39" Type="http://schemas.openxmlformats.org/officeDocument/2006/relationships/tags" Target="../tags/tag38.xml"/><Relationship Id="rId281" Type="http://schemas.openxmlformats.org/officeDocument/2006/relationships/tags" Target="../tags/tag280.xml"/><Relationship Id="rId282" Type="http://schemas.openxmlformats.org/officeDocument/2006/relationships/tags" Target="../tags/tag281.xml"/><Relationship Id="rId283" Type="http://schemas.openxmlformats.org/officeDocument/2006/relationships/tags" Target="../tags/tag282.xml"/><Relationship Id="rId284" Type="http://schemas.openxmlformats.org/officeDocument/2006/relationships/tags" Target="../tags/tag283.xml"/><Relationship Id="rId130" Type="http://schemas.openxmlformats.org/officeDocument/2006/relationships/tags" Target="../tags/tag129.xml"/><Relationship Id="rId131" Type="http://schemas.openxmlformats.org/officeDocument/2006/relationships/tags" Target="../tags/tag130.xml"/><Relationship Id="rId132" Type="http://schemas.openxmlformats.org/officeDocument/2006/relationships/tags" Target="../tags/tag131.xml"/><Relationship Id="rId133" Type="http://schemas.openxmlformats.org/officeDocument/2006/relationships/tags" Target="../tags/tag132.xml"/><Relationship Id="rId220" Type="http://schemas.openxmlformats.org/officeDocument/2006/relationships/tags" Target="../tags/tag219.xml"/><Relationship Id="rId221" Type="http://schemas.openxmlformats.org/officeDocument/2006/relationships/tags" Target="../tags/tag220.xml"/><Relationship Id="rId222" Type="http://schemas.openxmlformats.org/officeDocument/2006/relationships/tags" Target="../tags/tag221.xml"/><Relationship Id="rId223" Type="http://schemas.openxmlformats.org/officeDocument/2006/relationships/tags" Target="../tags/tag222.xml"/><Relationship Id="rId224" Type="http://schemas.openxmlformats.org/officeDocument/2006/relationships/tags" Target="../tags/tag223.xml"/><Relationship Id="rId225" Type="http://schemas.openxmlformats.org/officeDocument/2006/relationships/tags" Target="../tags/tag224.xml"/><Relationship Id="rId226" Type="http://schemas.openxmlformats.org/officeDocument/2006/relationships/tags" Target="../tags/tag225.xml"/><Relationship Id="rId227" Type="http://schemas.openxmlformats.org/officeDocument/2006/relationships/tags" Target="../tags/tag226.xml"/><Relationship Id="rId228" Type="http://schemas.openxmlformats.org/officeDocument/2006/relationships/tags" Target="../tags/tag227.xml"/><Relationship Id="rId229" Type="http://schemas.openxmlformats.org/officeDocument/2006/relationships/tags" Target="../tags/tag228.xml"/><Relationship Id="rId134" Type="http://schemas.openxmlformats.org/officeDocument/2006/relationships/tags" Target="../tags/tag133.xml"/><Relationship Id="rId135" Type="http://schemas.openxmlformats.org/officeDocument/2006/relationships/tags" Target="../tags/tag134.xml"/><Relationship Id="rId136" Type="http://schemas.openxmlformats.org/officeDocument/2006/relationships/tags" Target="../tags/tag135.xml"/><Relationship Id="rId137" Type="http://schemas.openxmlformats.org/officeDocument/2006/relationships/tags" Target="../tags/tag136.xml"/><Relationship Id="rId138" Type="http://schemas.openxmlformats.org/officeDocument/2006/relationships/tags" Target="../tags/tag137.xml"/><Relationship Id="rId139" Type="http://schemas.openxmlformats.org/officeDocument/2006/relationships/tags" Target="../tags/tag138.xml"/><Relationship Id="rId285" Type="http://schemas.openxmlformats.org/officeDocument/2006/relationships/tags" Target="../tags/tag284.xml"/><Relationship Id="rId286" Type="http://schemas.openxmlformats.org/officeDocument/2006/relationships/tags" Target="../tags/tag285.xml"/><Relationship Id="rId287" Type="http://schemas.openxmlformats.org/officeDocument/2006/relationships/tags" Target="../tags/tag286.xml"/><Relationship Id="rId288" Type="http://schemas.openxmlformats.org/officeDocument/2006/relationships/tags" Target="../tags/tag287.xml"/><Relationship Id="rId289" Type="http://schemas.openxmlformats.org/officeDocument/2006/relationships/tags" Target="../tags/tag288.xml"/><Relationship Id="rId310" Type="http://schemas.openxmlformats.org/officeDocument/2006/relationships/tags" Target="../tags/tag309.xml"/><Relationship Id="rId311" Type="http://schemas.openxmlformats.org/officeDocument/2006/relationships/tags" Target="../tags/tag310.xml"/><Relationship Id="rId312" Type="http://schemas.openxmlformats.org/officeDocument/2006/relationships/tags" Target="../tags/tag311.xml"/><Relationship Id="rId313" Type="http://schemas.openxmlformats.org/officeDocument/2006/relationships/tags" Target="../tags/tag312.xml"/><Relationship Id="rId314" Type="http://schemas.openxmlformats.org/officeDocument/2006/relationships/tags" Target="../tags/tag313.xml"/><Relationship Id="rId315" Type="http://schemas.openxmlformats.org/officeDocument/2006/relationships/tags" Target="../tags/tag314.xml"/><Relationship Id="rId316" Type="http://schemas.openxmlformats.org/officeDocument/2006/relationships/tags" Target="../tags/tag315.xml"/><Relationship Id="rId317" Type="http://schemas.openxmlformats.org/officeDocument/2006/relationships/tags" Target="../tags/tag316.xml"/><Relationship Id="rId318" Type="http://schemas.openxmlformats.org/officeDocument/2006/relationships/tags" Target="../tags/tag317.xml"/><Relationship Id="rId319" Type="http://schemas.openxmlformats.org/officeDocument/2006/relationships/tags" Target="../tags/tag318.xml"/><Relationship Id="rId290" Type="http://schemas.openxmlformats.org/officeDocument/2006/relationships/tags" Target="../tags/tag289.xml"/><Relationship Id="rId291" Type="http://schemas.openxmlformats.org/officeDocument/2006/relationships/tags" Target="../tags/tag290.xml"/><Relationship Id="rId292" Type="http://schemas.openxmlformats.org/officeDocument/2006/relationships/tags" Target="../tags/tag291.xml"/><Relationship Id="rId293" Type="http://schemas.openxmlformats.org/officeDocument/2006/relationships/tags" Target="../tags/tag292.xml"/><Relationship Id="rId294" Type="http://schemas.openxmlformats.org/officeDocument/2006/relationships/tags" Target="../tags/tag293.xml"/><Relationship Id="rId295" Type="http://schemas.openxmlformats.org/officeDocument/2006/relationships/tags" Target="../tags/tag294.xml"/><Relationship Id="rId296" Type="http://schemas.openxmlformats.org/officeDocument/2006/relationships/tags" Target="../tags/tag295.xml"/><Relationship Id="rId40" Type="http://schemas.openxmlformats.org/officeDocument/2006/relationships/tags" Target="../tags/tag39.xml"/><Relationship Id="rId41" Type="http://schemas.openxmlformats.org/officeDocument/2006/relationships/tags" Target="../tags/tag40.xml"/><Relationship Id="rId42" Type="http://schemas.openxmlformats.org/officeDocument/2006/relationships/tags" Target="../tags/tag41.xml"/><Relationship Id="rId43" Type="http://schemas.openxmlformats.org/officeDocument/2006/relationships/tags" Target="../tags/tag42.xml"/><Relationship Id="rId44" Type="http://schemas.openxmlformats.org/officeDocument/2006/relationships/tags" Target="../tags/tag43.xml"/><Relationship Id="rId45" Type="http://schemas.openxmlformats.org/officeDocument/2006/relationships/tags" Target="../tags/tag44.xml"/><Relationship Id="rId46" Type="http://schemas.openxmlformats.org/officeDocument/2006/relationships/tags" Target="../tags/tag45.xml"/><Relationship Id="rId47" Type="http://schemas.openxmlformats.org/officeDocument/2006/relationships/tags" Target="../tags/tag46.xml"/><Relationship Id="rId48" Type="http://schemas.openxmlformats.org/officeDocument/2006/relationships/tags" Target="../tags/tag47.xml"/><Relationship Id="rId49" Type="http://schemas.openxmlformats.org/officeDocument/2006/relationships/tags" Target="../tags/tag48.xml"/><Relationship Id="rId297" Type="http://schemas.openxmlformats.org/officeDocument/2006/relationships/tags" Target="../tags/tag296.xml"/><Relationship Id="rId298" Type="http://schemas.openxmlformats.org/officeDocument/2006/relationships/tags" Target="../tags/tag297.xml"/><Relationship Id="rId299" Type="http://schemas.openxmlformats.org/officeDocument/2006/relationships/tags" Target="../tags/tag298.xml"/><Relationship Id="rId140" Type="http://schemas.openxmlformats.org/officeDocument/2006/relationships/tags" Target="../tags/tag139.xml"/><Relationship Id="rId141" Type="http://schemas.openxmlformats.org/officeDocument/2006/relationships/tags" Target="../tags/tag140.xml"/><Relationship Id="rId142" Type="http://schemas.openxmlformats.org/officeDocument/2006/relationships/tags" Target="../tags/tag141.xml"/><Relationship Id="rId143" Type="http://schemas.openxmlformats.org/officeDocument/2006/relationships/tags" Target="../tags/tag142.xml"/><Relationship Id="rId144" Type="http://schemas.openxmlformats.org/officeDocument/2006/relationships/tags" Target="../tags/tag143.xml"/><Relationship Id="rId145" Type="http://schemas.openxmlformats.org/officeDocument/2006/relationships/tags" Target="../tags/tag144.xml"/><Relationship Id="rId146" Type="http://schemas.openxmlformats.org/officeDocument/2006/relationships/tags" Target="../tags/tag145.xml"/><Relationship Id="rId147" Type="http://schemas.openxmlformats.org/officeDocument/2006/relationships/tags" Target="../tags/tag146.xml"/><Relationship Id="rId148" Type="http://schemas.openxmlformats.org/officeDocument/2006/relationships/tags" Target="../tags/tag147.xml"/><Relationship Id="rId149" Type="http://schemas.openxmlformats.org/officeDocument/2006/relationships/tags" Target="../tags/tag148.xml"/><Relationship Id="rId230" Type="http://schemas.openxmlformats.org/officeDocument/2006/relationships/tags" Target="../tags/tag229.xml"/><Relationship Id="rId231" Type="http://schemas.openxmlformats.org/officeDocument/2006/relationships/tags" Target="../tags/tag230.xml"/><Relationship Id="rId232" Type="http://schemas.openxmlformats.org/officeDocument/2006/relationships/tags" Target="../tags/tag231.xml"/><Relationship Id="rId233" Type="http://schemas.openxmlformats.org/officeDocument/2006/relationships/tags" Target="../tags/tag232.xml"/><Relationship Id="rId234" Type="http://schemas.openxmlformats.org/officeDocument/2006/relationships/tags" Target="../tags/tag233.xml"/><Relationship Id="rId235" Type="http://schemas.openxmlformats.org/officeDocument/2006/relationships/tags" Target="../tags/tag234.xml"/><Relationship Id="rId236" Type="http://schemas.openxmlformats.org/officeDocument/2006/relationships/tags" Target="../tags/tag235.xml"/><Relationship Id="rId237" Type="http://schemas.openxmlformats.org/officeDocument/2006/relationships/tags" Target="../tags/tag236.xml"/><Relationship Id="rId238" Type="http://schemas.openxmlformats.org/officeDocument/2006/relationships/tags" Target="../tags/tag237.xml"/><Relationship Id="rId239" Type="http://schemas.openxmlformats.org/officeDocument/2006/relationships/tags" Target="../tags/tag238.xml"/><Relationship Id="rId320" Type="http://schemas.openxmlformats.org/officeDocument/2006/relationships/tags" Target="../tags/tag319.xml"/><Relationship Id="rId321" Type="http://schemas.openxmlformats.org/officeDocument/2006/relationships/tags" Target="../tags/tag320.xml"/><Relationship Id="rId322" Type="http://schemas.openxmlformats.org/officeDocument/2006/relationships/tags" Target="../tags/tag321.xml"/><Relationship Id="rId323" Type="http://schemas.openxmlformats.org/officeDocument/2006/relationships/tags" Target="../tags/tag322.xml"/><Relationship Id="rId324" Type="http://schemas.openxmlformats.org/officeDocument/2006/relationships/tags" Target="../tags/tag323.xml"/><Relationship Id="rId325" Type="http://schemas.openxmlformats.org/officeDocument/2006/relationships/tags" Target="../tags/tag324.xml"/><Relationship Id="rId326" Type="http://schemas.openxmlformats.org/officeDocument/2006/relationships/slideLayout" Target="../slideLayouts/slideLayout34.xml"/><Relationship Id="rId327" Type="http://schemas.openxmlformats.org/officeDocument/2006/relationships/notesSlide" Target="../notesSlides/notesSlide1.xml"/><Relationship Id="rId328" Type="http://schemas.openxmlformats.org/officeDocument/2006/relationships/oleObject" Target="../embeddings/oleObject1.bin"/><Relationship Id="rId329" Type="http://schemas.openxmlformats.org/officeDocument/2006/relationships/image" Target="../media/image3.emf"/><Relationship Id="rId50" Type="http://schemas.openxmlformats.org/officeDocument/2006/relationships/tags" Target="../tags/tag49.xml"/><Relationship Id="rId51" Type="http://schemas.openxmlformats.org/officeDocument/2006/relationships/tags" Target="../tags/tag50.xml"/><Relationship Id="rId52" Type="http://schemas.openxmlformats.org/officeDocument/2006/relationships/tags" Target="../tags/tag51.xml"/><Relationship Id="rId53" Type="http://schemas.openxmlformats.org/officeDocument/2006/relationships/tags" Target="../tags/tag52.xml"/><Relationship Id="rId54" Type="http://schemas.openxmlformats.org/officeDocument/2006/relationships/tags" Target="../tags/tag53.xml"/><Relationship Id="rId55" Type="http://schemas.openxmlformats.org/officeDocument/2006/relationships/tags" Target="../tags/tag54.xml"/><Relationship Id="rId56" Type="http://schemas.openxmlformats.org/officeDocument/2006/relationships/tags" Target="../tags/tag55.xml"/><Relationship Id="rId57" Type="http://schemas.openxmlformats.org/officeDocument/2006/relationships/tags" Target="../tags/tag56.xml"/><Relationship Id="rId58" Type="http://schemas.openxmlformats.org/officeDocument/2006/relationships/tags" Target="../tags/tag57.xml"/><Relationship Id="rId59" Type="http://schemas.openxmlformats.org/officeDocument/2006/relationships/tags" Target="../tags/tag58.xml"/><Relationship Id="rId150" Type="http://schemas.openxmlformats.org/officeDocument/2006/relationships/tags" Target="../tags/tag149.xml"/><Relationship Id="rId151" Type="http://schemas.openxmlformats.org/officeDocument/2006/relationships/tags" Target="../tags/tag150.xml"/><Relationship Id="rId152" Type="http://schemas.openxmlformats.org/officeDocument/2006/relationships/tags" Target="../tags/tag151.xml"/><Relationship Id="rId153" Type="http://schemas.openxmlformats.org/officeDocument/2006/relationships/tags" Target="../tags/tag152.xml"/><Relationship Id="rId154" Type="http://schemas.openxmlformats.org/officeDocument/2006/relationships/tags" Target="../tags/tag153.xml"/><Relationship Id="rId155" Type="http://schemas.openxmlformats.org/officeDocument/2006/relationships/tags" Target="../tags/tag154.xml"/><Relationship Id="rId156" Type="http://schemas.openxmlformats.org/officeDocument/2006/relationships/tags" Target="../tags/tag155.xml"/><Relationship Id="rId157" Type="http://schemas.openxmlformats.org/officeDocument/2006/relationships/tags" Target="../tags/tag156.xml"/><Relationship Id="rId158" Type="http://schemas.openxmlformats.org/officeDocument/2006/relationships/tags" Target="../tags/tag157.xml"/><Relationship Id="rId159" Type="http://schemas.openxmlformats.org/officeDocument/2006/relationships/tags" Target="../tags/tag158.xml"/><Relationship Id="rId240" Type="http://schemas.openxmlformats.org/officeDocument/2006/relationships/tags" Target="../tags/tag239.xml"/><Relationship Id="rId241" Type="http://schemas.openxmlformats.org/officeDocument/2006/relationships/tags" Target="../tags/tag240.xml"/><Relationship Id="rId242" Type="http://schemas.openxmlformats.org/officeDocument/2006/relationships/tags" Target="../tags/tag241.xml"/><Relationship Id="rId243" Type="http://schemas.openxmlformats.org/officeDocument/2006/relationships/tags" Target="../tags/tag242.xml"/><Relationship Id="rId244" Type="http://schemas.openxmlformats.org/officeDocument/2006/relationships/tags" Target="../tags/tag243.xml"/><Relationship Id="rId245" Type="http://schemas.openxmlformats.org/officeDocument/2006/relationships/tags" Target="../tags/tag244.xml"/><Relationship Id="rId246" Type="http://schemas.openxmlformats.org/officeDocument/2006/relationships/tags" Target="../tags/tag245.xml"/><Relationship Id="rId247" Type="http://schemas.openxmlformats.org/officeDocument/2006/relationships/tags" Target="../tags/tag246.xml"/><Relationship Id="rId248" Type="http://schemas.openxmlformats.org/officeDocument/2006/relationships/tags" Target="../tags/tag247.xml"/><Relationship Id="rId249" Type="http://schemas.openxmlformats.org/officeDocument/2006/relationships/tags" Target="../tags/tag248.xml"/><Relationship Id="rId60" Type="http://schemas.openxmlformats.org/officeDocument/2006/relationships/tags" Target="../tags/tag59.xml"/><Relationship Id="rId61" Type="http://schemas.openxmlformats.org/officeDocument/2006/relationships/tags" Target="../tags/tag60.xml"/><Relationship Id="rId62" Type="http://schemas.openxmlformats.org/officeDocument/2006/relationships/tags" Target="../tags/tag61.xml"/><Relationship Id="rId63" Type="http://schemas.openxmlformats.org/officeDocument/2006/relationships/tags" Target="../tags/tag62.xml"/><Relationship Id="rId64" Type="http://schemas.openxmlformats.org/officeDocument/2006/relationships/tags" Target="../tags/tag63.xml"/><Relationship Id="rId65" Type="http://schemas.openxmlformats.org/officeDocument/2006/relationships/tags" Target="../tags/tag64.xml"/><Relationship Id="rId66" Type="http://schemas.openxmlformats.org/officeDocument/2006/relationships/tags" Target="../tags/tag65.xml"/><Relationship Id="rId67" Type="http://schemas.openxmlformats.org/officeDocument/2006/relationships/tags" Target="../tags/tag66.xml"/><Relationship Id="rId68" Type="http://schemas.openxmlformats.org/officeDocument/2006/relationships/tags" Target="../tags/tag67.xml"/><Relationship Id="rId69" Type="http://schemas.openxmlformats.org/officeDocument/2006/relationships/tags" Target="../tags/tag68.xml"/><Relationship Id="rId160" Type="http://schemas.openxmlformats.org/officeDocument/2006/relationships/tags" Target="../tags/tag159.xml"/><Relationship Id="rId161" Type="http://schemas.openxmlformats.org/officeDocument/2006/relationships/tags" Target="../tags/tag160.xml"/><Relationship Id="rId162" Type="http://schemas.openxmlformats.org/officeDocument/2006/relationships/tags" Target="../tags/tag161.xml"/><Relationship Id="rId163" Type="http://schemas.openxmlformats.org/officeDocument/2006/relationships/tags" Target="../tags/tag162.xml"/><Relationship Id="rId164" Type="http://schemas.openxmlformats.org/officeDocument/2006/relationships/tags" Target="../tags/tag163.xml"/><Relationship Id="rId165" Type="http://schemas.openxmlformats.org/officeDocument/2006/relationships/tags" Target="../tags/tag164.xml"/><Relationship Id="rId166" Type="http://schemas.openxmlformats.org/officeDocument/2006/relationships/tags" Target="../tags/tag165.xml"/><Relationship Id="rId167" Type="http://schemas.openxmlformats.org/officeDocument/2006/relationships/tags" Target="../tags/tag166.xml"/><Relationship Id="rId168" Type="http://schemas.openxmlformats.org/officeDocument/2006/relationships/tags" Target="../tags/tag167.xml"/><Relationship Id="rId169" Type="http://schemas.openxmlformats.org/officeDocument/2006/relationships/tags" Target="../tags/tag168.xml"/><Relationship Id="rId250" Type="http://schemas.openxmlformats.org/officeDocument/2006/relationships/tags" Target="../tags/tag249.xml"/><Relationship Id="rId251" Type="http://schemas.openxmlformats.org/officeDocument/2006/relationships/tags" Target="../tags/tag250.xml"/><Relationship Id="rId252" Type="http://schemas.openxmlformats.org/officeDocument/2006/relationships/tags" Target="../tags/tag251.xml"/><Relationship Id="rId253" Type="http://schemas.openxmlformats.org/officeDocument/2006/relationships/tags" Target="../tags/tag252.xml"/><Relationship Id="rId254" Type="http://schemas.openxmlformats.org/officeDocument/2006/relationships/tags" Target="../tags/tag253.xml"/><Relationship Id="rId255" Type="http://schemas.openxmlformats.org/officeDocument/2006/relationships/tags" Target="../tags/tag254.xml"/><Relationship Id="rId256" Type="http://schemas.openxmlformats.org/officeDocument/2006/relationships/tags" Target="../tags/tag255.xml"/><Relationship Id="rId257" Type="http://schemas.openxmlformats.org/officeDocument/2006/relationships/tags" Target="../tags/tag256.xml"/><Relationship Id="rId258" Type="http://schemas.openxmlformats.org/officeDocument/2006/relationships/tags" Target="../tags/tag257.xml"/><Relationship Id="rId259" Type="http://schemas.openxmlformats.org/officeDocument/2006/relationships/tags" Target="../tags/tag258.xml"/><Relationship Id="rId100" Type="http://schemas.openxmlformats.org/officeDocument/2006/relationships/tags" Target="../tags/tag99.xml"/><Relationship Id="rId101" Type="http://schemas.openxmlformats.org/officeDocument/2006/relationships/tags" Target="../tags/tag100.xml"/><Relationship Id="rId102" Type="http://schemas.openxmlformats.org/officeDocument/2006/relationships/tags" Target="../tags/tag101.xml"/><Relationship Id="rId103" Type="http://schemas.openxmlformats.org/officeDocument/2006/relationships/tags" Target="../tags/tag102.xml"/><Relationship Id="rId104" Type="http://schemas.openxmlformats.org/officeDocument/2006/relationships/tags" Target="../tags/tag103.xml"/><Relationship Id="rId105" Type="http://schemas.openxmlformats.org/officeDocument/2006/relationships/tags" Target="../tags/tag10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tags" Target="../tags/tag325.xml"/><Relationship Id="rId2" Type="http://schemas.openxmlformats.org/officeDocument/2006/relationships/slideLayout" Target="../slideLayouts/slideLayout35.xml"/><Relationship Id="rId3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28.xml"/><Relationship Id="rId4" Type="http://schemas.openxmlformats.org/officeDocument/2006/relationships/tags" Target="../tags/tag329.xml"/><Relationship Id="rId5" Type="http://schemas.openxmlformats.org/officeDocument/2006/relationships/slideLayout" Target="../slideLayouts/slideLayout35.xml"/><Relationship Id="rId6" Type="http://schemas.openxmlformats.org/officeDocument/2006/relationships/image" Target="../media/image4.jpeg"/><Relationship Id="rId1" Type="http://schemas.openxmlformats.org/officeDocument/2006/relationships/tags" Target="../tags/tag326.xml"/><Relationship Id="rId2" Type="http://schemas.openxmlformats.org/officeDocument/2006/relationships/tags" Target="../tags/tag3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5.emf"/><Relationship Id="rId6" Type="http://schemas.openxmlformats.org/officeDocument/2006/relationships/image" Target="../media/image6.jpeg"/><Relationship Id="rId1" Type="http://schemas.openxmlformats.org/officeDocument/2006/relationships/vmlDrawing" Target="../drawings/vmlDrawing2.vml"/><Relationship Id="rId2" Type="http://schemas.openxmlformats.org/officeDocument/2006/relationships/tags" Target="../tags/tag33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image" Target="../media/image7.emf"/><Relationship Id="rId3" Type="http://schemas.openxmlformats.org/officeDocument/2006/relationships/image" Target="../media/image8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3534" y="233244"/>
            <a:ext cx="4858255" cy="6193259"/>
          </a:xfrm>
          <a:prstGeom prst="rect">
            <a:avLst/>
          </a:prstGeom>
        </p:spPr>
      </p:pic>
      <p:sp>
        <p:nvSpPr>
          <p:cNvPr id="7" name="Название 6"/>
          <p:cNvSpPr>
            <a:spLocks noGrp="1"/>
          </p:cNvSpPr>
          <p:nvPr>
            <p:ph type="title"/>
          </p:nvPr>
        </p:nvSpPr>
        <p:spPr>
          <a:xfrm>
            <a:off x="457200" y="273049"/>
            <a:ext cx="3008313" cy="2862777"/>
          </a:xfrm>
        </p:spPr>
        <p:txBody>
          <a:bodyPr/>
          <a:lstStyle/>
          <a:p>
            <a:pPr algn="ctr"/>
            <a:r>
              <a:rPr lang="ru-RU" sz="2800" dirty="0" smtClean="0"/>
              <a:t>УПРАВЛЕНИЕ УСТОЙЧИВЫМ РАЗВИТИЕМ</a:t>
            </a:r>
            <a:endParaRPr lang="ru-RU" sz="2800" dirty="0"/>
          </a:p>
        </p:txBody>
      </p:sp>
      <p:sp>
        <p:nvSpPr>
          <p:cNvPr id="8" name="Содержимое 7"/>
          <p:cNvSpPr>
            <a:spLocks noGrp="1"/>
          </p:cNvSpPr>
          <p:nvPr>
            <p:ph idx="1"/>
          </p:nvPr>
        </p:nvSpPr>
        <p:spPr>
          <a:xfrm>
            <a:off x="3913534" y="273051"/>
            <a:ext cx="4773265" cy="5570990"/>
          </a:xfrm>
        </p:spPr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half" idx="2"/>
          </p:nvPr>
        </p:nvSpPr>
        <p:spPr>
          <a:xfrm>
            <a:off x="457200" y="3822598"/>
            <a:ext cx="3008313" cy="2303565"/>
          </a:xfrm>
        </p:spPr>
        <p:txBody>
          <a:bodyPr/>
          <a:lstStyle/>
          <a:p>
            <a:endParaRPr lang="ru-RU" dirty="0" smtClean="0"/>
          </a:p>
          <a:p>
            <a:pPr algn="ctr"/>
            <a:r>
              <a:rPr lang="ru-RU" sz="2000" dirty="0" smtClean="0"/>
              <a:t>Монография</a:t>
            </a:r>
          </a:p>
          <a:p>
            <a:pPr algn="ctr"/>
            <a:endParaRPr lang="ru-RU" sz="2000" dirty="0" smtClean="0"/>
          </a:p>
          <a:p>
            <a:pPr algn="ctr"/>
            <a:endParaRPr lang="ru-RU" sz="2000" dirty="0"/>
          </a:p>
          <a:p>
            <a:pPr algn="ctr"/>
            <a:r>
              <a:rPr lang="ru-RU" sz="2000" dirty="0"/>
              <a:t>п</a:t>
            </a:r>
            <a:r>
              <a:rPr lang="ru-RU" sz="2000" dirty="0" smtClean="0"/>
              <a:t>од редакцией проф.</a:t>
            </a:r>
          </a:p>
          <a:p>
            <a:pPr algn="ctr"/>
            <a:r>
              <a:rPr lang="ru-RU" sz="2000" dirty="0" smtClean="0"/>
              <a:t> А.В. </a:t>
            </a:r>
            <a:r>
              <a:rPr lang="ru-RU" sz="2000" dirty="0" err="1" smtClean="0"/>
              <a:t>Трачука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7750528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8" name="Object 35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53047" y="265238"/>
          <a:ext cx="1352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328" imgW="270" imgH="270" progId="TCLayout.ActiveDocument.1">
                  <p:embed/>
                </p:oleObj>
              </mc:Choice>
              <mc:Fallback>
                <p:oleObj name="think-cell Slide" r:id="rId3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9"/>
                      <a:stretch>
                        <a:fillRect/>
                      </a:stretch>
                    </p:blipFill>
                    <p:spPr>
                      <a:xfrm>
                        <a:off x="353047" y="265238"/>
                        <a:ext cx="1352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1456" y="179572"/>
            <a:ext cx="6257819" cy="531751"/>
          </a:xfrm>
        </p:spPr>
        <p:txBody>
          <a:bodyPr anchor="t"/>
          <a:lstStyle/>
          <a:p>
            <a:r>
              <a:rPr lang="ru-RU" sz="1730" dirty="0"/>
              <a:t/>
            </a:r>
            <a:br>
              <a:rPr lang="ru-RU" sz="1730" dirty="0"/>
            </a:br>
            <a:r>
              <a:rPr lang="ru-RU" sz="2800" dirty="0" smtClean="0"/>
              <a:t>Особенности монографии</a:t>
            </a:r>
            <a:endParaRPr lang="en-US" sz="2800" dirty="0"/>
          </a:p>
        </p:txBody>
      </p:sp>
      <p:grpSp>
        <p:nvGrpSpPr>
          <p:cNvPr id="4" name="World"/>
          <p:cNvGrpSpPr/>
          <p:nvPr>
            <p:custDataLst>
              <p:tags r:id="rId3"/>
            </p:custDataLst>
          </p:nvPr>
        </p:nvGrpSpPr>
        <p:grpSpPr>
          <a:xfrm>
            <a:off x="359070" y="1932634"/>
            <a:ext cx="8504698" cy="4429724"/>
            <a:chOff x="137614" y="1055629"/>
            <a:chExt cx="9200900" cy="5266350"/>
          </a:xfrm>
          <a:solidFill>
            <a:srgbClr val="DCDDDD"/>
          </a:solidFill>
        </p:grpSpPr>
        <p:sp>
          <p:nvSpPr>
            <p:cNvPr id="5" name="Ghana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gray">
            <a:xfrm>
              <a:off x="4371760" y="4341831"/>
              <a:ext cx="114689" cy="168523"/>
            </a:xfrm>
            <a:custGeom>
              <a:avLst/>
              <a:gdLst/>
              <a:ahLst/>
              <a:cxnLst>
                <a:cxn ang="0">
                  <a:pos x="239" y="279"/>
                </a:cxn>
                <a:cxn ang="0">
                  <a:pos x="215" y="252"/>
                </a:cxn>
                <a:cxn ang="0">
                  <a:pos x="209" y="231"/>
                </a:cxn>
                <a:cxn ang="0">
                  <a:pos x="209" y="188"/>
                </a:cxn>
                <a:cxn ang="0">
                  <a:pos x="204" y="114"/>
                </a:cxn>
                <a:cxn ang="0">
                  <a:pos x="200" y="95"/>
                </a:cxn>
                <a:cxn ang="0">
                  <a:pos x="194" y="68"/>
                </a:cxn>
                <a:cxn ang="0">
                  <a:pos x="187" y="48"/>
                </a:cxn>
                <a:cxn ang="0">
                  <a:pos x="176" y="33"/>
                </a:cxn>
                <a:cxn ang="0">
                  <a:pos x="166" y="21"/>
                </a:cxn>
                <a:cxn ang="0">
                  <a:pos x="170" y="11"/>
                </a:cxn>
                <a:cxn ang="0">
                  <a:pos x="172" y="5"/>
                </a:cxn>
                <a:cxn ang="0">
                  <a:pos x="162" y="3"/>
                </a:cxn>
                <a:cxn ang="0">
                  <a:pos x="145" y="3"/>
                </a:cxn>
                <a:cxn ang="0">
                  <a:pos x="129" y="12"/>
                </a:cxn>
                <a:cxn ang="0">
                  <a:pos x="86" y="6"/>
                </a:cxn>
                <a:cxn ang="0">
                  <a:pos x="47" y="5"/>
                </a:cxn>
                <a:cxn ang="0">
                  <a:pos x="19" y="8"/>
                </a:cxn>
                <a:cxn ang="0">
                  <a:pos x="14" y="24"/>
                </a:cxn>
                <a:cxn ang="0">
                  <a:pos x="20" y="35"/>
                </a:cxn>
                <a:cxn ang="0">
                  <a:pos x="24" y="44"/>
                </a:cxn>
                <a:cxn ang="0">
                  <a:pos x="25" y="65"/>
                </a:cxn>
                <a:cxn ang="0">
                  <a:pos x="25" y="82"/>
                </a:cxn>
                <a:cxn ang="0">
                  <a:pos x="28" y="95"/>
                </a:cxn>
                <a:cxn ang="0">
                  <a:pos x="30" y="103"/>
                </a:cxn>
                <a:cxn ang="0">
                  <a:pos x="25" y="111"/>
                </a:cxn>
                <a:cxn ang="0">
                  <a:pos x="31" y="116"/>
                </a:cxn>
                <a:cxn ang="0">
                  <a:pos x="41" y="159"/>
                </a:cxn>
                <a:cxn ang="0">
                  <a:pos x="36" y="165"/>
                </a:cxn>
                <a:cxn ang="0">
                  <a:pos x="28" y="171"/>
                </a:cxn>
                <a:cxn ang="0">
                  <a:pos x="22" y="182"/>
                </a:cxn>
                <a:cxn ang="0">
                  <a:pos x="14" y="204"/>
                </a:cxn>
                <a:cxn ang="0">
                  <a:pos x="11" y="220"/>
                </a:cxn>
                <a:cxn ang="0">
                  <a:pos x="1" y="234"/>
                </a:cxn>
                <a:cxn ang="0">
                  <a:pos x="0" y="259"/>
                </a:cxn>
                <a:cxn ang="0">
                  <a:pos x="11" y="295"/>
                </a:cxn>
                <a:cxn ang="0">
                  <a:pos x="22" y="301"/>
                </a:cxn>
                <a:cxn ang="0">
                  <a:pos x="27" y="315"/>
                </a:cxn>
                <a:cxn ang="0">
                  <a:pos x="21" y="331"/>
                </a:cxn>
                <a:cxn ang="0">
                  <a:pos x="11" y="328"/>
                </a:cxn>
                <a:cxn ang="0">
                  <a:pos x="5" y="336"/>
                </a:cxn>
                <a:cxn ang="0">
                  <a:pos x="67" y="356"/>
                </a:cxn>
                <a:cxn ang="0">
                  <a:pos x="95" y="338"/>
                </a:cxn>
                <a:cxn ang="0">
                  <a:pos x="137" y="328"/>
                </a:cxn>
                <a:cxn ang="0">
                  <a:pos x="183" y="302"/>
                </a:cxn>
                <a:cxn ang="0">
                  <a:pos x="196" y="300"/>
                </a:cxn>
                <a:cxn ang="0">
                  <a:pos x="219" y="300"/>
                </a:cxn>
                <a:cxn ang="0">
                  <a:pos x="240" y="283"/>
                </a:cxn>
              </a:cxnLst>
              <a:rect l="0" t="0" r="r" b="b"/>
              <a:pathLst>
                <a:path w="242" h="356">
                  <a:moveTo>
                    <a:pt x="242" y="281"/>
                  </a:moveTo>
                  <a:lnTo>
                    <a:pt x="239" y="279"/>
                  </a:lnTo>
                  <a:lnTo>
                    <a:pt x="223" y="262"/>
                  </a:lnTo>
                  <a:lnTo>
                    <a:pt x="215" y="252"/>
                  </a:lnTo>
                  <a:lnTo>
                    <a:pt x="210" y="241"/>
                  </a:lnTo>
                  <a:lnTo>
                    <a:pt x="209" y="231"/>
                  </a:lnTo>
                  <a:lnTo>
                    <a:pt x="208" y="209"/>
                  </a:lnTo>
                  <a:lnTo>
                    <a:pt x="209" y="188"/>
                  </a:lnTo>
                  <a:lnTo>
                    <a:pt x="205" y="148"/>
                  </a:lnTo>
                  <a:lnTo>
                    <a:pt x="204" y="114"/>
                  </a:lnTo>
                  <a:lnTo>
                    <a:pt x="203" y="101"/>
                  </a:lnTo>
                  <a:lnTo>
                    <a:pt x="200" y="95"/>
                  </a:lnTo>
                  <a:lnTo>
                    <a:pt x="196" y="89"/>
                  </a:lnTo>
                  <a:lnTo>
                    <a:pt x="194" y="68"/>
                  </a:lnTo>
                  <a:lnTo>
                    <a:pt x="191" y="53"/>
                  </a:lnTo>
                  <a:lnTo>
                    <a:pt x="187" y="48"/>
                  </a:lnTo>
                  <a:lnTo>
                    <a:pt x="180" y="41"/>
                  </a:lnTo>
                  <a:lnTo>
                    <a:pt x="176" y="33"/>
                  </a:lnTo>
                  <a:lnTo>
                    <a:pt x="167" y="27"/>
                  </a:lnTo>
                  <a:lnTo>
                    <a:pt x="166" y="21"/>
                  </a:lnTo>
                  <a:lnTo>
                    <a:pt x="170" y="16"/>
                  </a:lnTo>
                  <a:lnTo>
                    <a:pt x="170" y="11"/>
                  </a:lnTo>
                  <a:lnTo>
                    <a:pt x="173" y="6"/>
                  </a:lnTo>
                  <a:lnTo>
                    <a:pt x="172" y="5"/>
                  </a:lnTo>
                  <a:lnTo>
                    <a:pt x="164" y="4"/>
                  </a:lnTo>
                  <a:lnTo>
                    <a:pt x="162" y="3"/>
                  </a:lnTo>
                  <a:lnTo>
                    <a:pt x="162" y="0"/>
                  </a:lnTo>
                  <a:lnTo>
                    <a:pt x="145" y="3"/>
                  </a:lnTo>
                  <a:lnTo>
                    <a:pt x="133" y="11"/>
                  </a:lnTo>
                  <a:lnTo>
                    <a:pt x="129" y="12"/>
                  </a:lnTo>
                  <a:lnTo>
                    <a:pt x="112" y="11"/>
                  </a:lnTo>
                  <a:lnTo>
                    <a:pt x="86" y="6"/>
                  </a:lnTo>
                  <a:lnTo>
                    <a:pt x="58" y="8"/>
                  </a:lnTo>
                  <a:lnTo>
                    <a:pt x="47" y="5"/>
                  </a:lnTo>
                  <a:lnTo>
                    <a:pt x="36" y="5"/>
                  </a:lnTo>
                  <a:lnTo>
                    <a:pt x="19" y="8"/>
                  </a:lnTo>
                  <a:lnTo>
                    <a:pt x="14" y="16"/>
                  </a:lnTo>
                  <a:lnTo>
                    <a:pt x="14" y="24"/>
                  </a:lnTo>
                  <a:lnTo>
                    <a:pt x="17" y="32"/>
                  </a:lnTo>
                  <a:lnTo>
                    <a:pt x="20" y="35"/>
                  </a:lnTo>
                  <a:lnTo>
                    <a:pt x="20" y="43"/>
                  </a:lnTo>
                  <a:lnTo>
                    <a:pt x="24" y="44"/>
                  </a:lnTo>
                  <a:lnTo>
                    <a:pt x="22" y="57"/>
                  </a:lnTo>
                  <a:lnTo>
                    <a:pt x="25" y="65"/>
                  </a:lnTo>
                  <a:lnTo>
                    <a:pt x="25" y="76"/>
                  </a:lnTo>
                  <a:lnTo>
                    <a:pt x="25" y="82"/>
                  </a:lnTo>
                  <a:lnTo>
                    <a:pt x="28" y="89"/>
                  </a:lnTo>
                  <a:lnTo>
                    <a:pt x="28" y="95"/>
                  </a:lnTo>
                  <a:lnTo>
                    <a:pt x="27" y="98"/>
                  </a:lnTo>
                  <a:lnTo>
                    <a:pt x="30" y="103"/>
                  </a:lnTo>
                  <a:lnTo>
                    <a:pt x="25" y="108"/>
                  </a:lnTo>
                  <a:lnTo>
                    <a:pt x="25" y="111"/>
                  </a:lnTo>
                  <a:lnTo>
                    <a:pt x="28" y="112"/>
                  </a:lnTo>
                  <a:lnTo>
                    <a:pt x="31" y="116"/>
                  </a:lnTo>
                  <a:lnTo>
                    <a:pt x="38" y="143"/>
                  </a:lnTo>
                  <a:lnTo>
                    <a:pt x="41" y="159"/>
                  </a:lnTo>
                  <a:lnTo>
                    <a:pt x="36" y="160"/>
                  </a:lnTo>
                  <a:lnTo>
                    <a:pt x="36" y="165"/>
                  </a:lnTo>
                  <a:lnTo>
                    <a:pt x="32" y="166"/>
                  </a:lnTo>
                  <a:lnTo>
                    <a:pt x="28" y="171"/>
                  </a:lnTo>
                  <a:lnTo>
                    <a:pt x="26" y="173"/>
                  </a:lnTo>
                  <a:lnTo>
                    <a:pt x="22" y="182"/>
                  </a:lnTo>
                  <a:lnTo>
                    <a:pt x="16" y="195"/>
                  </a:lnTo>
                  <a:lnTo>
                    <a:pt x="14" y="204"/>
                  </a:lnTo>
                  <a:lnTo>
                    <a:pt x="14" y="215"/>
                  </a:lnTo>
                  <a:lnTo>
                    <a:pt x="11" y="220"/>
                  </a:lnTo>
                  <a:lnTo>
                    <a:pt x="5" y="227"/>
                  </a:lnTo>
                  <a:lnTo>
                    <a:pt x="1" y="234"/>
                  </a:lnTo>
                  <a:lnTo>
                    <a:pt x="0" y="251"/>
                  </a:lnTo>
                  <a:lnTo>
                    <a:pt x="0" y="259"/>
                  </a:lnTo>
                  <a:lnTo>
                    <a:pt x="8" y="279"/>
                  </a:lnTo>
                  <a:lnTo>
                    <a:pt x="11" y="295"/>
                  </a:lnTo>
                  <a:lnTo>
                    <a:pt x="15" y="300"/>
                  </a:lnTo>
                  <a:lnTo>
                    <a:pt x="22" y="301"/>
                  </a:lnTo>
                  <a:lnTo>
                    <a:pt x="25" y="302"/>
                  </a:lnTo>
                  <a:lnTo>
                    <a:pt x="27" y="315"/>
                  </a:lnTo>
                  <a:lnTo>
                    <a:pt x="27" y="329"/>
                  </a:lnTo>
                  <a:lnTo>
                    <a:pt x="21" y="331"/>
                  </a:lnTo>
                  <a:lnTo>
                    <a:pt x="17" y="328"/>
                  </a:lnTo>
                  <a:lnTo>
                    <a:pt x="11" y="328"/>
                  </a:lnTo>
                  <a:lnTo>
                    <a:pt x="9" y="329"/>
                  </a:lnTo>
                  <a:lnTo>
                    <a:pt x="5" y="336"/>
                  </a:lnTo>
                  <a:lnTo>
                    <a:pt x="41" y="345"/>
                  </a:lnTo>
                  <a:lnTo>
                    <a:pt x="67" y="356"/>
                  </a:lnTo>
                  <a:lnTo>
                    <a:pt x="87" y="345"/>
                  </a:lnTo>
                  <a:lnTo>
                    <a:pt x="95" y="338"/>
                  </a:lnTo>
                  <a:lnTo>
                    <a:pt x="103" y="336"/>
                  </a:lnTo>
                  <a:lnTo>
                    <a:pt x="137" y="328"/>
                  </a:lnTo>
                  <a:lnTo>
                    <a:pt x="166" y="311"/>
                  </a:lnTo>
                  <a:lnTo>
                    <a:pt x="183" y="302"/>
                  </a:lnTo>
                  <a:lnTo>
                    <a:pt x="188" y="300"/>
                  </a:lnTo>
                  <a:lnTo>
                    <a:pt x="196" y="300"/>
                  </a:lnTo>
                  <a:lnTo>
                    <a:pt x="215" y="296"/>
                  </a:lnTo>
                  <a:lnTo>
                    <a:pt x="219" y="300"/>
                  </a:lnTo>
                  <a:lnTo>
                    <a:pt x="229" y="299"/>
                  </a:lnTo>
                  <a:lnTo>
                    <a:pt x="240" y="283"/>
                  </a:lnTo>
                  <a:lnTo>
                    <a:pt x="242" y="28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6" name="Burkina Faso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gray">
            <a:xfrm>
              <a:off x="4320267" y="4241186"/>
              <a:ext cx="194270" cy="145117"/>
            </a:xfrm>
            <a:custGeom>
              <a:avLst/>
              <a:gdLst/>
              <a:ahLst/>
              <a:cxnLst>
                <a:cxn ang="0">
                  <a:pos x="242" y="9"/>
                </a:cxn>
                <a:cxn ang="0">
                  <a:pos x="182" y="49"/>
                </a:cxn>
                <a:cxn ang="0">
                  <a:pos x="113" y="91"/>
                </a:cxn>
                <a:cxn ang="0">
                  <a:pos x="83" y="96"/>
                </a:cxn>
                <a:cxn ang="0">
                  <a:pos x="64" y="119"/>
                </a:cxn>
                <a:cxn ang="0">
                  <a:pos x="46" y="162"/>
                </a:cxn>
                <a:cxn ang="0">
                  <a:pos x="16" y="188"/>
                </a:cxn>
                <a:cxn ang="0">
                  <a:pos x="1" y="224"/>
                </a:cxn>
                <a:cxn ang="0">
                  <a:pos x="1" y="259"/>
                </a:cxn>
                <a:cxn ang="0">
                  <a:pos x="5" y="267"/>
                </a:cxn>
                <a:cxn ang="0">
                  <a:pos x="11" y="275"/>
                </a:cxn>
                <a:cxn ang="0">
                  <a:pos x="15" y="284"/>
                </a:cxn>
                <a:cxn ang="0">
                  <a:pos x="24" y="291"/>
                </a:cxn>
                <a:cxn ang="0">
                  <a:pos x="35" y="294"/>
                </a:cxn>
                <a:cxn ang="0">
                  <a:pos x="40" y="295"/>
                </a:cxn>
                <a:cxn ang="0">
                  <a:pos x="53" y="290"/>
                </a:cxn>
                <a:cxn ang="0">
                  <a:pos x="79" y="283"/>
                </a:cxn>
                <a:cxn ang="0">
                  <a:pos x="107" y="285"/>
                </a:cxn>
                <a:cxn ang="0">
                  <a:pos x="119" y="290"/>
                </a:cxn>
                <a:cxn ang="0">
                  <a:pos x="130" y="306"/>
                </a:cxn>
                <a:cxn ang="0">
                  <a:pos x="141" y="305"/>
                </a:cxn>
                <a:cxn ang="0">
                  <a:pos x="138" y="281"/>
                </a:cxn>
                <a:cxn ang="0">
                  <a:pos x="133" y="259"/>
                </a:cxn>
                <a:cxn ang="0">
                  <a:pos x="127" y="240"/>
                </a:cxn>
                <a:cxn ang="0">
                  <a:pos x="149" y="221"/>
                </a:cxn>
                <a:cxn ang="0">
                  <a:pos x="199" y="222"/>
                </a:cxn>
                <a:cxn ang="0">
                  <a:pos x="246" y="227"/>
                </a:cxn>
                <a:cxn ang="0">
                  <a:pos x="275" y="217"/>
                </a:cxn>
                <a:cxn ang="0">
                  <a:pos x="317" y="227"/>
                </a:cxn>
                <a:cxn ang="0">
                  <a:pos x="336" y="224"/>
                </a:cxn>
                <a:cxn ang="0">
                  <a:pos x="344" y="214"/>
                </a:cxn>
                <a:cxn ang="0">
                  <a:pos x="350" y="208"/>
                </a:cxn>
                <a:cxn ang="0">
                  <a:pos x="364" y="195"/>
                </a:cxn>
                <a:cxn ang="0">
                  <a:pos x="387" y="197"/>
                </a:cxn>
                <a:cxn ang="0">
                  <a:pos x="410" y="185"/>
                </a:cxn>
                <a:cxn ang="0">
                  <a:pos x="415" y="177"/>
                </a:cxn>
                <a:cxn ang="0">
                  <a:pos x="417" y="171"/>
                </a:cxn>
                <a:cxn ang="0">
                  <a:pos x="398" y="150"/>
                </a:cxn>
                <a:cxn ang="0">
                  <a:pos x="408" y="145"/>
                </a:cxn>
                <a:cxn ang="0">
                  <a:pos x="402" y="130"/>
                </a:cxn>
                <a:cxn ang="0">
                  <a:pos x="387" y="133"/>
                </a:cxn>
                <a:cxn ang="0">
                  <a:pos x="368" y="131"/>
                </a:cxn>
                <a:cxn ang="0">
                  <a:pos x="345" y="108"/>
                </a:cxn>
                <a:cxn ang="0">
                  <a:pos x="317" y="70"/>
                </a:cxn>
                <a:cxn ang="0">
                  <a:pos x="302" y="39"/>
                </a:cxn>
                <a:cxn ang="0">
                  <a:pos x="290" y="26"/>
                </a:cxn>
                <a:cxn ang="0">
                  <a:pos x="295" y="0"/>
                </a:cxn>
              </a:cxnLst>
              <a:rect l="0" t="0" r="r" b="b"/>
              <a:pathLst>
                <a:path w="417" h="307">
                  <a:moveTo>
                    <a:pt x="295" y="0"/>
                  </a:moveTo>
                  <a:lnTo>
                    <a:pt x="262" y="1"/>
                  </a:lnTo>
                  <a:lnTo>
                    <a:pt x="242" y="9"/>
                  </a:lnTo>
                  <a:lnTo>
                    <a:pt x="234" y="12"/>
                  </a:lnTo>
                  <a:lnTo>
                    <a:pt x="219" y="25"/>
                  </a:lnTo>
                  <a:lnTo>
                    <a:pt x="182" y="49"/>
                  </a:lnTo>
                  <a:lnTo>
                    <a:pt x="170" y="65"/>
                  </a:lnTo>
                  <a:lnTo>
                    <a:pt x="151" y="79"/>
                  </a:lnTo>
                  <a:lnTo>
                    <a:pt x="113" y="91"/>
                  </a:lnTo>
                  <a:lnTo>
                    <a:pt x="101" y="93"/>
                  </a:lnTo>
                  <a:lnTo>
                    <a:pt x="89" y="95"/>
                  </a:lnTo>
                  <a:lnTo>
                    <a:pt x="83" y="96"/>
                  </a:lnTo>
                  <a:lnTo>
                    <a:pt x="74" y="102"/>
                  </a:lnTo>
                  <a:lnTo>
                    <a:pt x="69" y="108"/>
                  </a:lnTo>
                  <a:lnTo>
                    <a:pt x="64" y="119"/>
                  </a:lnTo>
                  <a:lnTo>
                    <a:pt x="60" y="134"/>
                  </a:lnTo>
                  <a:lnTo>
                    <a:pt x="53" y="152"/>
                  </a:lnTo>
                  <a:lnTo>
                    <a:pt x="46" y="162"/>
                  </a:lnTo>
                  <a:lnTo>
                    <a:pt x="30" y="174"/>
                  </a:lnTo>
                  <a:lnTo>
                    <a:pt x="20" y="183"/>
                  </a:lnTo>
                  <a:lnTo>
                    <a:pt x="16" y="188"/>
                  </a:lnTo>
                  <a:lnTo>
                    <a:pt x="11" y="197"/>
                  </a:lnTo>
                  <a:lnTo>
                    <a:pt x="10" y="206"/>
                  </a:lnTo>
                  <a:lnTo>
                    <a:pt x="1" y="224"/>
                  </a:lnTo>
                  <a:lnTo>
                    <a:pt x="0" y="235"/>
                  </a:lnTo>
                  <a:lnTo>
                    <a:pt x="0" y="248"/>
                  </a:lnTo>
                  <a:lnTo>
                    <a:pt x="1" y="259"/>
                  </a:lnTo>
                  <a:lnTo>
                    <a:pt x="4" y="260"/>
                  </a:lnTo>
                  <a:lnTo>
                    <a:pt x="4" y="262"/>
                  </a:lnTo>
                  <a:lnTo>
                    <a:pt x="5" y="267"/>
                  </a:lnTo>
                  <a:lnTo>
                    <a:pt x="6" y="268"/>
                  </a:lnTo>
                  <a:lnTo>
                    <a:pt x="8" y="269"/>
                  </a:lnTo>
                  <a:lnTo>
                    <a:pt x="11" y="275"/>
                  </a:lnTo>
                  <a:lnTo>
                    <a:pt x="14" y="276"/>
                  </a:lnTo>
                  <a:lnTo>
                    <a:pt x="15" y="279"/>
                  </a:lnTo>
                  <a:lnTo>
                    <a:pt x="15" y="284"/>
                  </a:lnTo>
                  <a:lnTo>
                    <a:pt x="19" y="284"/>
                  </a:lnTo>
                  <a:lnTo>
                    <a:pt x="22" y="287"/>
                  </a:lnTo>
                  <a:lnTo>
                    <a:pt x="24" y="291"/>
                  </a:lnTo>
                  <a:lnTo>
                    <a:pt x="31" y="295"/>
                  </a:lnTo>
                  <a:lnTo>
                    <a:pt x="31" y="294"/>
                  </a:lnTo>
                  <a:lnTo>
                    <a:pt x="35" y="294"/>
                  </a:lnTo>
                  <a:lnTo>
                    <a:pt x="37" y="291"/>
                  </a:lnTo>
                  <a:lnTo>
                    <a:pt x="38" y="291"/>
                  </a:lnTo>
                  <a:lnTo>
                    <a:pt x="40" y="295"/>
                  </a:lnTo>
                  <a:lnTo>
                    <a:pt x="47" y="298"/>
                  </a:lnTo>
                  <a:lnTo>
                    <a:pt x="51" y="296"/>
                  </a:lnTo>
                  <a:lnTo>
                    <a:pt x="53" y="290"/>
                  </a:lnTo>
                  <a:lnTo>
                    <a:pt x="59" y="289"/>
                  </a:lnTo>
                  <a:lnTo>
                    <a:pt x="67" y="286"/>
                  </a:lnTo>
                  <a:lnTo>
                    <a:pt x="79" y="283"/>
                  </a:lnTo>
                  <a:lnTo>
                    <a:pt x="89" y="280"/>
                  </a:lnTo>
                  <a:lnTo>
                    <a:pt x="96" y="280"/>
                  </a:lnTo>
                  <a:lnTo>
                    <a:pt x="107" y="285"/>
                  </a:lnTo>
                  <a:lnTo>
                    <a:pt x="112" y="280"/>
                  </a:lnTo>
                  <a:lnTo>
                    <a:pt x="113" y="280"/>
                  </a:lnTo>
                  <a:lnTo>
                    <a:pt x="119" y="290"/>
                  </a:lnTo>
                  <a:lnTo>
                    <a:pt x="124" y="291"/>
                  </a:lnTo>
                  <a:lnTo>
                    <a:pt x="125" y="296"/>
                  </a:lnTo>
                  <a:lnTo>
                    <a:pt x="130" y="306"/>
                  </a:lnTo>
                  <a:lnTo>
                    <a:pt x="133" y="307"/>
                  </a:lnTo>
                  <a:lnTo>
                    <a:pt x="139" y="307"/>
                  </a:lnTo>
                  <a:lnTo>
                    <a:pt x="141" y="305"/>
                  </a:lnTo>
                  <a:lnTo>
                    <a:pt x="138" y="298"/>
                  </a:lnTo>
                  <a:lnTo>
                    <a:pt x="138" y="292"/>
                  </a:lnTo>
                  <a:lnTo>
                    <a:pt x="138" y="281"/>
                  </a:lnTo>
                  <a:lnTo>
                    <a:pt x="135" y="273"/>
                  </a:lnTo>
                  <a:lnTo>
                    <a:pt x="137" y="260"/>
                  </a:lnTo>
                  <a:lnTo>
                    <a:pt x="133" y="259"/>
                  </a:lnTo>
                  <a:lnTo>
                    <a:pt x="133" y="251"/>
                  </a:lnTo>
                  <a:lnTo>
                    <a:pt x="130" y="248"/>
                  </a:lnTo>
                  <a:lnTo>
                    <a:pt x="127" y="240"/>
                  </a:lnTo>
                  <a:lnTo>
                    <a:pt x="128" y="232"/>
                  </a:lnTo>
                  <a:lnTo>
                    <a:pt x="132" y="224"/>
                  </a:lnTo>
                  <a:lnTo>
                    <a:pt x="149" y="221"/>
                  </a:lnTo>
                  <a:lnTo>
                    <a:pt x="160" y="221"/>
                  </a:lnTo>
                  <a:lnTo>
                    <a:pt x="171" y="224"/>
                  </a:lnTo>
                  <a:lnTo>
                    <a:pt x="199" y="222"/>
                  </a:lnTo>
                  <a:lnTo>
                    <a:pt x="225" y="227"/>
                  </a:lnTo>
                  <a:lnTo>
                    <a:pt x="242" y="228"/>
                  </a:lnTo>
                  <a:lnTo>
                    <a:pt x="246" y="227"/>
                  </a:lnTo>
                  <a:lnTo>
                    <a:pt x="258" y="219"/>
                  </a:lnTo>
                  <a:lnTo>
                    <a:pt x="275" y="216"/>
                  </a:lnTo>
                  <a:lnTo>
                    <a:pt x="275" y="217"/>
                  </a:lnTo>
                  <a:lnTo>
                    <a:pt x="310" y="222"/>
                  </a:lnTo>
                  <a:lnTo>
                    <a:pt x="313" y="227"/>
                  </a:lnTo>
                  <a:lnTo>
                    <a:pt x="317" y="227"/>
                  </a:lnTo>
                  <a:lnTo>
                    <a:pt x="320" y="225"/>
                  </a:lnTo>
                  <a:lnTo>
                    <a:pt x="334" y="225"/>
                  </a:lnTo>
                  <a:lnTo>
                    <a:pt x="336" y="224"/>
                  </a:lnTo>
                  <a:lnTo>
                    <a:pt x="339" y="220"/>
                  </a:lnTo>
                  <a:lnTo>
                    <a:pt x="343" y="220"/>
                  </a:lnTo>
                  <a:lnTo>
                    <a:pt x="344" y="214"/>
                  </a:lnTo>
                  <a:lnTo>
                    <a:pt x="347" y="211"/>
                  </a:lnTo>
                  <a:lnTo>
                    <a:pt x="348" y="210"/>
                  </a:lnTo>
                  <a:lnTo>
                    <a:pt x="350" y="208"/>
                  </a:lnTo>
                  <a:lnTo>
                    <a:pt x="354" y="209"/>
                  </a:lnTo>
                  <a:lnTo>
                    <a:pt x="361" y="197"/>
                  </a:lnTo>
                  <a:lnTo>
                    <a:pt x="364" y="195"/>
                  </a:lnTo>
                  <a:lnTo>
                    <a:pt x="370" y="195"/>
                  </a:lnTo>
                  <a:lnTo>
                    <a:pt x="379" y="199"/>
                  </a:lnTo>
                  <a:lnTo>
                    <a:pt x="387" y="197"/>
                  </a:lnTo>
                  <a:lnTo>
                    <a:pt x="393" y="199"/>
                  </a:lnTo>
                  <a:lnTo>
                    <a:pt x="398" y="197"/>
                  </a:lnTo>
                  <a:lnTo>
                    <a:pt x="410" y="185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5" y="177"/>
                  </a:lnTo>
                  <a:lnTo>
                    <a:pt x="417" y="172"/>
                  </a:lnTo>
                  <a:lnTo>
                    <a:pt x="417" y="170"/>
                  </a:lnTo>
                  <a:lnTo>
                    <a:pt x="417" y="171"/>
                  </a:lnTo>
                  <a:lnTo>
                    <a:pt x="406" y="161"/>
                  </a:lnTo>
                  <a:lnTo>
                    <a:pt x="399" y="154"/>
                  </a:lnTo>
                  <a:lnTo>
                    <a:pt x="398" y="150"/>
                  </a:lnTo>
                  <a:lnTo>
                    <a:pt x="399" y="146"/>
                  </a:lnTo>
                  <a:lnTo>
                    <a:pt x="403" y="145"/>
                  </a:lnTo>
                  <a:lnTo>
                    <a:pt x="408" y="145"/>
                  </a:lnTo>
                  <a:lnTo>
                    <a:pt x="409" y="142"/>
                  </a:lnTo>
                  <a:lnTo>
                    <a:pt x="408" y="140"/>
                  </a:lnTo>
                  <a:lnTo>
                    <a:pt x="402" y="130"/>
                  </a:lnTo>
                  <a:lnTo>
                    <a:pt x="396" y="127"/>
                  </a:lnTo>
                  <a:lnTo>
                    <a:pt x="392" y="128"/>
                  </a:lnTo>
                  <a:lnTo>
                    <a:pt x="387" y="133"/>
                  </a:lnTo>
                  <a:lnTo>
                    <a:pt x="382" y="134"/>
                  </a:lnTo>
                  <a:lnTo>
                    <a:pt x="379" y="134"/>
                  </a:lnTo>
                  <a:lnTo>
                    <a:pt x="368" y="131"/>
                  </a:lnTo>
                  <a:lnTo>
                    <a:pt x="360" y="127"/>
                  </a:lnTo>
                  <a:lnTo>
                    <a:pt x="349" y="114"/>
                  </a:lnTo>
                  <a:lnTo>
                    <a:pt x="345" y="108"/>
                  </a:lnTo>
                  <a:lnTo>
                    <a:pt x="339" y="93"/>
                  </a:lnTo>
                  <a:lnTo>
                    <a:pt x="334" y="84"/>
                  </a:lnTo>
                  <a:lnTo>
                    <a:pt x="317" y="70"/>
                  </a:lnTo>
                  <a:lnTo>
                    <a:pt x="305" y="55"/>
                  </a:lnTo>
                  <a:lnTo>
                    <a:pt x="301" y="48"/>
                  </a:lnTo>
                  <a:lnTo>
                    <a:pt x="302" y="39"/>
                  </a:lnTo>
                  <a:lnTo>
                    <a:pt x="301" y="37"/>
                  </a:lnTo>
                  <a:lnTo>
                    <a:pt x="291" y="28"/>
                  </a:lnTo>
                  <a:lnTo>
                    <a:pt x="290" y="26"/>
                  </a:lnTo>
                  <a:lnTo>
                    <a:pt x="293" y="16"/>
                  </a:lnTo>
                  <a:lnTo>
                    <a:pt x="294" y="5"/>
                  </a:lnTo>
                  <a:lnTo>
                    <a:pt x="295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7" name="Cameroon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 bwMode="gray">
            <a:xfrm>
              <a:off x="4669016" y="4299701"/>
              <a:ext cx="196610" cy="287894"/>
            </a:xfrm>
            <a:custGeom>
              <a:avLst/>
              <a:gdLst/>
              <a:ahLst/>
              <a:cxnLst>
                <a:cxn ang="0">
                  <a:pos x="220" y="581"/>
                </a:cxn>
                <a:cxn ang="0">
                  <a:pos x="170" y="579"/>
                </a:cxn>
                <a:cxn ang="0">
                  <a:pos x="74" y="585"/>
                </a:cxn>
                <a:cxn ang="0">
                  <a:pos x="79" y="536"/>
                </a:cxn>
                <a:cxn ang="0">
                  <a:pos x="75" y="520"/>
                </a:cxn>
                <a:cxn ang="0">
                  <a:pos x="63" y="502"/>
                </a:cxn>
                <a:cxn ang="0">
                  <a:pos x="68" y="494"/>
                </a:cxn>
                <a:cxn ang="0">
                  <a:pos x="58" y="484"/>
                </a:cxn>
                <a:cxn ang="0">
                  <a:pos x="32" y="480"/>
                </a:cxn>
                <a:cxn ang="0">
                  <a:pos x="11" y="456"/>
                </a:cxn>
                <a:cxn ang="0">
                  <a:pos x="3" y="448"/>
                </a:cxn>
                <a:cxn ang="0">
                  <a:pos x="7" y="432"/>
                </a:cxn>
                <a:cxn ang="0">
                  <a:pos x="19" y="400"/>
                </a:cxn>
                <a:cxn ang="0">
                  <a:pos x="39" y="358"/>
                </a:cxn>
                <a:cxn ang="0">
                  <a:pos x="62" y="328"/>
                </a:cxn>
                <a:cxn ang="0">
                  <a:pos x="101" y="323"/>
                </a:cxn>
                <a:cxn ang="0">
                  <a:pos x="130" y="339"/>
                </a:cxn>
                <a:cxn ang="0">
                  <a:pos x="143" y="350"/>
                </a:cxn>
                <a:cxn ang="0">
                  <a:pos x="168" y="342"/>
                </a:cxn>
                <a:cxn ang="0">
                  <a:pos x="198" y="280"/>
                </a:cxn>
                <a:cxn ang="0">
                  <a:pos x="210" y="241"/>
                </a:cxn>
                <a:cxn ang="0">
                  <a:pos x="238" y="217"/>
                </a:cxn>
                <a:cxn ang="0">
                  <a:pos x="249" y="171"/>
                </a:cxn>
                <a:cxn ang="0">
                  <a:pos x="263" y="131"/>
                </a:cxn>
                <a:cxn ang="0">
                  <a:pos x="279" y="95"/>
                </a:cxn>
                <a:cxn ang="0">
                  <a:pos x="307" y="77"/>
                </a:cxn>
                <a:cxn ang="0">
                  <a:pos x="327" y="48"/>
                </a:cxn>
                <a:cxn ang="0">
                  <a:pos x="323" y="23"/>
                </a:cxn>
                <a:cxn ang="0">
                  <a:pos x="310" y="15"/>
                </a:cxn>
                <a:cxn ang="0">
                  <a:pos x="332" y="0"/>
                </a:cxn>
                <a:cxn ang="0">
                  <a:pos x="340" y="4"/>
                </a:cxn>
                <a:cxn ang="0">
                  <a:pos x="355" y="48"/>
                </a:cxn>
                <a:cxn ang="0">
                  <a:pos x="349" y="90"/>
                </a:cxn>
                <a:cxn ang="0">
                  <a:pos x="374" y="140"/>
                </a:cxn>
                <a:cxn ang="0">
                  <a:pos x="376" y="157"/>
                </a:cxn>
                <a:cxn ang="0">
                  <a:pos x="337" y="154"/>
                </a:cxn>
                <a:cxn ang="0">
                  <a:pos x="315" y="159"/>
                </a:cxn>
                <a:cxn ang="0">
                  <a:pos x="311" y="192"/>
                </a:cxn>
                <a:cxn ang="0">
                  <a:pos x="338" y="215"/>
                </a:cxn>
                <a:cxn ang="0">
                  <a:pos x="360" y="230"/>
                </a:cxn>
                <a:cxn ang="0">
                  <a:pos x="376" y="292"/>
                </a:cxn>
                <a:cxn ang="0">
                  <a:pos x="370" y="323"/>
                </a:cxn>
                <a:cxn ang="0">
                  <a:pos x="343" y="369"/>
                </a:cxn>
                <a:cxn ang="0">
                  <a:pos x="335" y="407"/>
                </a:cxn>
                <a:cxn ang="0">
                  <a:pos x="345" y="458"/>
                </a:cxn>
                <a:cxn ang="0">
                  <a:pos x="390" y="528"/>
                </a:cxn>
                <a:cxn ang="0">
                  <a:pos x="418" y="559"/>
                </a:cxn>
                <a:cxn ang="0">
                  <a:pos x="413" y="615"/>
                </a:cxn>
                <a:cxn ang="0">
                  <a:pos x="366" y="592"/>
                </a:cxn>
                <a:cxn ang="0">
                  <a:pos x="264" y="585"/>
                </a:cxn>
              </a:cxnLst>
              <a:rect l="0" t="0" r="r" b="b"/>
              <a:pathLst>
                <a:path w="420" h="615">
                  <a:moveTo>
                    <a:pt x="264" y="585"/>
                  </a:moveTo>
                  <a:lnTo>
                    <a:pt x="256" y="582"/>
                  </a:lnTo>
                  <a:lnTo>
                    <a:pt x="220" y="581"/>
                  </a:lnTo>
                  <a:lnTo>
                    <a:pt x="204" y="577"/>
                  </a:lnTo>
                  <a:lnTo>
                    <a:pt x="184" y="581"/>
                  </a:lnTo>
                  <a:lnTo>
                    <a:pt x="170" y="579"/>
                  </a:lnTo>
                  <a:lnTo>
                    <a:pt x="156" y="582"/>
                  </a:lnTo>
                  <a:lnTo>
                    <a:pt x="116" y="582"/>
                  </a:lnTo>
                  <a:lnTo>
                    <a:pt x="74" y="585"/>
                  </a:lnTo>
                  <a:lnTo>
                    <a:pt x="70" y="586"/>
                  </a:lnTo>
                  <a:lnTo>
                    <a:pt x="74" y="552"/>
                  </a:lnTo>
                  <a:lnTo>
                    <a:pt x="79" y="536"/>
                  </a:lnTo>
                  <a:lnTo>
                    <a:pt x="79" y="529"/>
                  </a:lnTo>
                  <a:lnTo>
                    <a:pt x="81" y="527"/>
                  </a:lnTo>
                  <a:lnTo>
                    <a:pt x="75" y="520"/>
                  </a:lnTo>
                  <a:lnTo>
                    <a:pt x="69" y="513"/>
                  </a:lnTo>
                  <a:lnTo>
                    <a:pt x="66" y="509"/>
                  </a:lnTo>
                  <a:lnTo>
                    <a:pt x="63" y="502"/>
                  </a:lnTo>
                  <a:lnTo>
                    <a:pt x="63" y="500"/>
                  </a:lnTo>
                  <a:lnTo>
                    <a:pt x="66" y="499"/>
                  </a:lnTo>
                  <a:lnTo>
                    <a:pt x="68" y="494"/>
                  </a:lnTo>
                  <a:lnTo>
                    <a:pt x="68" y="485"/>
                  </a:lnTo>
                  <a:lnTo>
                    <a:pt x="64" y="483"/>
                  </a:lnTo>
                  <a:lnTo>
                    <a:pt x="58" y="484"/>
                  </a:lnTo>
                  <a:lnTo>
                    <a:pt x="57" y="488"/>
                  </a:lnTo>
                  <a:lnTo>
                    <a:pt x="52" y="489"/>
                  </a:lnTo>
                  <a:lnTo>
                    <a:pt x="32" y="480"/>
                  </a:lnTo>
                  <a:lnTo>
                    <a:pt x="27" y="471"/>
                  </a:lnTo>
                  <a:lnTo>
                    <a:pt x="21" y="456"/>
                  </a:lnTo>
                  <a:lnTo>
                    <a:pt x="11" y="456"/>
                  </a:lnTo>
                  <a:lnTo>
                    <a:pt x="6" y="458"/>
                  </a:lnTo>
                  <a:lnTo>
                    <a:pt x="1" y="455"/>
                  </a:lnTo>
                  <a:lnTo>
                    <a:pt x="3" y="448"/>
                  </a:lnTo>
                  <a:lnTo>
                    <a:pt x="0" y="446"/>
                  </a:lnTo>
                  <a:lnTo>
                    <a:pt x="0" y="439"/>
                  </a:lnTo>
                  <a:lnTo>
                    <a:pt x="7" y="432"/>
                  </a:lnTo>
                  <a:lnTo>
                    <a:pt x="14" y="423"/>
                  </a:lnTo>
                  <a:lnTo>
                    <a:pt x="17" y="414"/>
                  </a:lnTo>
                  <a:lnTo>
                    <a:pt x="19" y="400"/>
                  </a:lnTo>
                  <a:lnTo>
                    <a:pt x="22" y="385"/>
                  </a:lnTo>
                  <a:lnTo>
                    <a:pt x="31" y="369"/>
                  </a:lnTo>
                  <a:lnTo>
                    <a:pt x="39" y="358"/>
                  </a:lnTo>
                  <a:lnTo>
                    <a:pt x="47" y="350"/>
                  </a:lnTo>
                  <a:lnTo>
                    <a:pt x="58" y="345"/>
                  </a:lnTo>
                  <a:lnTo>
                    <a:pt x="62" y="328"/>
                  </a:lnTo>
                  <a:lnTo>
                    <a:pt x="64" y="328"/>
                  </a:lnTo>
                  <a:lnTo>
                    <a:pt x="79" y="328"/>
                  </a:lnTo>
                  <a:lnTo>
                    <a:pt x="101" y="323"/>
                  </a:lnTo>
                  <a:lnTo>
                    <a:pt x="116" y="324"/>
                  </a:lnTo>
                  <a:lnTo>
                    <a:pt x="127" y="334"/>
                  </a:lnTo>
                  <a:lnTo>
                    <a:pt x="130" y="339"/>
                  </a:lnTo>
                  <a:lnTo>
                    <a:pt x="130" y="340"/>
                  </a:lnTo>
                  <a:lnTo>
                    <a:pt x="134" y="343"/>
                  </a:lnTo>
                  <a:lnTo>
                    <a:pt x="143" y="350"/>
                  </a:lnTo>
                  <a:lnTo>
                    <a:pt x="156" y="351"/>
                  </a:lnTo>
                  <a:lnTo>
                    <a:pt x="165" y="348"/>
                  </a:lnTo>
                  <a:lnTo>
                    <a:pt x="168" y="342"/>
                  </a:lnTo>
                  <a:lnTo>
                    <a:pt x="170" y="333"/>
                  </a:lnTo>
                  <a:lnTo>
                    <a:pt x="188" y="302"/>
                  </a:lnTo>
                  <a:lnTo>
                    <a:pt x="198" y="280"/>
                  </a:lnTo>
                  <a:lnTo>
                    <a:pt x="200" y="273"/>
                  </a:lnTo>
                  <a:lnTo>
                    <a:pt x="204" y="257"/>
                  </a:lnTo>
                  <a:lnTo>
                    <a:pt x="210" y="241"/>
                  </a:lnTo>
                  <a:lnTo>
                    <a:pt x="221" y="229"/>
                  </a:lnTo>
                  <a:lnTo>
                    <a:pt x="236" y="222"/>
                  </a:lnTo>
                  <a:lnTo>
                    <a:pt x="238" y="217"/>
                  </a:lnTo>
                  <a:lnTo>
                    <a:pt x="240" y="211"/>
                  </a:lnTo>
                  <a:lnTo>
                    <a:pt x="241" y="199"/>
                  </a:lnTo>
                  <a:lnTo>
                    <a:pt x="249" y="171"/>
                  </a:lnTo>
                  <a:lnTo>
                    <a:pt x="251" y="160"/>
                  </a:lnTo>
                  <a:lnTo>
                    <a:pt x="254" y="149"/>
                  </a:lnTo>
                  <a:lnTo>
                    <a:pt x="263" y="131"/>
                  </a:lnTo>
                  <a:lnTo>
                    <a:pt x="270" y="108"/>
                  </a:lnTo>
                  <a:lnTo>
                    <a:pt x="274" y="101"/>
                  </a:lnTo>
                  <a:lnTo>
                    <a:pt x="279" y="95"/>
                  </a:lnTo>
                  <a:lnTo>
                    <a:pt x="288" y="85"/>
                  </a:lnTo>
                  <a:lnTo>
                    <a:pt x="291" y="84"/>
                  </a:lnTo>
                  <a:lnTo>
                    <a:pt x="307" y="77"/>
                  </a:lnTo>
                  <a:lnTo>
                    <a:pt x="310" y="74"/>
                  </a:lnTo>
                  <a:lnTo>
                    <a:pt x="329" y="61"/>
                  </a:lnTo>
                  <a:lnTo>
                    <a:pt x="327" y="48"/>
                  </a:lnTo>
                  <a:lnTo>
                    <a:pt x="328" y="31"/>
                  </a:lnTo>
                  <a:lnTo>
                    <a:pt x="326" y="26"/>
                  </a:lnTo>
                  <a:lnTo>
                    <a:pt x="323" y="23"/>
                  </a:lnTo>
                  <a:lnTo>
                    <a:pt x="322" y="22"/>
                  </a:lnTo>
                  <a:lnTo>
                    <a:pt x="311" y="18"/>
                  </a:lnTo>
                  <a:lnTo>
                    <a:pt x="310" y="15"/>
                  </a:lnTo>
                  <a:lnTo>
                    <a:pt x="315" y="15"/>
                  </a:lnTo>
                  <a:lnTo>
                    <a:pt x="323" y="3"/>
                  </a:lnTo>
                  <a:lnTo>
                    <a:pt x="332" y="0"/>
                  </a:lnTo>
                  <a:lnTo>
                    <a:pt x="338" y="0"/>
                  </a:lnTo>
                  <a:lnTo>
                    <a:pt x="340" y="1"/>
                  </a:lnTo>
                  <a:lnTo>
                    <a:pt x="340" y="4"/>
                  </a:lnTo>
                  <a:lnTo>
                    <a:pt x="347" y="32"/>
                  </a:lnTo>
                  <a:lnTo>
                    <a:pt x="353" y="41"/>
                  </a:lnTo>
                  <a:lnTo>
                    <a:pt x="355" y="48"/>
                  </a:lnTo>
                  <a:lnTo>
                    <a:pt x="354" y="68"/>
                  </a:lnTo>
                  <a:lnTo>
                    <a:pt x="353" y="79"/>
                  </a:lnTo>
                  <a:lnTo>
                    <a:pt x="349" y="90"/>
                  </a:lnTo>
                  <a:lnTo>
                    <a:pt x="349" y="98"/>
                  </a:lnTo>
                  <a:lnTo>
                    <a:pt x="359" y="119"/>
                  </a:lnTo>
                  <a:lnTo>
                    <a:pt x="374" y="140"/>
                  </a:lnTo>
                  <a:lnTo>
                    <a:pt x="376" y="146"/>
                  </a:lnTo>
                  <a:lnTo>
                    <a:pt x="377" y="155"/>
                  </a:lnTo>
                  <a:lnTo>
                    <a:pt x="376" y="157"/>
                  </a:lnTo>
                  <a:lnTo>
                    <a:pt x="372" y="160"/>
                  </a:lnTo>
                  <a:lnTo>
                    <a:pt x="353" y="156"/>
                  </a:lnTo>
                  <a:lnTo>
                    <a:pt x="337" y="154"/>
                  </a:lnTo>
                  <a:lnTo>
                    <a:pt x="322" y="155"/>
                  </a:lnTo>
                  <a:lnTo>
                    <a:pt x="318" y="156"/>
                  </a:lnTo>
                  <a:lnTo>
                    <a:pt x="315" y="159"/>
                  </a:lnTo>
                  <a:lnTo>
                    <a:pt x="310" y="165"/>
                  </a:lnTo>
                  <a:lnTo>
                    <a:pt x="310" y="179"/>
                  </a:lnTo>
                  <a:lnTo>
                    <a:pt x="311" y="192"/>
                  </a:lnTo>
                  <a:lnTo>
                    <a:pt x="322" y="205"/>
                  </a:lnTo>
                  <a:lnTo>
                    <a:pt x="329" y="211"/>
                  </a:lnTo>
                  <a:lnTo>
                    <a:pt x="338" y="215"/>
                  </a:lnTo>
                  <a:lnTo>
                    <a:pt x="350" y="217"/>
                  </a:lnTo>
                  <a:lnTo>
                    <a:pt x="354" y="220"/>
                  </a:lnTo>
                  <a:lnTo>
                    <a:pt x="360" y="230"/>
                  </a:lnTo>
                  <a:lnTo>
                    <a:pt x="370" y="257"/>
                  </a:lnTo>
                  <a:lnTo>
                    <a:pt x="375" y="275"/>
                  </a:lnTo>
                  <a:lnTo>
                    <a:pt x="376" y="292"/>
                  </a:lnTo>
                  <a:lnTo>
                    <a:pt x="377" y="295"/>
                  </a:lnTo>
                  <a:lnTo>
                    <a:pt x="380" y="297"/>
                  </a:lnTo>
                  <a:lnTo>
                    <a:pt x="370" y="323"/>
                  </a:lnTo>
                  <a:lnTo>
                    <a:pt x="360" y="338"/>
                  </a:lnTo>
                  <a:lnTo>
                    <a:pt x="353" y="354"/>
                  </a:lnTo>
                  <a:lnTo>
                    <a:pt x="343" y="369"/>
                  </a:lnTo>
                  <a:lnTo>
                    <a:pt x="332" y="380"/>
                  </a:lnTo>
                  <a:lnTo>
                    <a:pt x="332" y="393"/>
                  </a:lnTo>
                  <a:lnTo>
                    <a:pt x="335" y="407"/>
                  </a:lnTo>
                  <a:lnTo>
                    <a:pt x="334" y="424"/>
                  </a:lnTo>
                  <a:lnTo>
                    <a:pt x="335" y="440"/>
                  </a:lnTo>
                  <a:lnTo>
                    <a:pt x="345" y="458"/>
                  </a:lnTo>
                  <a:lnTo>
                    <a:pt x="354" y="469"/>
                  </a:lnTo>
                  <a:lnTo>
                    <a:pt x="378" y="516"/>
                  </a:lnTo>
                  <a:lnTo>
                    <a:pt x="390" y="528"/>
                  </a:lnTo>
                  <a:lnTo>
                    <a:pt x="413" y="548"/>
                  </a:lnTo>
                  <a:lnTo>
                    <a:pt x="420" y="548"/>
                  </a:lnTo>
                  <a:lnTo>
                    <a:pt x="418" y="559"/>
                  </a:lnTo>
                  <a:lnTo>
                    <a:pt x="420" y="602"/>
                  </a:lnTo>
                  <a:lnTo>
                    <a:pt x="418" y="612"/>
                  </a:lnTo>
                  <a:lnTo>
                    <a:pt x="413" y="615"/>
                  </a:lnTo>
                  <a:lnTo>
                    <a:pt x="390" y="597"/>
                  </a:lnTo>
                  <a:lnTo>
                    <a:pt x="380" y="597"/>
                  </a:lnTo>
                  <a:lnTo>
                    <a:pt x="366" y="592"/>
                  </a:lnTo>
                  <a:lnTo>
                    <a:pt x="351" y="591"/>
                  </a:lnTo>
                  <a:lnTo>
                    <a:pt x="340" y="585"/>
                  </a:lnTo>
                  <a:lnTo>
                    <a:pt x="264" y="58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8" name="Benin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gray">
            <a:xfrm>
              <a:off x="4472406" y="4309063"/>
              <a:ext cx="77240" cy="159161"/>
            </a:xfrm>
            <a:custGeom>
              <a:avLst/>
              <a:gdLst/>
              <a:ahLst/>
              <a:cxnLst>
                <a:cxn ang="0">
                  <a:pos x="147" y="30"/>
                </a:cxn>
                <a:cxn ang="0">
                  <a:pos x="128" y="12"/>
                </a:cxn>
                <a:cxn ang="0">
                  <a:pos x="114" y="0"/>
                </a:cxn>
                <a:cxn ang="0">
                  <a:pos x="101" y="5"/>
                </a:cxn>
                <a:cxn ang="0">
                  <a:pos x="90" y="12"/>
                </a:cxn>
                <a:cxn ang="0">
                  <a:pos x="90" y="25"/>
                </a:cxn>
                <a:cxn ang="0">
                  <a:pos x="90" y="26"/>
                </a:cxn>
                <a:cxn ang="0">
                  <a:pos x="85" y="35"/>
                </a:cxn>
                <a:cxn ang="0">
                  <a:pos x="83" y="39"/>
                </a:cxn>
                <a:cxn ang="0">
                  <a:pos x="66" y="53"/>
                </a:cxn>
                <a:cxn ang="0">
                  <a:pos x="52" y="53"/>
                </a:cxn>
                <a:cxn ang="0">
                  <a:pos x="37" y="49"/>
                </a:cxn>
                <a:cxn ang="0">
                  <a:pos x="27" y="63"/>
                </a:cxn>
                <a:cxn ang="0">
                  <a:pos x="21" y="64"/>
                </a:cxn>
                <a:cxn ang="0">
                  <a:pos x="17" y="68"/>
                </a:cxn>
                <a:cxn ang="0">
                  <a:pos x="12" y="74"/>
                </a:cxn>
                <a:cxn ang="0">
                  <a:pos x="6" y="80"/>
                </a:cxn>
                <a:cxn ang="0">
                  <a:pos x="1" y="95"/>
                </a:cxn>
                <a:cxn ang="0">
                  <a:pos x="0" y="113"/>
                </a:cxn>
                <a:cxn ang="0">
                  <a:pos x="11" y="121"/>
                </a:cxn>
                <a:cxn ang="0">
                  <a:pos x="20" y="124"/>
                </a:cxn>
                <a:cxn ang="0">
                  <a:pos x="41" y="159"/>
                </a:cxn>
                <a:cxn ang="0">
                  <a:pos x="50" y="189"/>
                </a:cxn>
                <a:cxn ang="0">
                  <a:pos x="54" y="204"/>
                </a:cxn>
                <a:cxn ang="0">
                  <a:pos x="58" y="234"/>
                </a:cxn>
                <a:cxn ang="0">
                  <a:pos x="54" y="308"/>
                </a:cxn>
                <a:cxn ang="0">
                  <a:pos x="58" y="331"/>
                </a:cxn>
                <a:cxn ang="0">
                  <a:pos x="61" y="339"/>
                </a:cxn>
                <a:cxn ang="0">
                  <a:pos x="112" y="337"/>
                </a:cxn>
                <a:cxn ang="0">
                  <a:pos x="107" y="295"/>
                </a:cxn>
                <a:cxn ang="0">
                  <a:pos x="113" y="265"/>
                </a:cxn>
                <a:cxn ang="0">
                  <a:pos x="113" y="215"/>
                </a:cxn>
                <a:cxn ang="0">
                  <a:pos x="129" y="183"/>
                </a:cxn>
                <a:cxn ang="0">
                  <a:pos x="133" y="159"/>
                </a:cxn>
                <a:cxn ang="0">
                  <a:pos x="156" y="138"/>
                </a:cxn>
                <a:cxn ang="0">
                  <a:pos x="160" y="129"/>
                </a:cxn>
                <a:cxn ang="0">
                  <a:pos x="160" y="124"/>
                </a:cxn>
                <a:cxn ang="0">
                  <a:pos x="155" y="117"/>
                </a:cxn>
                <a:cxn ang="0">
                  <a:pos x="160" y="109"/>
                </a:cxn>
                <a:cxn ang="0">
                  <a:pos x="166" y="107"/>
                </a:cxn>
                <a:cxn ang="0">
                  <a:pos x="162" y="74"/>
                </a:cxn>
                <a:cxn ang="0">
                  <a:pos x="151" y="59"/>
                </a:cxn>
                <a:cxn ang="0">
                  <a:pos x="151" y="43"/>
                </a:cxn>
              </a:cxnLst>
              <a:rect l="0" t="0" r="r" b="b"/>
              <a:pathLst>
                <a:path w="166" h="340">
                  <a:moveTo>
                    <a:pt x="156" y="37"/>
                  </a:moveTo>
                  <a:lnTo>
                    <a:pt x="147" y="30"/>
                  </a:lnTo>
                  <a:lnTo>
                    <a:pt x="140" y="25"/>
                  </a:lnTo>
                  <a:lnTo>
                    <a:pt x="128" y="12"/>
                  </a:lnTo>
                  <a:lnTo>
                    <a:pt x="117" y="1"/>
                  </a:lnTo>
                  <a:lnTo>
                    <a:pt x="114" y="0"/>
                  </a:lnTo>
                  <a:lnTo>
                    <a:pt x="106" y="4"/>
                  </a:lnTo>
                  <a:lnTo>
                    <a:pt x="101" y="5"/>
                  </a:lnTo>
                  <a:lnTo>
                    <a:pt x="90" y="8"/>
                  </a:lnTo>
                  <a:lnTo>
                    <a:pt x="90" y="12"/>
                  </a:lnTo>
                  <a:lnTo>
                    <a:pt x="97" y="21"/>
                  </a:lnTo>
                  <a:lnTo>
                    <a:pt x="90" y="25"/>
                  </a:lnTo>
                  <a:lnTo>
                    <a:pt x="90" y="24"/>
                  </a:lnTo>
                  <a:lnTo>
                    <a:pt x="90" y="26"/>
                  </a:lnTo>
                  <a:lnTo>
                    <a:pt x="88" y="31"/>
                  </a:lnTo>
                  <a:lnTo>
                    <a:pt x="85" y="35"/>
                  </a:lnTo>
                  <a:lnTo>
                    <a:pt x="85" y="36"/>
                  </a:lnTo>
                  <a:lnTo>
                    <a:pt x="83" y="39"/>
                  </a:lnTo>
                  <a:lnTo>
                    <a:pt x="71" y="51"/>
                  </a:lnTo>
                  <a:lnTo>
                    <a:pt x="66" y="53"/>
                  </a:lnTo>
                  <a:lnTo>
                    <a:pt x="60" y="51"/>
                  </a:lnTo>
                  <a:lnTo>
                    <a:pt x="52" y="53"/>
                  </a:lnTo>
                  <a:lnTo>
                    <a:pt x="43" y="49"/>
                  </a:lnTo>
                  <a:lnTo>
                    <a:pt x="37" y="49"/>
                  </a:lnTo>
                  <a:lnTo>
                    <a:pt x="34" y="51"/>
                  </a:lnTo>
                  <a:lnTo>
                    <a:pt x="27" y="63"/>
                  </a:lnTo>
                  <a:lnTo>
                    <a:pt x="23" y="62"/>
                  </a:lnTo>
                  <a:lnTo>
                    <a:pt x="21" y="64"/>
                  </a:lnTo>
                  <a:lnTo>
                    <a:pt x="20" y="65"/>
                  </a:lnTo>
                  <a:lnTo>
                    <a:pt x="17" y="68"/>
                  </a:lnTo>
                  <a:lnTo>
                    <a:pt x="16" y="74"/>
                  </a:lnTo>
                  <a:lnTo>
                    <a:pt x="12" y="74"/>
                  </a:lnTo>
                  <a:lnTo>
                    <a:pt x="9" y="78"/>
                  </a:lnTo>
                  <a:lnTo>
                    <a:pt x="6" y="80"/>
                  </a:lnTo>
                  <a:lnTo>
                    <a:pt x="5" y="87"/>
                  </a:lnTo>
                  <a:lnTo>
                    <a:pt x="1" y="95"/>
                  </a:lnTo>
                  <a:lnTo>
                    <a:pt x="0" y="105"/>
                  </a:lnTo>
                  <a:lnTo>
                    <a:pt x="0" y="113"/>
                  </a:lnTo>
                  <a:lnTo>
                    <a:pt x="5" y="117"/>
                  </a:lnTo>
                  <a:lnTo>
                    <a:pt x="11" y="121"/>
                  </a:lnTo>
                  <a:lnTo>
                    <a:pt x="15" y="121"/>
                  </a:lnTo>
                  <a:lnTo>
                    <a:pt x="20" y="124"/>
                  </a:lnTo>
                  <a:lnTo>
                    <a:pt x="32" y="139"/>
                  </a:lnTo>
                  <a:lnTo>
                    <a:pt x="41" y="159"/>
                  </a:lnTo>
                  <a:lnTo>
                    <a:pt x="47" y="180"/>
                  </a:lnTo>
                  <a:lnTo>
                    <a:pt x="50" y="189"/>
                  </a:lnTo>
                  <a:lnTo>
                    <a:pt x="52" y="195"/>
                  </a:lnTo>
                  <a:lnTo>
                    <a:pt x="54" y="204"/>
                  </a:lnTo>
                  <a:lnTo>
                    <a:pt x="56" y="215"/>
                  </a:lnTo>
                  <a:lnTo>
                    <a:pt x="58" y="234"/>
                  </a:lnTo>
                  <a:lnTo>
                    <a:pt x="58" y="285"/>
                  </a:lnTo>
                  <a:lnTo>
                    <a:pt x="54" y="308"/>
                  </a:lnTo>
                  <a:lnTo>
                    <a:pt x="54" y="318"/>
                  </a:lnTo>
                  <a:lnTo>
                    <a:pt x="58" y="331"/>
                  </a:lnTo>
                  <a:lnTo>
                    <a:pt x="60" y="338"/>
                  </a:lnTo>
                  <a:lnTo>
                    <a:pt x="61" y="339"/>
                  </a:lnTo>
                  <a:lnTo>
                    <a:pt x="68" y="340"/>
                  </a:lnTo>
                  <a:lnTo>
                    <a:pt x="112" y="337"/>
                  </a:lnTo>
                  <a:lnTo>
                    <a:pt x="109" y="334"/>
                  </a:lnTo>
                  <a:lnTo>
                    <a:pt x="107" y="295"/>
                  </a:lnTo>
                  <a:lnTo>
                    <a:pt x="108" y="286"/>
                  </a:lnTo>
                  <a:lnTo>
                    <a:pt x="113" y="265"/>
                  </a:lnTo>
                  <a:lnTo>
                    <a:pt x="112" y="235"/>
                  </a:lnTo>
                  <a:lnTo>
                    <a:pt x="113" y="215"/>
                  </a:lnTo>
                  <a:lnTo>
                    <a:pt x="117" y="203"/>
                  </a:lnTo>
                  <a:lnTo>
                    <a:pt x="129" y="183"/>
                  </a:lnTo>
                  <a:lnTo>
                    <a:pt x="130" y="168"/>
                  </a:lnTo>
                  <a:lnTo>
                    <a:pt x="133" y="159"/>
                  </a:lnTo>
                  <a:lnTo>
                    <a:pt x="141" y="149"/>
                  </a:lnTo>
                  <a:lnTo>
                    <a:pt x="156" y="138"/>
                  </a:lnTo>
                  <a:lnTo>
                    <a:pt x="156" y="132"/>
                  </a:lnTo>
                  <a:lnTo>
                    <a:pt x="160" y="129"/>
                  </a:lnTo>
                  <a:lnTo>
                    <a:pt x="160" y="128"/>
                  </a:lnTo>
                  <a:lnTo>
                    <a:pt x="160" y="124"/>
                  </a:lnTo>
                  <a:lnTo>
                    <a:pt x="155" y="119"/>
                  </a:lnTo>
                  <a:lnTo>
                    <a:pt x="155" y="117"/>
                  </a:lnTo>
                  <a:lnTo>
                    <a:pt x="157" y="111"/>
                  </a:lnTo>
                  <a:lnTo>
                    <a:pt x="160" y="109"/>
                  </a:lnTo>
                  <a:lnTo>
                    <a:pt x="165" y="109"/>
                  </a:lnTo>
                  <a:lnTo>
                    <a:pt x="166" y="107"/>
                  </a:lnTo>
                  <a:lnTo>
                    <a:pt x="166" y="89"/>
                  </a:lnTo>
                  <a:lnTo>
                    <a:pt x="162" y="74"/>
                  </a:lnTo>
                  <a:lnTo>
                    <a:pt x="161" y="69"/>
                  </a:lnTo>
                  <a:lnTo>
                    <a:pt x="151" y="59"/>
                  </a:lnTo>
                  <a:lnTo>
                    <a:pt x="150" y="54"/>
                  </a:lnTo>
                  <a:lnTo>
                    <a:pt x="151" y="43"/>
                  </a:lnTo>
                  <a:lnTo>
                    <a:pt x="156" y="3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9" name="Chad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gray">
            <a:xfrm>
              <a:off x="4795409" y="4014147"/>
              <a:ext cx="276191" cy="423649"/>
            </a:xfrm>
            <a:custGeom>
              <a:avLst/>
              <a:gdLst/>
              <a:ahLst/>
              <a:cxnLst>
                <a:cxn ang="0">
                  <a:pos x="99" y="122"/>
                </a:cxn>
                <a:cxn ang="0">
                  <a:pos x="106" y="143"/>
                </a:cxn>
                <a:cxn ang="0">
                  <a:pos x="122" y="160"/>
                </a:cxn>
                <a:cxn ang="0">
                  <a:pos x="117" y="276"/>
                </a:cxn>
                <a:cxn ang="0">
                  <a:pos x="19" y="479"/>
                </a:cxn>
                <a:cxn ang="0">
                  <a:pos x="13" y="502"/>
                </a:cxn>
                <a:cxn ang="0">
                  <a:pos x="3" y="520"/>
                </a:cxn>
                <a:cxn ang="0">
                  <a:pos x="30" y="534"/>
                </a:cxn>
                <a:cxn ang="0">
                  <a:pos x="57" y="568"/>
                </a:cxn>
                <a:cxn ang="0">
                  <a:pos x="83" y="571"/>
                </a:cxn>
                <a:cxn ang="0">
                  <a:pos x="95" y="587"/>
                </a:cxn>
                <a:cxn ang="0">
                  <a:pos x="68" y="608"/>
                </a:cxn>
                <a:cxn ang="0">
                  <a:pos x="77" y="640"/>
                </a:cxn>
                <a:cxn ang="0">
                  <a:pos x="84" y="676"/>
                </a:cxn>
                <a:cxn ang="0">
                  <a:pos x="79" y="706"/>
                </a:cxn>
                <a:cxn ang="0">
                  <a:pos x="106" y="754"/>
                </a:cxn>
                <a:cxn ang="0">
                  <a:pos x="102" y="768"/>
                </a:cxn>
                <a:cxn ang="0">
                  <a:pos x="52" y="763"/>
                </a:cxn>
                <a:cxn ang="0">
                  <a:pos x="40" y="773"/>
                </a:cxn>
                <a:cxn ang="0">
                  <a:pos x="52" y="813"/>
                </a:cxn>
                <a:cxn ang="0">
                  <a:pos x="80" y="825"/>
                </a:cxn>
                <a:cxn ang="0">
                  <a:pos x="100" y="865"/>
                </a:cxn>
                <a:cxn ang="0">
                  <a:pos x="107" y="903"/>
                </a:cxn>
                <a:cxn ang="0">
                  <a:pos x="122" y="902"/>
                </a:cxn>
                <a:cxn ang="0">
                  <a:pos x="139" y="903"/>
                </a:cxn>
                <a:cxn ang="0">
                  <a:pos x="167" y="892"/>
                </a:cxn>
                <a:cxn ang="0">
                  <a:pos x="175" y="882"/>
                </a:cxn>
                <a:cxn ang="0">
                  <a:pos x="185" y="889"/>
                </a:cxn>
                <a:cxn ang="0">
                  <a:pos x="198" y="897"/>
                </a:cxn>
                <a:cxn ang="0">
                  <a:pos x="215" y="888"/>
                </a:cxn>
                <a:cxn ang="0">
                  <a:pos x="245" y="875"/>
                </a:cxn>
                <a:cxn ang="0">
                  <a:pos x="267" y="871"/>
                </a:cxn>
                <a:cxn ang="0">
                  <a:pos x="294" y="864"/>
                </a:cxn>
                <a:cxn ang="0">
                  <a:pos x="306" y="857"/>
                </a:cxn>
                <a:cxn ang="0">
                  <a:pos x="316" y="841"/>
                </a:cxn>
                <a:cxn ang="0">
                  <a:pos x="307" y="827"/>
                </a:cxn>
                <a:cxn ang="0">
                  <a:pos x="321" y="818"/>
                </a:cxn>
                <a:cxn ang="0">
                  <a:pos x="354" y="814"/>
                </a:cxn>
                <a:cxn ang="0">
                  <a:pos x="379" y="811"/>
                </a:cxn>
                <a:cxn ang="0">
                  <a:pos x="393" y="807"/>
                </a:cxn>
                <a:cxn ang="0">
                  <a:pos x="417" y="792"/>
                </a:cxn>
                <a:cxn ang="0">
                  <a:pos x="440" y="763"/>
                </a:cxn>
                <a:cxn ang="0">
                  <a:pos x="455" y="749"/>
                </a:cxn>
                <a:cxn ang="0">
                  <a:pos x="467" y="720"/>
                </a:cxn>
                <a:cxn ang="0">
                  <a:pos x="495" y="711"/>
                </a:cxn>
                <a:cxn ang="0">
                  <a:pos x="524" y="701"/>
                </a:cxn>
                <a:cxn ang="0">
                  <a:pos x="518" y="679"/>
                </a:cxn>
                <a:cxn ang="0">
                  <a:pos x="498" y="640"/>
                </a:cxn>
                <a:cxn ang="0">
                  <a:pos x="478" y="612"/>
                </a:cxn>
                <a:cxn ang="0">
                  <a:pos x="470" y="597"/>
                </a:cxn>
                <a:cxn ang="0">
                  <a:pos x="479" y="572"/>
                </a:cxn>
                <a:cxn ang="0">
                  <a:pos x="484" y="544"/>
                </a:cxn>
                <a:cxn ang="0">
                  <a:pos x="494" y="533"/>
                </a:cxn>
                <a:cxn ang="0">
                  <a:pos x="509" y="494"/>
                </a:cxn>
                <a:cxn ang="0">
                  <a:pos x="526" y="455"/>
                </a:cxn>
                <a:cxn ang="0">
                  <a:pos x="542" y="443"/>
                </a:cxn>
                <a:cxn ang="0">
                  <a:pos x="586" y="441"/>
                </a:cxn>
                <a:cxn ang="0">
                  <a:pos x="588" y="283"/>
                </a:cxn>
                <a:cxn ang="0">
                  <a:pos x="532" y="202"/>
                </a:cxn>
                <a:cxn ang="0">
                  <a:pos x="391" y="129"/>
                </a:cxn>
                <a:cxn ang="0">
                  <a:pos x="251" y="54"/>
                </a:cxn>
                <a:cxn ang="0">
                  <a:pos x="147" y="0"/>
                </a:cxn>
                <a:cxn ang="0">
                  <a:pos x="91" y="106"/>
                </a:cxn>
              </a:cxnLst>
              <a:rect l="0" t="0" r="r" b="b"/>
              <a:pathLst>
                <a:path w="588" h="905">
                  <a:moveTo>
                    <a:pt x="91" y="106"/>
                  </a:moveTo>
                  <a:lnTo>
                    <a:pt x="94" y="112"/>
                  </a:lnTo>
                  <a:lnTo>
                    <a:pt x="99" y="122"/>
                  </a:lnTo>
                  <a:lnTo>
                    <a:pt x="99" y="124"/>
                  </a:lnTo>
                  <a:lnTo>
                    <a:pt x="102" y="131"/>
                  </a:lnTo>
                  <a:lnTo>
                    <a:pt x="106" y="143"/>
                  </a:lnTo>
                  <a:lnTo>
                    <a:pt x="110" y="149"/>
                  </a:lnTo>
                  <a:lnTo>
                    <a:pt x="116" y="155"/>
                  </a:lnTo>
                  <a:lnTo>
                    <a:pt x="122" y="160"/>
                  </a:lnTo>
                  <a:lnTo>
                    <a:pt x="145" y="173"/>
                  </a:lnTo>
                  <a:lnTo>
                    <a:pt x="132" y="197"/>
                  </a:lnTo>
                  <a:lnTo>
                    <a:pt x="117" y="276"/>
                  </a:lnTo>
                  <a:lnTo>
                    <a:pt x="111" y="375"/>
                  </a:lnTo>
                  <a:lnTo>
                    <a:pt x="107" y="380"/>
                  </a:lnTo>
                  <a:lnTo>
                    <a:pt x="19" y="479"/>
                  </a:lnTo>
                  <a:lnTo>
                    <a:pt x="19" y="490"/>
                  </a:lnTo>
                  <a:lnTo>
                    <a:pt x="13" y="493"/>
                  </a:lnTo>
                  <a:lnTo>
                    <a:pt x="13" y="502"/>
                  </a:lnTo>
                  <a:lnTo>
                    <a:pt x="5" y="504"/>
                  </a:lnTo>
                  <a:lnTo>
                    <a:pt x="0" y="509"/>
                  </a:lnTo>
                  <a:lnTo>
                    <a:pt x="3" y="520"/>
                  </a:lnTo>
                  <a:lnTo>
                    <a:pt x="19" y="525"/>
                  </a:lnTo>
                  <a:lnTo>
                    <a:pt x="22" y="531"/>
                  </a:lnTo>
                  <a:lnTo>
                    <a:pt x="30" y="534"/>
                  </a:lnTo>
                  <a:lnTo>
                    <a:pt x="36" y="543"/>
                  </a:lnTo>
                  <a:lnTo>
                    <a:pt x="40" y="564"/>
                  </a:lnTo>
                  <a:lnTo>
                    <a:pt x="57" y="568"/>
                  </a:lnTo>
                  <a:lnTo>
                    <a:pt x="69" y="565"/>
                  </a:lnTo>
                  <a:lnTo>
                    <a:pt x="75" y="569"/>
                  </a:lnTo>
                  <a:lnTo>
                    <a:pt x="83" y="571"/>
                  </a:lnTo>
                  <a:lnTo>
                    <a:pt x="90" y="569"/>
                  </a:lnTo>
                  <a:lnTo>
                    <a:pt x="97" y="582"/>
                  </a:lnTo>
                  <a:lnTo>
                    <a:pt x="95" y="587"/>
                  </a:lnTo>
                  <a:lnTo>
                    <a:pt x="94" y="596"/>
                  </a:lnTo>
                  <a:lnTo>
                    <a:pt x="84" y="603"/>
                  </a:lnTo>
                  <a:lnTo>
                    <a:pt x="68" y="608"/>
                  </a:lnTo>
                  <a:lnTo>
                    <a:pt x="70" y="609"/>
                  </a:lnTo>
                  <a:lnTo>
                    <a:pt x="70" y="612"/>
                  </a:lnTo>
                  <a:lnTo>
                    <a:pt x="77" y="640"/>
                  </a:lnTo>
                  <a:lnTo>
                    <a:pt x="83" y="649"/>
                  </a:lnTo>
                  <a:lnTo>
                    <a:pt x="85" y="656"/>
                  </a:lnTo>
                  <a:lnTo>
                    <a:pt x="84" y="676"/>
                  </a:lnTo>
                  <a:lnTo>
                    <a:pt x="83" y="687"/>
                  </a:lnTo>
                  <a:lnTo>
                    <a:pt x="79" y="698"/>
                  </a:lnTo>
                  <a:lnTo>
                    <a:pt x="79" y="706"/>
                  </a:lnTo>
                  <a:lnTo>
                    <a:pt x="89" y="727"/>
                  </a:lnTo>
                  <a:lnTo>
                    <a:pt x="104" y="748"/>
                  </a:lnTo>
                  <a:lnTo>
                    <a:pt x="106" y="754"/>
                  </a:lnTo>
                  <a:lnTo>
                    <a:pt x="107" y="763"/>
                  </a:lnTo>
                  <a:lnTo>
                    <a:pt x="106" y="765"/>
                  </a:lnTo>
                  <a:lnTo>
                    <a:pt x="102" y="768"/>
                  </a:lnTo>
                  <a:lnTo>
                    <a:pt x="83" y="764"/>
                  </a:lnTo>
                  <a:lnTo>
                    <a:pt x="67" y="762"/>
                  </a:lnTo>
                  <a:lnTo>
                    <a:pt x="52" y="763"/>
                  </a:lnTo>
                  <a:lnTo>
                    <a:pt x="48" y="764"/>
                  </a:lnTo>
                  <a:lnTo>
                    <a:pt x="45" y="767"/>
                  </a:lnTo>
                  <a:lnTo>
                    <a:pt x="40" y="773"/>
                  </a:lnTo>
                  <a:lnTo>
                    <a:pt x="40" y="787"/>
                  </a:lnTo>
                  <a:lnTo>
                    <a:pt x="41" y="800"/>
                  </a:lnTo>
                  <a:lnTo>
                    <a:pt x="52" y="813"/>
                  </a:lnTo>
                  <a:lnTo>
                    <a:pt x="59" y="819"/>
                  </a:lnTo>
                  <a:lnTo>
                    <a:pt x="68" y="823"/>
                  </a:lnTo>
                  <a:lnTo>
                    <a:pt x="80" y="825"/>
                  </a:lnTo>
                  <a:lnTo>
                    <a:pt x="84" y="828"/>
                  </a:lnTo>
                  <a:lnTo>
                    <a:pt x="90" y="838"/>
                  </a:lnTo>
                  <a:lnTo>
                    <a:pt x="100" y="865"/>
                  </a:lnTo>
                  <a:lnTo>
                    <a:pt x="105" y="883"/>
                  </a:lnTo>
                  <a:lnTo>
                    <a:pt x="106" y="900"/>
                  </a:lnTo>
                  <a:lnTo>
                    <a:pt x="107" y="903"/>
                  </a:lnTo>
                  <a:lnTo>
                    <a:pt x="110" y="905"/>
                  </a:lnTo>
                  <a:lnTo>
                    <a:pt x="113" y="903"/>
                  </a:lnTo>
                  <a:lnTo>
                    <a:pt x="122" y="902"/>
                  </a:lnTo>
                  <a:lnTo>
                    <a:pt x="128" y="900"/>
                  </a:lnTo>
                  <a:lnTo>
                    <a:pt x="133" y="900"/>
                  </a:lnTo>
                  <a:lnTo>
                    <a:pt x="139" y="903"/>
                  </a:lnTo>
                  <a:lnTo>
                    <a:pt x="144" y="902"/>
                  </a:lnTo>
                  <a:lnTo>
                    <a:pt x="154" y="894"/>
                  </a:lnTo>
                  <a:lnTo>
                    <a:pt x="167" y="892"/>
                  </a:lnTo>
                  <a:lnTo>
                    <a:pt x="170" y="884"/>
                  </a:lnTo>
                  <a:lnTo>
                    <a:pt x="174" y="884"/>
                  </a:lnTo>
                  <a:lnTo>
                    <a:pt x="175" y="882"/>
                  </a:lnTo>
                  <a:lnTo>
                    <a:pt x="178" y="882"/>
                  </a:lnTo>
                  <a:lnTo>
                    <a:pt x="181" y="883"/>
                  </a:lnTo>
                  <a:lnTo>
                    <a:pt x="185" y="889"/>
                  </a:lnTo>
                  <a:lnTo>
                    <a:pt x="187" y="892"/>
                  </a:lnTo>
                  <a:lnTo>
                    <a:pt x="194" y="898"/>
                  </a:lnTo>
                  <a:lnTo>
                    <a:pt x="198" y="897"/>
                  </a:lnTo>
                  <a:lnTo>
                    <a:pt x="201" y="893"/>
                  </a:lnTo>
                  <a:lnTo>
                    <a:pt x="209" y="892"/>
                  </a:lnTo>
                  <a:lnTo>
                    <a:pt x="215" y="888"/>
                  </a:lnTo>
                  <a:lnTo>
                    <a:pt x="219" y="886"/>
                  </a:lnTo>
                  <a:lnTo>
                    <a:pt x="223" y="882"/>
                  </a:lnTo>
                  <a:lnTo>
                    <a:pt x="245" y="875"/>
                  </a:lnTo>
                  <a:lnTo>
                    <a:pt x="251" y="875"/>
                  </a:lnTo>
                  <a:lnTo>
                    <a:pt x="260" y="875"/>
                  </a:lnTo>
                  <a:lnTo>
                    <a:pt x="267" y="871"/>
                  </a:lnTo>
                  <a:lnTo>
                    <a:pt x="291" y="871"/>
                  </a:lnTo>
                  <a:lnTo>
                    <a:pt x="293" y="870"/>
                  </a:lnTo>
                  <a:lnTo>
                    <a:pt x="294" y="864"/>
                  </a:lnTo>
                  <a:lnTo>
                    <a:pt x="296" y="861"/>
                  </a:lnTo>
                  <a:lnTo>
                    <a:pt x="301" y="860"/>
                  </a:lnTo>
                  <a:lnTo>
                    <a:pt x="306" y="857"/>
                  </a:lnTo>
                  <a:lnTo>
                    <a:pt x="309" y="849"/>
                  </a:lnTo>
                  <a:lnTo>
                    <a:pt x="314" y="845"/>
                  </a:lnTo>
                  <a:lnTo>
                    <a:pt x="316" y="841"/>
                  </a:lnTo>
                  <a:lnTo>
                    <a:pt x="314" y="834"/>
                  </a:lnTo>
                  <a:lnTo>
                    <a:pt x="307" y="829"/>
                  </a:lnTo>
                  <a:lnTo>
                    <a:pt x="307" y="827"/>
                  </a:lnTo>
                  <a:lnTo>
                    <a:pt x="309" y="823"/>
                  </a:lnTo>
                  <a:lnTo>
                    <a:pt x="311" y="822"/>
                  </a:lnTo>
                  <a:lnTo>
                    <a:pt x="321" y="818"/>
                  </a:lnTo>
                  <a:lnTo>
                    <a:pt x="332" y="817"/>
                  </a:lnTo>
                  <a:lnTo>
                    <a:pt x="352" y="817"/>
                  </a:lnTo>
                  <a:lnTo>
                    <a:pt x="354" y="814"/>
                  </a:lnTo>
                  <a:lnTo>
                    <a:pt x="364" y="813"/>
                  </a:lnTo>
                  <a:lnTo>
                    <a:pt x="371" y="811"/>
                  </a:lnTo>
                  <a:lnTo>
                    <a:pt x="379" y="811"/>
                  </a:lnTo>
                  <a:lnTo>
                    <a:pt x="384" y="813"/>
                  </a:lnTo>
                  <a:lnTo>
                    <a:pt x="391" y="810"/>
                  </a:lnTo>
                  <a:lnTo>
                    <a:pt x="393" y="807"/>
                  </a:lnTo>
                  <a:lnTo>
                    <a:pt x="398" y="800"/>
                  </a:lnTo>
                  <a:lnTo>
                    <a:pt x="404" y="798"/>
                  </a:lnTo>
                  <a:lnTo>
                    <a:pt x="417" y="792"/>
                  </a:lnTo>
                  <a:lnTo>
                    <a:pt x="420" y="789"/>
                  </a:lnTo>
                  <a:lnTo>
                    <a:pt x="424" y="779"/>
                  </a:lnTo>
                  <a:lnTo>
                    <a:pt x="440" y="763"/>
                  </a:lnTo>
                  <a:lnTo>
                    <a:pt x="445" y="762"/>
                  </a:lnTo>
                  <a:lnTo>
                    <a:pt x="449" y="759"/>
                  </a:lnTo>
                  <a:lnTo>
                    <a:pt x="455" y="749"/>
                  </a:lnTo>
                  <a:lnTo>
                    <a:pt x="462" y="747"/>
                  </a:lnTo>
                  <a:lnTo>
                    <a:pt x="462" y="731"/>
                  </a:lnTo>
                  <a:lnTo>
                    <a:pt x="467" y="720"/>
                  </a:lnTo>
                  <a:lnTo>
                    <a:pt x="473" y="715"/>
                  </a:lnTo>
                  <a:lnTo>
                    <a:pt x="479" y="712"/>
                  </a:lnTo>
                  <a:lnTo>
                    <a:pt x="495" y="711"/>
                  </a:lnTo>
                  <a:lnTo>
                    <a:pt x="504" y="708"/>
                  </a:lnTo>
                  <a:lnTo>
                    <a:pt x="515" y="705"/>
                  </a:lnTo>
                  <a:lnTo>
                    <a:pt x="524" y="701"/>
                  </a:lnTo>
                  <a:lnTo>
                    <a:pt x="524" y="693"/>
                  </a:lnTo>
                  <a:lnTo>
                    <a:pt x="521" y="684"/>
                  </a:lnTo>
                  <a:lnTo>
                    <a:pt x="518" y="679"/>
                  </a:lnTo>
                  <a:lnTo>
                    <a:pt x="511" y="676"/>
                  </a:lnTo>
                  <a:lnTo>
                    <a:pt x="510" y="674"/>
                  </a:lnTo>
                  <a:lnTo>
                    <a:pt x="498" y="640"/>
                  </a:lnTo>
                  <a:lnTo>
                    <a:pt x="493" y="624"/>
                  </a:lnTo>
                  <a:lnTo>
                    <a:pt x="494" y="608"/>
                  </a:lnTo>
                  <a:lnTo>
                    <a:pt x="478" y="612"/>
                  </a:lnTo>
                  <a:lnTo>
                    <a:pt x="473" y="613"/>
                  </a:lnTo>
                  <a:lnTo>
                    <a:pt x="470" y="613"/>
                  </a:lnTo>
                  <a:lnTo>
                    <a:pt x="470" y="597"/>
                  </a:lnTo>
                  <a:lnTo>
                    <a:pt x="471" y="592"/>
                  </a:lnTo>
                  <a:lnTo>
                    <a:pt x="477" y="581"/>
                  </a:lnTo>
                  <a:lnTo>
                    <a:pt x="479" y="572"/>
                  </a:lnTo>
                  <a:lnTo>
                    <a:pt x="479" y="558"/>
                  </a:lnTo>
                  <a:lnTo>
                    <a:pt x="481" y="548"/>
                  </a:lnTo>
                  <a:lnTo>
                    <a:pt x="484" y="544"/>
                  </a:lnTo>
                  <a:lnTo>
                    <a:pt x="492" y="539"/>
                  </a:lnTo>
                  <a:lnTo>
                    <a:pt x="493" y="538"/>
                  </a:lnTo>
                  <a:lnTo>
                    <a:pt x="494" y="533"/>
                  </a:lnTo>
                  <a:lnTo>
                    <a:pt x="493" y="525"/>
                  </a:lnTo>
                  <a:lnTo>
                    <a:pt x="493" y="512"/>
                  </a:lnTo>
                  <a:lnTo>
                    <a:pt x="509" y="494"/>
                  </a:lnTo>
                  <a:lnTo>
                    <a:pt x="521" y="477"/>
                  </a:lnTo>
                  <a:lnTo>
                    <a:pt x="525" y="466"/>
                  </a:lnTo>
                  <a:lnTo>
                    <a:pt x="526" y="455"/>
                  </a:lnTo>
                  <a:lnTo>
                    <a:pt x="529" y="446"/>
                  </a:lnTo>
                  <a:lnTo>
                    <a:pt x="530" y="445"/>
                  </a:lnTo>
                  <a:lnTo>
                    <a:pt x="542" y="443"/>
                  </a:lnTo>
                  <a:lnTo>
                    <a:pt x="551" y="442"/>
                  </a:lnTo>
                  <a:lnTo>
                    <a:pt x="580" y="442"/>
                  </a:lnTo>
                  <a:lnTo>
                    <a:pt x="586" y="441"/>
                  </a:lnTo>
                  <a:lnTo>
                    <a:pt x="588" y="392"/>
                  </a:lnTo>
                  <a:lnTo>
                    <a:pt x="588" y="337"/>
                  </a:lnTo>
                  <a:lnTo>
                    <a:pt x="588" y="283"/>
                  </a:lnTo>
                  <a:lnTo>
                    <a:pt x="588" y="227"/>
                  </a:lnTo>
                  <a:lnTo>
                    <a:pt x="579" y="226"/>
                  </a:lnTo>
                  <a:lnTo>
                    <a:pt x="532" y="202"/>
                  </a:lnTo>
                  <a:lnTo>
                    <a:pt x="486" y="178"/>
                  </a:lnTo>
                  <a:lnTo>
                    <a:pt x="438" y="154"/>
                  </a:lnTo>
                  <a:lnTo>
                    <a:pt x="391" y="129"/>
                  </a:lnTo>
                  <a:lnTo>
                    <a:pt x="344" y="104"/>
                  </a:lnTo>
                  <a:lnTo>
                    <a:pt x="298" y="79"/>
                  </a:lnTo>
                  <a:lnTo>
                    <a:pt x="251" y="54"/>
                  </a:lnTo>
                  <a:lnTo>
                    <a:pt x="204" y="30"/>
                  </a:lnTo>
                  <a:lnTo>
                    <a:pt x="158" y="5"/>
                  </a:lnTo>
                  <a:lnTo>
                    <a:pt x="147" y="0"/>
                  </a:lnTo>
                  <a:lnTo>
                    <a:pt x="97" y="17"/>
                  </a:lnTo>
                  <a:lnTo>
                    <a:pt x="91" y="20"/>
                  </a:lnTo>
                  <a:lnTo>
                    <a:pt x="91" y="10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0" name="Euritania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gray">
            <a:xfrm>
              <a:off x="5389921" y="4159265"/>
              <a:ext cx="168523" cy="152139"/>
            </a:xfrm>
            <a:custGeom>
              <a:avLst/>
              <a:gdLst/>
              <a:ahLst/>
              <a:cxnLst>
                <a:cxn ang="0">
                  <a:pos x="100" y="24"/>
                </a:cxn>
                <a:cxn ang="0">
                  <a:pos x="58" y="43"/>
                </a:cxn>
                <a:cxn ang="0">
                  <a:pos x="31" y="56"/>
                </a:cxn>
                <a:cxn ang="0">
                  <a:pos x="23" y="94"/>
                </a:cxn>
                <a:cxn ang="0">
                  <a:pos x="4" y="163"/>
                </a:cxn>
                <a:cxn ang="0">
                  <a:pos x="3" y="216"/>
                </a:cxn>
                <a:cxn ang="0">
                  <a:pos x="23" y="219"/>
                </a:cxn>
                <a:cxn ang="0">
                  <a:pos x="31" y="213"/>
                </a:cxn>
                <a:cxn ang="0">
                  <a:pos x="47" y="215"/>
                </a:cxn>
                <a:cxn ang="0">
                  <a:pos x="75" y="184"/>
                </a:cxn>
                <a:cxn ang="0">
                  <a:pos x="92" y="195"/>
                </a:cxn>
                <a:cxn ang="0">
                  <a:pos x="103" y="210"/>
                </a:cxn>
                <a:cxn ang="0">
                  <a:pos x="129" y="206"/>
                </a:cxn>
                <a:cxn ang="0">
                  <a:pos x="140" y="197"/>
                </a:cxn>
                <a:cxn ang="0">
                  <a:pos x="150" y="208"/>
                </a:cxn>
                <a:cxn ang="0">
                  <a:pos x="163" y="202"/>
                </a:cxn>
                <a:cxn ang="0">
                  <a:pos x="182" y="206"/>
                </a:cxn>
                <a:cxn ang="0">
                  <a:pos x="189" y="208"/>
                </a:cxn>
                <a:cxn ang="0">
                  <a:pos x="224" y="223"/>
                </a:cxn>
                <a:cxn ang="0">
                  <a:pos x="251" y="246"/>
                </a:cxn>
                <a:cxn ang="0">
                  <a:pos x="285" y="277"/>
                </a:cxn>
                <a:cxn ang="0">
                  <a:pos x="297" y="299"/>
                </a:cxn>
                <a:cxn ang="0">
                  <a:pos x="317" y="316"/>
                </a:cxn>
                <a:cxn ang="0">
                  <a:pos x="343" y="310"/>
                </a:cxn>
                <a:cxn ang="0">
                  <a:pos x="350" y="296"/>
                </a:cxn>
                <a:cxn ang="0">
                  <a:pos x="340" y="282"/>
                </a:cxn>
                <a:cxn ang="0">
                  <a:pos x="326" y="277"/>
                </a:cxn>
                <a:cxn ang="0">
                  <a:pos x="318" y="261"/>
                </a:cxn>
                <a:cxn ang="0">
                  <a:pos x="307" y="253"/>
                </a:cxn>
                <a:cxn ang="0">
                  <a:pos x="296" y="242"/>
                </a:cxn>
                <a:cxn ang="0">
                  <a:pos x="286" y="237"/>
                </a:cxn>
                <a:cxn ang="0">
                  <a:pos x="264" y="201"/>
                </a:cxn>
                <a:cxn ang="0">
                  <a:pos x="240" y="192"/>
                </a:cxn>
                <a:cxn ang="0">
                  <a:pos x="229" y="181"/>
                </a:cxn>
                <a:cxn ang="0">
                  <a:pos x="215" y="176"/>
                </a:cxn>
                <a:cxn ang="0">
                  <a:pos x="205" y="179"/>
                </a:cxn>
                <a:cxn ang="0">
                  <a:pos x="194" y="162"/>
                </a:cxn>
                <a:cxn ang="0">
                  <a:pos x="192" y="153"/>
                </a:cxn>
                <a:cxn ang="0">
                  <a:pos x="182" y="153"/>
                </a:cxn>
                <a:cxn ang="0">
                  <a:pos x="184" y="168"/>
                </a:cxn>
                <a:cxn ang="0">
                  <a:pos x="176" y="163"/>
                </a:cxn>
                <a:cxn ang="0">
                  <a:pos x="171" y="145"/>
                </a:cxn>
                <a:cxn ang="0">
                  <a:pos x="162" y="141"/>
                </a:cxn>
                <a:cxn ang="0">
                  <a:pos x="160" y="129"/>
                </a:cxn>
                <a:cxn ang="0">
                  <a:pos x="145" y="104"/>
                </a:cxn>
                <a:cxn ang="0">
                  <a:pos x="139" y="68"/>
                </a:cxn>
                <a:cxn ang="0">
                  <a:pos x="132" y="38"/>
                </a:cxn>
                <a:cxn ang="0">
                  <a:pos x="120" y="16"/>
                </a:cxn>
                <a:cxn ang="0">
                  <a:pos x="113" y="0"/>
                </a:cxn>
              </a:cxnLst>
              <a:rect l="0" t="0" r="r" b="b"/>
              <a:pathLst>
                <a:path w="360" h="324">
                  <a:moveTo>
                    <a:pt x="109" y="0"/>
                  </a:moveTo>
                  <a:lnTo>
                    <a:pt x="107" y="9"/>
                  </a:lnTo>
                  <a:lnTo>
                    <a:pt x="100" y="24"/>
                  </a:lnTo>
                  <a:lnTo>
                    <a:pt x="87" y="30"/>
                  </a:lnTo>
                  <a:lnTo>
                    <a:pt x="79" y="33"/>
                  </a:lnTo>
                  <a:lnTo>
                    <a:pt x="58" y="43"/>
                  </a:lnTo>
                  <a:lnTo>
                    <a:pt x="53" y="50"/>
                  </a:lnTo>
                  <a:lnTo>
                    <a:pt x="44" y="55"/>
                  </a:lnTo>
                  <a:lnTo>
                    <a:pt x="31" y="56"/>
                  </a:lnTo>
                  <a:lnTo>
                    <a:pt x="27" y="65"/>
                  </a:lnTo>
                  <a:lnTo>
                    <a:pt x="23" y="86"/>
                  </a:lnTo>
                  <a:lnTo>
                    <a:pt x="23" y="94"/>
                  </a:lnTo>
                  <a:lnTo>
                    <a:pt x="20" y="115"/>
                  </a:lnTo>
                  <a:lnTo>
                    <a:pt x="11" y="149"/>
                  </a:lnTo>
                  <a:lnTo>
                    <a:pt x="4" y="163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3" y="216"/>
                  </a:lnTo>
                  <a:lnTo>
                    <a:pt x="5" y="217"/>
                  </a:lnTo>
                  <a:lnTo>
                    <a:pt x="20" y="217"/>
                  </a:lnTo>
                  <a:lnTo>
                    <a:pt x="23" y="219"/>
                  </a:lnTo>
                  <a:lnTo>
                    <a:pt x="27" y="219"/>
                  </a:lnTo>
                  <a:lnTo>
                    <a:pt x="30" y="216"/>
                  </a:lnTo>
                  <a:lnTo>
                    <a:pt x="31" y="213"/>
                  </a:lnTo>
                  <a:lnTo>
                    <a:pt x="34" y="210"/>
                  </a:lnTo>
                  <a:lnTo>
                    <a:pt x="42" y="210"/>
                  </a:lnTo>
                  <a:lnTo>
                    <a:pt x="47" y="215"/>
                  </a:lnTo>
                  <a:lnTo>
                    <a:pt x="47" y="218"/>
                  </a:lnTo>
                  <a:lnTo>
                    <a:pt x="55" y="228"/>
                  </a:lnTo>
                  <a:lnTo>
                    <a:pt x="75" y="184"/>
                  </a:lnTo>
                  <a:lnTo>
                    <a:pt x="79" y="189"/>
                  </a:lnTo>
                  <a:lnTo>
                    <a:pt x="85" y="195"/>
                  </a:lnTo>
                  <a:lnTo>
                    <a:pt x="92" y="195"/>
                  </a:lnTo>
                  <a:lnTo>
                    <a:pt x="95" y="196"/>
                  </a:lnTo>
                  <a:lnTo>
                    <a:pt x="95" y="199"/>
                  </a:lnTo>
                  <a:lnTo>
                    <a:pt x="103" y="210"/>
                  </a:lnTo>
                  <a:lnTo>
                    <a:pt x="112" y="210"/>
                  </a:lnTo>
                  <a:lnTo>
                    <a:pt x="116" y="208"/>
                  </a:lnTo>
                  <a:lnTo>
                    <a:pt x="129" y="206"/>
                  </a:lnTo>
                  <a:lnTo>
                    <a:pt x="135" y="201"/>
                  </a:lnTo>
                  <a:lnTo>
                    <a:pt x="135" y="197"/>
                  </a:lnTo>
                  <a:lnTo>
                    <a:pt x="140" y="197"/>
                  </a:lnTo>
                  <a:lnTo>
                    <a:pt x="145" y="202"/>
                  </a:lnTo>
                  <a:lnTo>
                    <a:pt x="148" y="208"/>
                  </a:lnTo>
                  <a:lnTo>
                    <a:pt x="150" y="208"/>
                  </a:lnTo>
                  <a:lnTo>
                    <a:pt x="151" y="207"/>
                  </a:lnTo>
                  <a:lnTo>
                    <a:pt x="159" y="206"/>
                  </a:lnTo>
                  <a:lnTo>
                    <a:pt x="163" y="202"/>
                  </a:lnTo>
                  <a:lnTo>
                    <a:pt x="167" y="202"/>
                  </a:lnTo>
                  <a:lnTo>
                    <a:pt x="172" y="206"/>
                  </a:lnTo>
                  <a:lnTo>
                    <a:pt x="182" y="206"/>
                  </a:lnTo>
                  <a:lnTo>
                    <a:pt x="184" y="210"/>
                  </a:lnTo>
                  <a:lnTo>
                    <a:pt x="187" y="210"/>
                  </a:lnTo>
                  <a:lnTo>
                    <a:pt x="189" y="208"/>
                  </a:lnTo>
                  <a:lnTo>
                    <a:pt x="202" y="207"/>
                  </a:lnTo>
                  <a:lnTo>
                    <a:pt x="214" y="218"/>
                  </a:lnTo>
                  <a:lnTo>
                    <a:pt x="224" y="223"/>
                  </a:lnTo>
                  <a:lnTo>
                    <a:pt x="231" y="224"/>
                  </a:lnTo>
                  <a:lnTo>
                    <a:pt x="243" y="235"/>
                  </a:lnTo>
                  <a:lnTo>
                    <a:pt x="251" y="246"/>
                  </a:lnTo>
                  <a:lnTo>
                    <a:pt x="256" y="255"/>
                  </a:lnTo>
                  <a:lnTo>
                    <a:pt x="273" y="267"/>
                  </a:lnTo>
                  <a:lnTo>
                    <a:pt x="285" y="277"/>
                  </a:lnTo>
                  <a:lnTo>
                    <a:pt x="291" y="283"/>
                  </a:lnTo>
                  <a:lnTo>
                    <a:pt x="294" y="292"/>
                  </a:lnTo>
                  <a:lnTo>
                    <a:pt x="297" y="299"/>
                  </a:lnTo>
                  <a:lnTo>
                    <a:pt x="306" y="303"/>
                  </a:lnTo>
                  <a:lnTo>
                    <a:pt x="313" y="309"/>
                  </a:lnTo>
                  <a:lnTo>
                    <a:pt x="317" y="316"/>
                  </a:lnTo>
                  <a:lnTo>
                    <a:pt x="323" y="324"/>
                  </a:lnTo>
                  <a:lnTo>
                    <a:pt x="328" y="318"/>
                  </a:lnTo>
                  <a:lnTo>
                    <a:pt x="343" y="310"/>
                  </a:lnTo>
                  <a:lnTo>
                    <a:pt x="360" y="299"/>
                  </a:lnTo>
                  <a:lnTo>
                    <a:pt x="356" y="293"/>
                  </a:lnTo>
                  <a:lnTo>
                    <a:pt x="350" y="296"/>
                  </a:lnTo>
                  <a:lnTo>
                    <a:pt x="344" y="292"/>
                  </a:lnTo>
                  <a:lnTo>
                    <a:pt x="342" y="289"/>
                  </a:lnTo>
                  <a:lnTo>
                    <a:pt x="340" y="282"/>
                  </a:lnTo>
                  <a:lnTo>
                    <a:pt x="339" y="281"/>
                  </a:lnTo>
                  <a:lnTo>
                    <a:pt x="331" y="280"/>
                  </a:lnTo>
                  <a:lnTo>
                    <a:pt x="326" y="277"/>
                  </a:lnTo>
                  <a:lnTo>
                    <a:pt x="324" y="274"/>
                  </a:lnTo>
                  <a:lnTo>
                    <a:pt x="322" y="264"/>
                  </a:lnTo>
                  <a:lnTo>
                    <a:pt x="318" y="261"/>
                  </a:lnTo>
                  <a:lnTo>
                    <a:pt x="317" y="256"/>
                  </a:lnTo>
                  <a:lnTo>
                    <a:pt x="311" y="255"/>
                  </a:lnTo>
                  <a:lnTo>
                    <a:pt x="307" y="253"/>
                  </a:lnTo>
                  <a:lnTo>
                    <a:pt x="302" y="243"/>
                  </a:lnTo>
                  <a:lnTo>
                    <a:pt x="301" y="240"/>
                  </a:lnTo>
                  <a:lnTo>
                    <a:pt x="296" y="242"/>
                  </a:lnTo>
                  <a:lnTo>
                    <a:pt x="291" y="239"/>
                  </a:lnTo>
                  <a:lnTo>
                    <a:pt x="289" y="239"/>
                  </a:lnTo>
                  <a:lnTo>
                    <a:pt x="286" y="237"/>
                  </a:lnTo>
                  <a:lnTo>
                    <a:pt x="286" y="232"/>
                  </a:lnTo>
                  <a:lnTo>
                    <a:pt x="279" y="223"/>
                  </a:lnTo>
                  <a:lnTo>
                    <a:pt x="264" y="201"/>
                  </a:lnTo>
                  <a:lnTo>
                    <a:pt x="256" y="196"/>
                  </a:lnTo>
                  <a:lnTo>
                    <a:pt x="246" y="196"/>
                  </a:lnTo>
                  <a:lnTo>
                    <a:pt x="240" y="192"/>
                  </a:lnTo>
                  <a:lnTo>
                    <a:pt x="236" y="192"/>
                  </a:lnTo>
                  <a:lnTo>
                    <a:pt x="232" y="189"/>
                  </a:lnTo>
                  <a:lnTo>
                    <a:pt x="229" y="181"/>
                  </a:lnTo>
                  <a:lnTo>
                    <a:pt x="226" y="179"/>
                  </a:lnTo>
                  <a:lnTo>
                    <a:pt x="221" y="176"/>
                  </a:lnTo>
                  <a:lnTo>
                    <a:pt x="215" y="176"/>
                  </a:lnTo>
                  <a:lnTo>
                    <a:pt x="213" y="180"/>
                  </a:lnTo>
                  <a:lnTo>
                    <a:pt x="209" y="181"/>
                  </a:lnTo>
                  <a:lnTo>
                    <a:pt x="205" y="179"/>
                  </a:lnTo>
                  <a:lnTo>
                    <a:pt x="199" y="170"/>
                  </a:lnTo>
                  <a:lnTo>
                    <a:pt x="195" y="165"/>
                  </a:lnTo>
                  <a:lnTo>
                    <a:pt x="194" y="162"/>
                  </a:lnTo>
                  <a:lnTo>
                    <a:pt x="197" y="157"/>
                  </a:lnTo>
                  <a:lnTo>
                    <a:pt x="195" y="154"/>
                  </a:lnTo>
                  <a:lnTo>
                    <a:pt x="192" y="153"/>
                  </a:lnTo>
                  <a:lnTo>
                    <a:pt x="188" y="149"/>
                  </a:lnTo>
                  <a:lnTo>
                    <a:pt x="184" y="151"/>
                  </a:lnTo>
                  <a:lnTo>
                    <a:pt x="182" y="153"/>
                  </a:lnTo>
                  <a:lnTo>
                    <a:pt x="182" y="158"/>
                  </a:lnTo>
                  <a:lnTo>
                    <a:pt x="186" y="162"/>
                  </a:lnTo>
                  <a:lnTo>
                    <a:pt x="184" y="168"/>
                  </a:lnTo>
                  <a:lnTo>
                    <a:pt x="182" y="168"/>
                  </a:lnTo>
                  <a:lnTo>
                    <a:pt x="177" y="165"/>
                  </a:lnTo>
                  <a:lnTo>
                    <a:pt x="176" y="163"/>
                  </a:lnTo>
                  <a:lnTo>
                    <a:pt x="176" y="158"/>
                  </a:lnTo>
                  <a:lnTo>
                    <a:pt x="173" y="156"/>
                  </a:lnTo>
                  <a:lnTo>
                    <a:pt x="171" y="145"/>
                  </a:lnTo>
                  <a:lnTo>
                    <a:pt x="170" y="143"/>
                  </a:lnTo>
                  <a:lnTo>
                    <a:pt x="165" y="142"/>
                  </a:lnTo>
                  <a:lnTo>
                    <a:pt x="162" y="141"/>
                  </a:lnTo>
                  <a:lnTo>
                    <a:pt x="162" y="137"/>
                  </a:lnTo>
                  <a:lnTo>
                    <a:pt x="160" y="136"/>
                  </a:lnTo>
                  <a:lnTo>
                    <a:pt x="160" y="129"/>
                  </a:lnTo>
                  <a:lnTo>
                    <a:pt x="154" y="125"/>
                  </a:lnTo>
                  <a:lnTo>
                    <a:pt x="150" y="120"/>
                  </a:lnTo>
                  <a:lnTo>
                    <a:pt x="145" y="104"/>
                  </a:lnTo>
                  <a:lnTo>
                    <a:pt x="144" y="94"/>
                  </a:lnTo>
                  <a:lnTo>
                    <a:pt x="141" y="84"/>
                  </a:lnTo>
                  <a:lnTo>
                    <a:pt x="139" y="68"/>
                  </a:lnTo>
                  <a:lnTo>
                    <a:pt x="138" y="63"/>
                  </a:lnTo>
                  <a:lnTo>
                    <a:pt x="134" y="49"/>
                  </a:lnTo>
                  <a:lnTo>
                    <a:pt x="132" y="38"/>
                  </a:lnTo>
                  <a:lnTo>
                    <a:pt x="130" y="30"/>
                  </a:lnTo>
                  <a:lnTo>
                    <a:pt x="125" y="20"/>
                  </a:lnTo>
                  <a:lnTo>
                    <a:pt x="120" y="16"/>
                  </a:lnTo>
                  <a:lnTo>
                    <a:pt x="118" y="8"/>
                  </a:lnTo>
                  <a:lnTo>
                    <a:pt x="114" y="1"/>
                  </a:lnTo>
                  <a:lnTo>
                    <a:pt x="113" y="0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1" name="Mali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gray">
            <a:xfrm>
              <a:off x="4142381" y="3969676"/>
              <a:ext cx="416627" cy="397902"/>
            </a:xfrm>
            <a:custGeom>
              <a:avLst/>
              <a:gdLst/>
              <a:ahLst/>
              <a:cxnLst>
                <a:cxn ang="0">
                  <a:pos x="727" y="243"/>
                </a:cxn>
                <a:cxn ang="0">
                  <a:pos x="755" y="259"/>
                </a:cxn>
                <a:cxn ang="0">
                  <a:pos x="780" y="281"/>
                </a:cxn>
                <a:cxn ang="0">
                  <a:pos x="809" y="291"/>
                </a:cxn>
                <a:cxn ang="0">
                  <a:pos x="839" y="303"/>
                </a:cxn>
                <a:cxn ang="0">
                  <a:pos x="841" y="319"/>
                </a:cxn>
                <a:cxn ang="0">
                  <a:pos x="840" y="336"/>
                </a:cxn>
                <a:cxn ang="0">
                  <a:pos x="858" y="356"/>
                </a:cxn>
                <a:cxn ang="0">
                  <a:pos x="890" y="346"/>
                </a:cxn>
                <a:cxn ang="0">
                  <a:pos x="891" y="522"/>
                </a:cxn>
                <a:cxn ang="0">
                  <a:pos x="861" y="550"/>
                </a:cxn>
                <a:cxn ang="0">
                  <a:pos x="829" y="559"/>
                </a:cxn>
                <a:cxn ang="0">
                  <a:pos x="674" y="582"/>
                </a:cxn>
                <a:cxn ang="0">
                  <a:pos x="561" y="631"/>
                </a:cxn>
                <a:cxn ang="0">
                  <a:pos x="468" y="677"/>
                </a:cxn>
                <a:cxn ang="0">
                  <a:pos x="439" y="716"/>
                </a:cxn>
                <a:cxn ang="0">
                  <a:pos x="395" y="770"/>
                </a:cxn>
                <a:cxn ang="0">
                  <a:pos x="379" y="830"/>
                </a:cxn>
                <a:cxn ang="0">
                  <a:pos x="361" y="835"/>
                </a:cxn>
                <a:cxn ang="0">
                  <a:pos x="336" y="846"/>
                </a:cxn>
                <a:cxn ang="0">
                  <a:pos x="325" y="828"/>
                </a:cxn>
                <a:cxn ang="0">
                  <a:pos x="312" y="828"/>
                </a:cxn>
                <a:cxn ang="0">
                  <a:pos x="299" y="831"/>
                </a:cxn>
                <a:cxn ang="0">
                  <a:pos x="282" y="846"/>
                </a:cxn>
                <a:cxn ang="0">
                  <a:pos x="266" y="844"/>
                </a:cxn>
                <a:cxn ang="0">
                  <a:pos x="256" y="835"/>
                </a:cxn>
                <a:cxn ang="0">
                  <a:pos x="239" y="840"/>
                </a:cxn>
                <a:cxn ang="0">
                  <a:pos x="227" y="842"/>
                </a:cxn>
                <a:cxn ang="0">
                  <a:pos x="210" y="806"/>
                </a:cxn>
                <a:cxn ang="0">
                  <a:pos x="191" y="808"/>
                </a:cxn>
                <a:cxn ang="0">
                  <a:pos x="201" y="792"/>
                </a:cxn>
                <a:cxn ang="0">
                  <a:pos x="201" y="782"/>
                </a:cxn>
                <a:cxn ang="0">
                  <a:pos x="183" y="767"/>
                </a:cxn>
                <a:cxn ang="0">
                  <a:pos x="178" y="737"/>
                </a:cxn>
                <a:cxn ang="0">
                  <a:pos x="170" y="721"/>
                </a:cxn>
                <a:cxn ang="0">
                  <a:pos x="153" y="720"/>
                </a:cxn>
                <a:cxn ang="0">
                  <a:pos x="136" y="743"/>
                </a:cxn>
                <a:cxn ang="0">
                  <a:pos x="99" y="736"/>
                </a:cxn>
                <a:cxn ang="0">
                  <a:pos x="78" y="750"/>
                </a:cxn>
                <a:cxn ang="0">
                  <a:pos x="52" y="747"/>
                </a:cxn>
                <a:cxn ang="0">
                  <a:pos x="43" y="732"/>
                </a:cxn>
                <a:cxn ang="0">
                  <a:pos x="44" y="717"/>
                </a:cxn>
                <a:cxn ang="0">
                  <a:pos x="45" y="697"/>
                </a:cxn>
                <a:cxn ang="0">
                  <a:pos x="36" y="682"/>
                </a:cxn>
                <a:cxn ang="0">
                  <a:pos x="24" y="673"/>
                </a:cxn>
                <a:cxn ang="0">
                  <a:pos x="9" y="652"/>
                </a:cxn>
                <a:cxn ang="0">
                  <a:pos x="9" y="621"/>
                </a:cxn>
                <a:cxn ang="0">
                  <a:pos x="1" y="608"/>
                </a:cxn>
                <a:cxn ang="0">
                  <a:pos x="30" y="554"/>
                </a:cxn>
                <a:cxn ang="0">
                  <a:pos x="45" y="533"/>
                </a:cxn>
                <a:cxn ang="0">
                  <a:pos x="84" y="572"/>
                </a:cxn>
                <a:cxn ang="0">
                  <a:pos x="344" y="555"/>
                </a:cxn>
                <a:cxn ang="0">
                  <a:pos x="341" y="389"/>
                </a:cxn>
                <a:cxn ang="0">
                  <a:pos x="313" y="114"/>
                </a:cxn>
              </a:cxnLst>
              <a:rect l="0" t="0" r="r" b="b"/>
              <a:pathLst>
                <a:path w="891" h="851">
                  <a:moveTo>
                    <a:pt x="462" y="44"/>
                  </a:moveTo>
                  <a:lnTo>
                    <a:pt x="724" y="226"/>
                  </a:lnTo>
                  <a:lnTo>
                    <a:pt x="724" y="231"/>
                  </a:lnTo>
                  <a:lnTo>
                    <a:pt x="728" y="234"/>
                  </a:lnTo>
                  <a:lnTo>
                    <a:pt x="727" y="243"/>
                  </a:lnTo>
                  <a:lnTo>
                    <a:pt x="728" y="247"/>
                  </a:lnTo>
                  <a:lnTo>
                    <a:pt x="734" y="250"/>
                  </a:lnTo>
                  <a:lnTo>
                    <a:pt x="742" y="252"/>
                  </a:lnTo>
                  <a:lnTo>
                    <a:pt x="753" y="258"/>
                  </a:lnTo>
                  <a:lnTo>
                    <a:pt x="755" y="259"/>
                  </a:lnTo>
                  <a:lnTo>
                    <a:pt x="756" y="265"/>
                  </a:lnTo>
                  <a:lnTo>
                    <a:pt x="758" y="270"/>
                  </a:lnTo>
                  <a:lnTo>
                    <a:pt x="765" y="276"/>
                  </a:lnTo>
                  <a:lnTo>
                    <a:pt x="770" y="279"/>
                  </a:lnTo>
                  <a:lnTo>
                    <a:pt x="780" y="281"/>
                  </a:lnTo>
                  <a:lnTo>
                    <a:pt x="788" y="280"/>
                  </a:lnTo>
                  <a:lnTo>
                    <a:pt x="791" y="281"/>
                  </a:lnTo>
                  <a:lnTo>
                    <a:pt x="794" y="288"/>
                  </a:lnTo>
                  <a:lnTo>
                    <a:pt x="798" y="291"/>
                  </a:lnTo>
                  <a:lnTo>
                    <a:pt x="809" y="291"/>
                  </a:lnTo>
                  <a:lnTo>
                    <a:pt x="813" y="293"/>
                  </a:lnTo>
                  <a:lnTo>
                    <a:pt x="818" y="293"/>
                  </a:lnTo>
                  <a:lnTo>
                    <a:pt x="826" y="298"/>
                  </a:lnTo>
                  <a:lnTo>
                    <a:pt x="835" y="301"/>
                  </a:lnTo>
                  <a:lnTo>
                    <a:pt x="839" y="303"/>
                  </a:lnTo>
                  <a:lnTo>
                    <a:pt x="840" y="307"/>
                  </a:lnTo>
                  <a:lnTo>
                    <a:pt x="841" y="307"/>
                  </a:lnTo>
                  <a:lnTo>
                    <a:pt x="842" y="313"/>
                  </a:lnTo>
                  <a:lnTo>
                    <a:pt x="841" y="315"/>
                  </a:lnTo>
                  <a:lnTo>
                    <a:pt x="841" y="319"/>
                  </a:lnTo>
                  <a:lnTo>
                    <a:pt x="844" y="324"/>
                  </a:lnTo>
                  <a:lnTo>
                    <a:pt x="844" y="325"/>
                  </a:lnTo>
                  <a:lnTo>
                    <a:pt x="840" y="328"/>
                  </a:lnTo>
                  <a:lnTo>
                    <a:pt x="839" y="330"/>
                  </a:lnTo>
                  <a:lnTo>
                    <a:pt x="840" y="336"/>
                  </a:lnTo>
                  <a:lnTo>
                    <a:pt x="837" y="341"/>
                  </a:lnTo>
                  <a:lnTo>
                    <a:pt x="837" y="346"/>
                  </a:lnTo>
                  <a:lnTo>
                    <a:pt x="845" y="355"/>
                  </a:lnTo>
                  <a:lnTo>
                    <a:pt x="851" y="356"/>
                  </a:lnTo>
                  <a:lnTo>
                    <a:pt x="858" y="356"/>
                  </a:lnTo>
                  <a:lnTo>
                    <a:pt x="867" y="351"/>
                  </a:lnTo>
                  <a:lnTo>
                    <a:pt x="875" y="351"/>
                  </a:lnTo>
                  <a:lnTo>
                    <a:pt x="885" y="346"/>
                  </a:lnTo>
                  <a:lnTo>
                    <a:pt x="890" y="344"/>
                  </a:lnTo>
                  <a:lnTo>
                    <a:pt x="890" y="346"/>
                  </a:lnTo>
                  <a:lnTo>
                    <a:pt x="891" y="347"/>
                  </a:lnTo>
                  <a:lnTo>
                    <a:pt x="891" y="358"/>
                  </a:lnTo>
                  <a:lnTo>
                    <a:pt x="891" y="414"/>
                  </a:lnTo>
                  <a:lnTo>
                    <a:pt x="891" y="468"/>
                  </a:lnTo>
                  <a:lnTo>
                    <a:pt x="891" y="522"/>
                  </a:lnTo>
                  <a:lnTo>
                    <a:pt x="888" y="523"/>
                  </a:lnTo>
                  <a:lnTo>
                    <a:pt x="878" y="529"/>
                  </a:lnTo>
                  <a:lnTo>
                    <a:pt x="874" y="535"/>
                  </a:lnTo>
                  <a:lnTo>
                    <a:pt x="873" y="543"/>
                  </a:lnTo>
                  <a:lnTo>
                    <a:pt x="861" y="550"/>
                  </a:lnTo>
                  <a:lnTo>
                    <a:pt x="857" y="553"/>
                  </a:lnTo>
                  <a:lnTo>
                    <a:pt x="855" y="556"/>
                  </a:lnTo>
                  <a:lnTo>
                    <a:pt x="855" y="561"/>
                  </a:lnTo>
                  <a:lnTo>
                    <a:pt x="842" y="560"/>
                  </a:lnTo>
                  <a:lnTo>
                    <a:pt x="829" y="559"/>
                  </a:lnTo>
                  <a:lnTo>
                    <a:pt x="829" y="562"/>
                  </a:lnTo>
                  <a:lnTo>
                    <a:pt x="824" y="561"/>
                  </a:lnTo>
                  <a:lnTo>
                    <a:pt x="735" y="562"/>
                  </a:lnTo>
                  <a:lnTo>
                    <a:pt x="711" y="582"/>
                  </a:lnTo>
                  <a:lnTo>
                    <a:pt x="674" y="582"/>
                  </a:lnTo>
                  <a:lnTo>
                    <a:pt x="641" y="583"/>
                  </a:lnTo>
                  <a:lnTo>
                    <a:pt x="621" y="591"/>
                  </a:lnTo>
                  <a:lnTo>
                    <a:pt x="613" y="594"/>
                  </a:lnTo>
                  <a:lnTo>
                    <a:pt x="598" y="607"/>
                  </a:lnTo>
                  <a:lnTo>
                    <a:pt x="561" y="631"/>
                  </a:lnTo>
                  <a:lnTo>
                    <a:pt x="549" y="647"/>
                  </a:lnTo>
                  <a:lnTo>
                    <a:pt x="530" y="661"/>
                  </a:lnTo>
                  <a:lnTo>
                    <a:pt x="492" y="673"/>
                  </a:lnTo>
                  <a:lnTo>
                    <a:pt x="480" y="675"/>
                  </a:lnTo>
                  <a:lnTo>
                    <a:pt x="468" y="677"/>
                  </a:lnTo>
                  <a:lnTo>
                    <a:pt x="462" y="678"/>
                  </a:lnTo>
                  <a:lnTo>
                    <a:pt x="453" y="684"/>
                  </a:lnTo>
                  <a:lnTo>
                    <a:pt x="448" y="690"/>
                  </a:lnTo>
                  <a:lnTo>
                    <a:pt x="443" y="701"/>
                  </a:lnTo>
                  <a:lnTo>
                    <a:pt x="439" y="716"/>
                  </a:lnTo>
                  <a:lnTo>
                    <a:pt x="432" y="734"/>
                  </a:lnTo>
                  <a:lnTo>
                    <a:pt x="425" y="744"/>
                  </a:lnTo>
                  <a:lnTo>
                    <a:pt x="409" y="756"/>
                  </a:lnTo>
                  <a:lnTo>
                    <a:pt x="399" y="765"/>
                  </a:lnTo>
                  <a:lnTo>
                    <a:pt x="395" y="770"/>
                  </a:lnTo>
                  <a:lnTo>
                    <a:pt x="390" y="779"/>
                  </a:lnTo>
                  <a:lnTo>
                    <a:pt x="389" y="788"/>
                  </a:lnTo>
                  <a:lnTo>
                    <a:pt x="380" y="806"/>
                  </a:lnTo>
                  <a:lnTo>
                    <a:pt x="379" y="817"/>
                  </a:lnTo>
                  <a:lnTo>
                    <a:pt x="379" y="830"/>
                  </a:lnTo>
                  <a:lnTo>
                    <a:pt x="380" y="841"/>
                  </a:lnTo>
                  <a:lnTo>
                    <a:pt x="369" y="844"/>
                  </a:lnTo>
                  <a:lnTo>
                    <a:pt x="367" y="842"/>
                  </a:lnTo>
                  <a:lnTo>
                    <a:pt x="363" y="836"/>
                  </a:lnTo>
                  <a:lnTo>
                    <a:pt x="361" y="835"/>
                  </a:lnTo>
                  <a:lnTo>
                    <a:pt x="350" y="835"/>
                  </a:lnTo>
                  <a:lnTo>
                    <a:pt x="346" y="836"/>
                  </a:lnTo>
                  <a:lnTo>
                    <a:pt x="344" y="842"/>
                  </a:lnTo>
                  <a:lnTo>
                    <a:pt x="340" y="842"/>
                  </a:lnTo>
                  <a:lnTo>
                    <a:pt x="336" y="846"/>
                  </a:lnTo>
                  <a:lnTo>
                    <a:pt x="326" y="846"/>
                  </a:lnTo>
                  <a:lnTo>
                    <a:pt x="328" y="844"/>
                  </a:lnTo>
                  <a:lnTo>
                    <a:pt x="326" y="833"/>
                  </a:lnTo>
                  <a:lnTo>
                    <a:pt x="325" y="829"/>
                  </a:lnTo>
                  <a:lnTo>
                    <a:pt x="325" y="828"/>
                  </a:lnTo>
                  <a:lnTo>
                    <a:pt x="325" y="823"/>
                  </a:lnTo>
                  <a:lnTo>
                    <a:pt x="323" y="819"/>
                  </a:lnTo>
                  <a:lnTo>
                    <a:pt x="320" y="820"/>
                  </a:lnTo>
                  <a:lnTo>
                    <a:pt x="314" y="820"/>
                  </a:lnTo>
                  <a:lnTo>
                    <a:pt x="312" y="828"/>
                  </a:lnTo>
                  <a:lnTo>
                    <a:pt x="310" y="828"/>
                  </a:lnTo>
                  <a:lnTo>
                    <a:pt x="304" y="824"/>
                  </a:lnTo>
                  <a:lnTo>
                    <a:pt x="302" y="824"/>
                  </a:lnTo>
                  <a:lnTo>
                    <a:pt x="299" y="828"/>
                  </a:lnTo>
                  <a:lnTo>
                    <a:pt x="299" y="831"/>
                  </a:lnTo>
                  <a:lnTo>
                    <a:pt x="301" y="837"/>
                  </a:lnTo>
                  <a:lnTo>
                    <a:pt x="299" y="840"/>
                  </a:lnTo>
                  <a:lnTo>
                    <a:pt x="288" y="840"/>
                  </a:lnTo>
                  <a:lnTo>
                    <a:pt x="282" y="842"/>
                  </a:lnTo>
                  <a:lnTo>
                    <a:pt x="282" y="846"/>
                  </a:lnTo>
                  <a:lnTo>
                    <a:pt x="280" y="851"/>
                  </a:lnTo>
                  <a:lnTo>
                    <a:pt x="276" y="851"/>
                  </a:lnTo>
                  <a:lnTo>
                    <a:pt x="272" y="849"/>
                  </a:lnTo>
                  <a:lnTo>
                    <a:pt x="269" y="844"/>
                  </a:lnTo>
                  <a:lnTo>
                    <a:pt x="266" y="844"/>
                  </a:lnTo>
                  <a:lnTo>
                    <a:pt x="264" y="845"/>
                  </a:lnTo>
                  <a:lnTo>
                    <a:pt x="262" y="846"/>
                  </a:lnTo>
                  <a:lnTo>
                    <a:pt x="261" y="846"/>
                  </a:lnTo>
                  <a:lnTo>
                    <a:pt x="260" y="840"/>
                  </a:lnTo>
                  <a:lnTo>
                    <a:pt x="256" y="835"/>
                  </a:lnTo>
                  <a:lnTo>
                    <a:pt x="253" y="834"/>
                  </a:lnTo>
                  <a:lnTo>
                    <a:pt x="249" y="837"/>
                  </a:lnTo>
                  <a:lnTo>
                    <a:pt x="244" y="836"/>
                  </a:lnTo>
                  <a:lnTo>
                    <a:pt x="242" y="837"/>
                  </a:lnTo>
                  <a:lnTo>
                    <a:pt x="239" y="840"/>
                  </a:lnTo>
                  <a:lnTo>
                    <a:pt x="238" y="844"/>
                  </a:lnTo>
                  <a:lnTo>
                    <a:pt x="235" y="847"/>
                  </a:lnTo>
                  <a:lnTo>
                    <a:pt x="229" y="849"/>
                  </a:lnTo>
                  <a:lnTo>
                    <a:pt x="229" y="846"/>
                  </a:lnTo>
                  <a:lnTo>
                    <a:pt x="227" y="842"/>
                  </a:lnTo>
                  <a:lnTo>
                    <a:pt x="222" y="840"/>
                  </a:lnTo>
                  <a:lnTo>
                    <a:pt x="220" y="835"/>
                  </a:lnTo>
                  <a:lnTo>
                    <a:pt x="215" y="835"/>
                  </a:lnTo>
                  <a:lnTo>
                    <a:pt x="211" y="829"/>
                  </a:lnTo>
                  <a:lnTo>
                    <a:pt x="210" y="806"/>
                  </a:lnTo>
                  <a:lnTo>
                    <a:pt x="210" y="802"/>
                  </a:lnTo>
                  <a:lnTo>
                    <a:pt x="205" y="801"/>
                  </a:lnTo>
                  <a:lnTo>
                    <a:pt x="200" y="801"/>
                  </a:lnTo>
                  <a:lnTo>
                    <a:pt x="194" y="808"/>
                  </a:lnTo>
                  <a:lnTo>
                    <a:pt x="191" y="808"/>
                  </a:lnTo>
                  <a:lnTo>
                    <a:pt x="191" y="801"/>
                  </a:lnTo>
                  <a:lnTo>
                    <a:pt x="192" y="798"/>
                  </a:lnTo>
                  <a:lnTo>
                    <a:pt x="197" y="797"/>
                  </a:lnTo>
                  <a:lnTo>
                    <a:pt x="197" y="792"/>
                  </a:lnTo>
                  <a:lnTo>
                    <a:pt x="201" y="792"/>
                  </a:lnTo>
                  <a:lnTo>
                    <a:pt x="204" y="788"/>
                  </a:lnTo>
                  <a:lnTo>
                    <a:pt x="207" y="788"/>
                  </a:lnTo>
                  <a:lnTo>
                    <a:pt x="207" y="782"/>
                  </a:lnTo>
                  <a:lnTo>
                    <a:pt x="206" y="782"/>
                  </a:lnTo>
                  <a:lnTo>
                    <a:pt x="201" y="782"/>
                  </a:lnTo>
                  <a:lnTo>
                    <a:pt x="197" y="779"/>
                  </a:lnTo>
                  <a:lnTo>
                    <a:pt x="194" y="776"/>
                  </a:lnTo>
                  <a:lnTo>
                    <a:pt x="189" y="766"/>
                  </a:lnTo>
                  <a:lnTo>
                    <a:pt x="184" y="769"/>
                  </a:lnTo>
                  <a:lnTo>
                    <a:pt x="183" y="767"/>
                  </a:lnTo>
                  <a:lnTo>
                    <a:pt x="183" y="750"/>
                  </a:lnTo>
                  <a:lnTo>
                    <a:pt x="181" y="745"/>
                  </a:lnTo>
                  <a:lnTo>
                    <a:pt x="179" y="745"/>
                  </a:lnTo>
                  <a:lnTo>
                    <a:pt x="179" y="739"/>
                  </a:lnTo>
                  <a:lnTo>
                    <a:pt x="178" y="737"/>
                  </a:lnTo>
                  <a:lnTo>
                    <a:pt x="174" y="737"/>
                  </a:lnTo>
                  <a:lnTo>
                    <a:pt x="173" y="737"/>
                  </a:lnTo>
                  <a:lnTo>
                    <a:pt x="174" y="724"/>
                  </a:lnTo>
                  <a:lnTo>
                    <a:pt x="174" y="723"/>
                  </a:lnTo>
                  <a:lnTo>
                    <a:pt x="170" y="721"/>
                  </a:lnTo>
                  <a:lnTo>
                    <a:pt x="168" y="721"/>
                  </a:lnTo>
                  <a:lnTo>
                    <a:pt x="164" y="724"/>
                  </a:lnTo>
                  <a:lnTo>
                    <a:pt x="163" y="724"/>
                  </a:lnTo>
                  <a:lnTo>
                    <a:pt x="156" y="720"/>
                  </a:lnTo>
                  <a:lnTo>
                    <a:pt x="153" y="720"/>
                  </a:lnTo>
                  <a:lnTo>
                    <a:pt x="152" y="721"/>
                  </a:lnTo>
                  <a:lnTo>
                    <a:pt x="152" y="729"/>
                  </a:lnTo>
                  <a:lnTo>
                    <a:pt x="149" y="733"/>
                  </a:lnTo>
                  <a:lnTo>
                    <a:pt x="136" y="737"/>
                  </a:lnTo>
                  <a:lnTo>
                    <a:pt x="136" y="743"/>
                  </a:lnTo>
                  <a:lnTo>
                    <a:pt x="134" y="747"/>
                  </a:lnTo>
                  <a:lnTo>
                    <a:pt x="120" y="743"/>
                  </a:lnTo>
                  <a:lnTo>
                    <a:pt x="110" y="737"/>
                  </a:lnTo>
                  <a:lnTo>
                    <a:pt x="102" y="736"/>
                  </a:lnTo>
                  <a:lnTo>
                    <a:pt x="99" y="736"/>
                  </a:lnTo>
                  <a:lnTo>
                    <a:pt x="95" y="742"/>
                  </a:lnTo>
                  <a:lnTo>
                    <a:pt x="89" y="743"/>
                  </a:lnTo>
                  <a:lnTo>
                    <a:pt x="87" y="749"/>
                  </a:lnTo>
                  <a:lnTo>
                    <a:pt x="83" y="753"/>
                  </a:lnTo>
                  <a:lnTo>
                    <a:pt x="78" y="750"/>
                  </a:lnTo>
                  <a:lnTo>
                    <a:pt x="70" y="739"/>
                  </a:lnTo>
                  <a:lnTo>
                    <a:pt x="67" y="737"/>
                  </a:lnTo>
                  <a:lnTo>
                    <a:pt x="62" y="737"/>
                  </a:lnTo>
                  <a:lnTo>
                    <a:pt x="56" y="743"/>
                  </a:lnTo>
                  <a:lnTo>
                    <a:pt x="52" y="747"/>
                  </a:lnTo>
                  <a:lnTo>
                    <a:pt x="48" y="748"/>
                  </a:lnTo>
                  <a:lnTo>
                    <a:pt x="43" y="744"/>
                  </a:lnTo>
                  <a:lnTo>
                    <a:pt x="38" y="740"/>
                  </a:lnTo>
                  <a:lnTo>
                    <a:pt x="39" y="737"/>
                  </a:lnTo>
                  <a:lnTo>
                    <a:pt x="43" y="732"/>
                  </a:lnTo>
                  <a:lnTo>
                    <a:pt x="43" y="728"/>
                  </a:lnTo>
                  <a:lnTo>
                    <a:pt x="46" y="724"/>
                  </a:lnTo>
                  <a:lnTo>
                    <a:pt x="48" y="723"/>
                  </a:lnTo>
                  <a:lnTo>
                    <a:pt x="48" y="721"/>
                  </a:lnTo>
                  <a:lnTo>
                    <a:pt x="44" y="717"/>
                  </a:lnTo>
                  <a:lnTo>
                    <a:pt x="44" y="710"/>
                  </a:lnTo>
                  <a:lnTo>
                    <a:pt x="46" y="706"/>
                  </a:lnTo>
                  <a:lnTo>
                    <a:pt x="46" y="702"/>
                  </a:lnTo>
                  <a:lnTo>
                    <a:pt x="45" y="699"/>
                  </a:lnTo>
                  <a:lnTo>
                    <a:pt x="45" y="697"/>
                  </a:lnTo>
                  <a:lnTo>
                    <a:pt x="46" y="697"/>
                  </a:lnTo>
                  <a:lnTo>
                    <a:pt x="45" y="694"/>
                  </a:lnTo>
                  <a:lnTo>
                    <a:pt x="41" y="689"/>
                  </a:lnTo>
                  <a:lnTo>
                    <a:pt x="39" y="684"/>
                  </a:lnTo>
                  <a:lnTo>
                    <a:pt x="36" y="682"/>
                  </a:lnTo>
                  <a:lnTo>
                    <a:pt x="35" y="678"/>
                  </a:lnTo>
                  <a:lnTo>
                    <a:pt x="32" y="674"/>
                  </a:lnTo>
                  <a:lnTo>
                    <a:pt x="32" y="670"/>
                  </a:lnTo>
                  <a:lnTo>
                    <a:pt x="27" y="670"/>
                  </a:lnTo>
                  <a:lnTo>
                    <a:pt x="24" y="673"/>
                  </a:lnTo>
                  <a:lnTo>
                    <a:pt x="20" y="673"/>
                  </a:lnTo>
                  <a:lnTo>
                    <a:pt x="19" y="672"/>
                  </a:lnTo>
                  <a:lnTo>
                    <a:pt x="17" y="666"/>
                  </a:lnTo>
                  <a:lnTo>
                    <a:pt x="9" y="654"/>
                  </a:lnTo>
                  <a:lnTo>
                    <a:pt x="9" y="652"/>
                  </a:lnTo>
                  <a:lnTo>
                    <a:pt x="14" y="646"/>
                  </a:lnTo>
                  <a:lnTo>
                    <a:pt x="13" y="641"/>
                  </a:lnTo>
                  <a:lnTo>
                    <a:pt x="11" y="635"/>
                  </a:lnTo>
                  <a:lnTo>
                    <a:pt x="11" y="629"/>
                  </a:lnTo>
                  <a:lnTo>
                    <a:pt x="9" y="621"/>
                  </a:lnTo>
                  <a:lnTo>
                    <a:pt x="6" y="618"/>
                  </a:lnTo>
                  <a:lnTo>
                    <a:pt x="5" y="618"/>
                  </a:lnTo>
                  <a:lnTo>
                    <a:pt x="3" y="614"/>
                  </a:lnTo>
                  <a:lnTo>
                    <a:pt x="1" y="614"/>
                  </a:lnTo>
                  <a:lnTo>
                    <a:pt x="1" y="608"/>
                  </a:lnTo>
                  <a:lnTo>
                    <a:pt x="3" y="600"/>
                  </a:lnTo>
                  <a:lnTo>
                    <a:pt x="2" y="597"/>
                  </a:lnTo>
                  <a:lnTo>
                    <a:pt x="0" y="594"/>
                  </a:lnTo>
                  <a:lnTo>
                    <a:pt x="23" y="572"/>
                  </a:lnTo>
                  <a:lnTo>
                    <a:pt x="30" y="554"/>
                  </a:lnTo>
                  <a:lnTo>
                    <a:pt x="34" y="543"/>
                  </a:lnTo>
                  <a:lnTo>
                    <a:pt x="39" y="532"/>
                  </a:lnTo>
                  <a:lnTo>
                    <a:pt x="41" y="530"/>
                  </a:lnTo>
                  <a:lnTo>
                    <a:pt x="45" y="532"/>
                  </a:lnTo>
                  <a:lnTo>
                    <a:pt x="45" y="533"/>
                  </a:lnTo>
                  <a:lnTo>
                    <a:pt x="51" y="534"/>
                  </a:lnTo>
                  <a:lnTo>
                    <a:pt x="55" y="537"/>
                  </a:lnTo>
                  <a:lnTo>
                    <a:pt x="60" y="550"/>
                  </a:lnTo>
                  <a:lnTo>
                    <a:pt x="70" y="568"/>
                  </a:lnTo>
                  <a:lnTo>
                    <a:pt x="84" y="572"/>
                  </a:lnTo>
                  <a:lnTo>
                    <a:pt x="87" y="572"/>
                  </a:lnTo>
                  <a:lnTo>
                    <a:pt x="113" y="550"/>
                  </a:lnTo>
                  <a:lnTo>
                    <a:pt x="200" y="553"/>
                  </a:lnTo>
                  <a:lnTo>
                    <a:pt x="271" y="554"/>
                  </a:lnTo>
                  <a:lnTo>
                    <a:pt x="344" y="555"/>
                  </a:lnTo>
                  <a:lnTo>
                    <a:pt x="362" y="555"/>
                  </a:lnTo>
                  <a:lnTo>
                    <a:pt x="374" y="508"/>
                  </a:lnTo>
                  <a:lnTo>
                    <a:pt x="352" y="501"/>
                  </a:lnTo>
                  <a:lnTo>
                    <a:pt x="346" y="444"/>
                  </a:lnTo>
                  <a:lnTo>
                    <a:pt x="341" y="389"/>
                  </a:lnTo>
                  <a:lnTo>
                    <a:pt x="335" y="335"/>
                  </a:lnTo>
                  <a:lnTo>
                    <a:pt x="329" y="281"/>
                  </a:lnTo>
                  <a:lnTo>
                    <a:pt x="324" y="226"/>
                  </a:lnTo>
                  <a:lnTo>
                    <a:pt x="318" y="169"/>
                  </a:lnTo>
                  <a:lnTo>
                    <a:pt x="313" y="114"/>
                  </a:lnTo>
                  <a:lnTo>
                    <a:pt x="307" y="58"/>
                  </a:lnTo>
                  <a:lnTo>
                    <a:pt x="301" y="0"/>
                  </a:lnTo>
                  <a:lnTo>
                    <a:pt x="398" y="0"/>
                  </a:lnTo>
                  <a:lnTo>
                    <a:pt x="462" y="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2" name="Tunisia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gray">
            <a:xfrm>
              <a:off x="4640929" y="3599861"/>
              <a:ext cx="102986" cy="217676"/>
            </a:xfrm>
            <a:custGeom>
              <a:avLst/>
              <a:gdLst/>
              <a:ahLst/>
              <a:cxnLst>
                <a:cxn ang="0">
                  <a:pos x="123" y="461"/>
                </a:cxn>
                <a:cxn ang="0">
                  <a:pos x="145" y="444"/>
                </a:cxn>
                <a:cxn ang="0">
                  <a:pos x="151" y="424"/>
                </a:cxn>
                <a:cxn ang="0">
                  <a:pos x="147" y="387"/>
                </a:cxn>
                <a:cxn ang="0">
                  <a:pos x="164" y="373"/>
                </a:cxn>
                <a:cxn ang="0">
                  <a:pos x="178" y="355"/>
                </a:cxn>
                <a:cxn ang="0">
                  <a:pos x="213" y="331"/>
                </a:cxn>
                <a:cxn ang="0">
                  <a:pos x="217" y="284"/>
                </a:cxn>
                <a:cxn ang="0">
                  <a:pos x="212" y="277"/>
                </a:cxn>
                <a:cxn ang="0">
                  <a:pos x="202" y="278"/>
                </a:cxn>
                <a:cxn ang="0">
                  <a:pos x="198" y="269"/>
                </a:cxn>
                <a:cxn ang="0">
                  <a:pos x="186" y="251"/>
                </a:cxn>
                <a:cxn ang="0">
                  <a:pos x="172" y="252"/>
                </a:cxn>
                <a:cxn ang="0">
                  <a:pos x="164" y="249"/>
                </a:cxn>
                <a:cxn ang="0">
                  <a:pos x="153" y="246"/>
                </a:cxn>
                <a:cxn ang="0">
                  <a:pos x="138" y="226"/>
                </a:cxn>
                <a:cxn ang="0">
                  <a:pos x="150" y="219"/>
                </a:cxn>
                <a:cxn ang="0">
                  <a:pos x="153" y="203"/>
                </a:cxn>
                <a:cxn ang="0">
                  <a:pos x="166" y="195"/>
                </a:cxn>
                <a:cxn ang="0">
                  <a:pos x="185" y="181"/>
                </a:cxn>
                <a:cxn ang="0">
                  <a:pos x="198" y="163"/>
                </a:cxn>
                <a:cxn ang="0">
                  <a:pos x="204" y="132"/>
                </a:cxn>
                <a:cxn ang="0">
                  <a:pos x="194" y="111"/>
                </a:cxn>
                <a:cxn ang="0">
                  <a:pos x="181" y="101"/>
                </a:cxn>
                <a:cxn ang="0">
                  <a:pos x="172" y="79"/>
                </a:cxn>
                <a:cxn ang="0">
                  <a:pos x="183" y="59"/>
                </a:cxn>
                <a:cxn ang="0">
                  <a:pos x="207" y="31"/>
                </a:cxn>
                <a:cxn ang="0">
                  <a:pos x="194" y="19"/>
                </a:cxn>
                <a:cxn ang="0">
                  <a:pos x="182" y="32"/>
                </a:cxn>
                <a:cxn ang="0">
                  <a:pos x="171" y="39"/>
                </a:cxn>
                <a:cxn ang="0">
                  <a:pos x="161" y="24"/>
                </a:cxn>
                <a:cxn ang="0">
                  <a:pos x="155" y="9"/>
                </a:cxn>
                <a:cxn ang="0">
                  <a:pos x="138" y="0"/>
                </a:cxn>
                <a:cxn ang="0">
                  <a:pos x="115" y="2"/>
                </a:cxn>
                <a:cxn ang="0">
                  <a:pos x="91" y="13"/>
                </a:cxn>
                <a:cxn ang="0">
                  <a:pos x="79" y="24"/>
                </a:cxn>
                <a:cxn ang="0">
                  <a:pos x="73" y="31"/>
                </a:cxn>
                <a:cxn ang="0">
                  <a:pos x="62" y="41"/>
                </a:cxn>
                <a:cxn ang="0">
                  <a:pos x="51" y="55"/>
                </a:cxn>
                <a:cxn ang="0">
                  <a:pos x="58" y="61"/>
                </a:cxn>
                <a:cxn ang="0">
                  <a:pos x="52" y="101"/>
                </a:cxn>
                <a:cxn ang="0">
                  <a:pos x="56" y="134"/>
                </a:cxn>
                <a:cxn ang="0">
                  <a:pos x="59" y="147"/>
                </a:cxn>
                <a:cxn ang="0">
                  <a:pos x="49" y="185"/>
                </a:cxn>
                <a:cxn ang="0">
                  <a:pos x="27" y="208"/>
                </a:cxn>
                <a:cxn ang="0">
                  <a:pos x="14" y="217"/>
                </a:cxn>
                <a:cxn ang="0">
                  <a:pos x="3" y="226"/>
                </a:cxn>
                <a:cxn ang="0">
                  <a:pos x="3" y="234"/>
                </a:cxn>
                <a:cxn ang="0">
                  <a:pos x="14" y="272"/>
                </a:cxn>
                <a:cxn ang="0">
                  <a:pos x="37" y="285"/>
                </a:cxn>
                <a:cxn ang="0">
                  <a:pos x="46" y="323"/>
                </a:cxn>
                <a:cxn ang="0">
                  <a:pos x="89" y="348"/>
                </a:cxn>
                <a:cxn ang="0">
                  <a:pos x="91" y="349"/>
                </a:cxn>
                <a:cxn ang="0">
                  <a:pos x="110" y="459"/>
                </a:cxn>
              </a:cxnLst>
              <a:rect l="0" t="0" r="r" b="b"/>
              <a:pathLst>
                <a:path w="218" h="462">
                  <a:moveTo>
                    <a:pt x="111" y="462"/>
                  </a:moveTo>
                  <a:lnTo>
                    <a:pt x="123" y="461"/>
                  </a:lnTo>
                  <a:lnTo>
                    <a:pt x="135" y="452"/>
                  </a:lnTo>
                  <a:lnTo>
                    <a:pt x="145" y="444"/>
                  </a:lnTo>
                  <a:lnTo>
                    <a:pt x="151" y="434"/>
                  </a:lnTo>
                  <a:lnTo>
                    <a:pt x="151" y="424"/>
                  </a:lnTo>
                  <a:lnTo>
                    <a:pt x="145" y="396"/>
                  </a:lnTo>
                  <a:lnTo>
                    <a:pt x="147" y="387"/>
                  </a:lnTo>
                  <a:lnTo>
                    <a:pt x="151" y="379"/>
                  </a:lnTo>
                  <a:lnTo>
                    <a:pt x="164" y="373"/>
                  </a:lnTo>
                  <a:lnTo>
                    <a:pt x="174" y="365"/>
                  </a:lnTo>
                  <a:lnTo>
                    <a:pt x="178" y="355"/>
                  </a:lnTo>
                  <a:lnTo>
                    <a:pt x="207" y="336"/>
                  </a:lnTo>
                  <a:lnTo>
                    <a:pt x="213" y="331"/>
                  </a:lnTo>
                  <a:lnTo>
                    <a:pt x="218" y="320"/>
                  </a:lnTo>
                  <a:lnTo>
                    <a:pt x="217" y="284"/>
                  </a:lnTo>
                  <a:lnTo>
                    <a:pt x="218" y="281"/>
                  </a:lnTo>
                  <a:lnTo>
                    <a:pt x="212" y="277"/>
                  </a:lnTo>
                  <a:lnTo>
                    <a:pt x="208" y="278"/>
                  </a:lnTo>
                  <a:lnTo>
                    <a:pt x="202" y="278"/>
                  </a:lnTo>
                  <a:lnTo>
                    <a:pt x="198" y="273"/>
                  </a:lnTo>
                  <a:lnTo>
                    <a:pt x="198" y="269"/>
                  </a:lnTo>
                  <a:lnTo>
                    <a:pt x="191" y="251"/>
                  </a:lnTo>
                  <a:lnTo>
                    <a:pt x="186" y="251"/>
                  </a:lnTo>
                  <a:lnTo>
                    <a:pt x="177" y="257"/>
                  </a:lnTo>
                  <a:lnTo>
                    <a:pt x="172" y="252"/>
                  </a:lnTo>
                  <a:lnTo>
                    <a:pt x="170" y="246"/>
                  </a:lnTo>
                  <a:lnTo>
                    <a:pt x="164" y="249"/>
                  </a:lnTo>
                  <a:lnTo>
                    <a:pt x="159" y="249"/>
                  </a:lnTo>
                  <a:lnTo>
                    <a:pt x="153" y="246"/>
                  </a:lnTo>
                  <a:lnTo>
                    <a:pt x="142" y="239"/>
                  </a:lnTo>
                  <a:lnTo>
                    <a:pt x="138" y="226"/>
                  </a:lnTo>
                  <a:lnTo>
                    <a:pt x="138" y="215"/>
                  </a:lnTo>
                  <a:lnTo>
                    <a:pt x="150" y="219"/>
                  </a:lnTo>
                  <a:lnTo>
                    <a:pt x="150" y="210"/>
                  </a:lnTo>
                  <a:lnTo>
                    <a:pt x="153" y="203"/>
                  </a:lnTo>
                  <a:lnTo>
                    <a:pt x="160" y="201"/>
                  </a:lnTo>
                  <a:lnTo>
                    <a:pt x="166" y="195"/>
                  </a:lnTo>
                  <a:lnTo>
                    <a:pt x="172" y="192"/>
                  </a:lnTo>
                  <a:lnTo>
                    <a:pt x="185" y="181"/>
                  </a:lnTo>
                  <a:lnTo>
                    <a:pt x="192" y="174"/>
                  </a:lnTo>
                  <a:lnTo>
                    <a:pt x="198" y="163"/>
                  </a:lnTo>
                  <a:lnTo>
                    <a:pt x="207" y="140"/>
                  </a:lnTo>
                  <a:lnTo>
                    <a:pt x="204" y="132"/>
                  </a:lnTo>
                  <a:lnTo>
                    <a:pt x="202" y="116"/>
                  </a:lnTo>
                  <a:lnTo>
                    <a:pt x="194" y="111"/>
                  </a:lnTo>
                  <a:lnTo>
                    <a:pt x="191" y="104"/>
                  </a:lnTo>
                  <a:lnTo>
                    <a:pt x="181" y="101"/>
                  </a:lnTo>
                  <a:lnTo>
                    <a:pt x="176" y="95"/>
                  </a:lnTo>
                  <a:lnTo>
                    <a:pt x="172" y="79"/>
                  </a:lnTo>
                  <a:lnTo>
                    <a:pt x="175" y="66"/>
                  </a:lnTo>
                  <a:lnTo>
                    <a:pt x="183" y="59"/>
                  </a:lnTo>
                  <a:lnTo>
                    <a:pt x="194" y="55"/>
                  </a:lnTo>
                  <a:lnTo>
                    <a:pt x="207" y="31"/>
                  </a:lnTo>
                  <a:lnTo>
                    <a:pt x="201" y="19"/>
                  </a:lnTo>
                  <a:lnTo>
                    <a:pt x="194" y="19"/>
                  </a:lnTo>
                  <a:lnTo>
                    <a:pt x="188" y="27"/>
                  </a:lnTo>
                  <a:lnTo>
                    <a:pt x="182" y="32"/>
                  </a:lnTo>
                  <a:lnTo>
                    <a:pt x="175" y="35"/>
                  </a:lnTo>
                  <a:lnTo>
                    <a:pt x="171" y="39"/>
                  </a:lnTo>
                  <a:lnTo>
                    <a:pt x="160" y="35"/>
                  </a:lnTo>
                  <a:lnTo>
                    <a:pt x="161" y="24"/>
                  </a:lnTo>
                  <a:lnTo>
                    <a:pt x="156" y="15"/>
                  </a:lnTo>
                  <a:lnTo>
                    <a:pt x="155" y="9"/>
                  </a:lnTo>
                  <a:lnTo>
                    <a:pt x="156" y="7"/>
                  </a:lnTo>
                  <a:lnTo>
                    <a:pt x="138" y="0"/>
                  </a:lnTo>
                  <a:lnTo>
                    <a:pt x="128" y="0"/>
                  </a:lnTo>
                  <a:lnTo>
                    <a:pt x="115" y="2"/>
                  </a:lnTo>
                  <a:lnTo>
                    <a:pt x="104" y="7"/>
                  </a:lnTo>
                  <a:lnTo>
                    <a:pt x="91" y="13"/>
                  </a:lnTo>
                  <a:lnTo>
                    <a:pt x="83" y="19"/>
                  </a:lnTo>
                  <a:lnTo>
                    <a:pt x="79" y="24"/>
                  </a:lnTo>
                  <a:lnTo>
                    <a:pt x="75" y="25"/>
                  </a:lnTo>
                  <a:lnTo>
                    <a:pt x="73" y="31"/>
                  </a:lnTo>
                  <a:lnTo>
                    <a:pt x="68" y="35"/>
                  </a:lnTo>
                  <a:lnTo>
                    <a:pt x="62" y="41"/>
                  </a:lnTo>
                  <a:lnTo>
                    <a:pt x="53" y="50"/>
                  </a:lnTo>
                  <a:lnTo>
                    <a:pt x="51" y="55"/>
                  </a:lnTo>
                  <a:lnTo>
                    <a:pt x="57" y="57"/>
                  </a:lnTo>
                  <a:lnTo>
                    <a:pt x="58" y="61"/>
                  </a:lnTo>
                  <a:lnTo>
                    <a:pt x="53" y="93"/>
                  </a:lnTo>
                  <a:lnTo>
                    <a:pt x="52" y="101"/>
                  </a:lnTo>
                  <a:lnTo>
                    <a:pt x="54" y="111"/>
                  </a:lnTo>
                  <a:lnTo>
                    <a:pt x="56" y="134"/>
                  </a:lnTo>
                  <a:lnTo>
                    <a:pt x="59" y="140"/>
                  </a:lnTo>
                  <a:lnTo>
                    <a:pt x="59" y="147"/>
                  </a:lnTo>
                  <a:lnTo>
                    <a:pt x="53" y="171"/>
                  </a:lnTo>
                  <a:lnTo>
                    <a:pt x="49" y="185"/>
                  </a:lnTo>
                  <a:lnTo>
                    <a:pt x="30" y="197"/>
                  </a:lnTo>
                  <a:lnTo>
                    <a:pt x="27" y="208"/>
                  </a:lnTo>
                  <a:lnTo>
                    <a:pt x="19" y="212"/>
                  </a:lnTo>
                  <a:lnTo>
                    <a:pt x="14" y="217"/>
                  </a:lnTo>
                  <a:lnTo>
                    <a:pt x="13" y="220"/>
                  </a:lnTo>
                  <a:lnTo>
                    <a:pt x="3" y="226"/>
                  </a:lnTo>
                  <a:lnTo>
                    <a:pt x="0" y="226"/>
                  </a:lnTo>
                  <a:lnTo>
                    <a:pt x="3" y="234"/>
                  </a:lnTo>
                  <a:lnTo>
                    <a:pt x="8" y="246"/>
                  </a:lnTo>
                  <a:lnTo>
                    <a:pt x="14" y="272"/>
                  </a:lnTo>
                  <a:lnTo>
                    <a:pt x="32" y="279"/>
                  </a:lnTo>
                  <a:lnTo>
                    <a:pt x="37" y="285"/>
                  </a:lnTo>
                  <a:lnTo>
                    <a:pt x="46" y="305"/>
                  </a:lnTo>
                  <a:lnTo>
                    <a:pt x="46" y="323"/>
                  </a:lnTo>
                  <a:lnTo>
                    <a:pt x="64" y="336"/>
                  </a:lnTo>
                  <a:lnTo>
                    <a:pt x="89" y="348"/>
                  </a:lnTo>
                  <a:lnTo>
                    <a:pt x="91" y="348"/>
                  </a:lnTo>
                  <a:lnTo>
                    <a:pt x="91" y="349"/>
                  </a:lnTo>
                  <a:lnTo>
                    <a:pt x="105" y="422"/>
                  </a:lnTo>
                  <a:lnTo>
                    <a:pt x="110" y="459"/>
                  </a:lnTo>
                  <a:lnTo>
                    <a:pt x="111" y="46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3" name="Egypt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gray">
            <a:xfrm>
              <a:off x="5083303" y="3777747"/>
              <a:ext cx="287894" cy="283213"/>
            </a:xfrm>
            <a:custGeom>
              <a:avLst/>
              <a:gdLst/>
              <a:ahLst/>
              <a:cxnLst>
                <a:cxn ang="0">
                  <a:pos x="24" y="438"/>
                </a:cxn>
                <a:cxn ang="0">
                  <a:pos x="24" y="265"/>
                </a:cxn>
                <a:cxn ang="0">
                  <a:pos x="7" y="146"/>
                </a:cxn>
                <a:cxn ang="0">
                  <a:pos x="1" y="120"/>
                </a:cxn>
                <a:cxn ang="0">
                  <a:pos x="3" y="90"/>
                </a:cxn>
                <a:cxn ang="0">
                  <a:pos x="15" y="74"/>
                </a:cxn>
                <a:cxn ang="0">
                  <a:pos x="7" y="22"/>
                </a:cxn>
                <a:cxn ang="0">
                  <a:pos x="18" y="2"/>
                </a:cxn>
                <a:cxn ang="0">
                  <a:pos x="35" y="8"/>
                </a:cxn>
                <a:cxn ang="0">
                  <a:pos x="91" y="7"/>
                </a:cxn>
                <a:cxn ang="0">
                  <a:pos x="153" y="27"/>
                </a:cxn>
                <a:cxn ang="0">
                  <a:pos x="185" y="38"/>
                </a:cxn>
                <a:cxn ang="0">
                  <a:pos x="228" y="45"/>
                </a:cxn>
                <a:cxn ang="0">
                  <a:pos x="269" y="40"/>
                </a:cxn>
                <a:cxn ang="0">
                  <a:pos x="311" y="13"/>
                </a:cxn>
                <a:cxn ang="0">
                  <a:pos x="336" y="8"/>
                </a:cxn>
                <a:cxn ang="0">
                  <a:pos x="322" y="20"/>
                </a:cxn>
                <a:cxn ang="0">
                  <a:pos x="349" y="13"/>
                </a:cxn>
                <a:cxn ang="0">
                  <a:pos x="365" y="11"/>
                </a:cxn>
                <a:cxn ang="0">
                  <a:pos x="400" y="6"/>
                </a:cxn>
                <a:cxn ang="0">
                  <a:pos x="408" y="16"/>
                </a:cxn>
                <a:cxn ang="0">
                  <a:pos x="426" y="28"/>
                </a:cxn>
                <a:cxn ang="0">
                  <a:pos x="447" y="40"/>
                </a:cxn>
                <a:cxn ang="0">
                  <a:pos x="463" y="34"/>
                </a:cxn>
                <a:cxn ang="0">
                  <a:pos x="510" y="29"/>
                </a:cxn>
                <a:cxn ang="0">
                  <a:pos x="523" y="35"/>
                </a:cxn>
                <a:cxn ang="0">
                  <a:pos x="561" y="144"/>
                </a:cxn>
                <a:cxn ang="0">
                  <a:pos x="539" y="211"/>
                </a:cxn>
                <a:cxn ang="0">
                  <a:pos x="538" y="234"/>
                </a:cxn>
                <a:cxn ang="0">
                  <a:pos x="518" y="242"/>
                </a:cxn>
                <a:cxn ang="0">
                  <a:pos x="486" y="207"/>
                </a:cxn>
                <a:cxn ang="0">
                  <a:pos x="473" y="175"/>
                </a:cxn>
                <a:cxn ang="0">
                  <a:pos x="454" y="144"/>
                </a:cxn>
                <a:cxn ang="0">
                  <a:pos x="440" y="109"/>
                </a:cxn>
                <a:cxn ang="0">
                  <a:pos x="436" y="104"/>
                </a:cxn>
                <a:cxn ang="0">
                  <a:pos x="429" y="119"/>
                </a:cxn>
                <a:cxn ang="0">
                  <a:pos x="437" y="143"/>
                </a:cxn>
                <a:cxn ang="0">
                  <a:pos x="441" y="167"/>
                </a:cxn>
                <a:cxn ang="0">
                  <a:pos x="475" y="223"/>
                </a:cxn>
                <a:cxn ang="0">
                  <a:pos x="490" y="256"/>
                </a:cxn>
                <a:cxn ang="0">
                  <a:pos x="512" y="304"/>
                </a:cxn>
                <a:cxn ang="0">
                  <a:pos x="530" y="346"/>
                </a:cxn>
                <a:cxn ang="0">
                  <a:pos x="558" y="401"/>
                </a:cxn>
                <a:cxn ang="0">
                  <a:pos x="578" y="444"/>
                </a:cxn>
                <a:cxn ang="0">
                  <a:pos x="608" y="471"/>
                </a:cxn>
                <a:cxn ang="0">
                  <a:pos x="598" y="476"/>
                </a:cxn>
                <a:cxn ang="0">
                  <a:pos x="598" y="488"/>
                </a:cxn>
                <a:cxn ang="0">
                  <a:pos x="581" y="545"/>
                </a:cxn>
                <a:cxn ang="0">
                  <a:pos x="526" y="578"/>
                </a:cxn>
                <a:cxn ang="0">
                  <a:pos x="473" y="592"/>
                </a:cxn>
                <a:cxn ang="0">
                  <a:pos x="378" y="579"/>
                </a:cxn>
                <a:cxn ang="0">
                  <a:pos x="366" y="590"/>
                </a:cxn>
                <a:cxn ang="0">
                  <a:pos x="233" y="590"/>
                </a:cxn>
                <a:cxn ang="0">
                  <a:pos x="77" y="590"/>
                </a:cxn>
              </a:cxnLst>
              <a:rect l="0" t="0" r="r" b="b"/>
              <a:pathLst>
                <a:path w="612" h="605">
                  <a:moveTo>
                    <a:pt x="24" y="552"/>
                  </a:moveTo>
                  <a:lnTo>
                    <a:pt x="24" y="496"/>
                  </a:lnTo>
                  <a:lnTo>
                    <a:pt x="24" y="438"/>
                  </a:lnTo>
                  <a:lnTo>
                    <a:pt x="24" y="382"/>
                  </a:lnTo>
                  <a:lnTo>
                    <a:pt x="24" y="324"/>
                  </a:lnTo>
                  <a:lnTo>
                    <a:pt x="24" y="265"/>
                  </a:lnTo>
                  <a:lnTo>
                    <a:pt x="24" y="207"/>
                  </a:lnTo>
                  <a:lnTo>
                    <a:pt x="24" y="164"/>
                  </a:lnTo>
                  <a:lnTo>
                    <a:pt x="7" y="146"/>
                  </a:lnTo>
                  <a:lnTo>
                    <a:pt x="10" y="133"/>
                  </a:lnTo>
                  <a:lnTo>
                    <a:pt x="8" y="130"/>
                  </a:lnTo>
                  <a:lnTo>
                    <a:pt x="1" y="120"/>
                  </a:lnTo>
                  <a:lnTo>
                    <a:pt x="0" y="99"/>
                  </a:lnTo>
                  <a:lnTo>
                    <a:pt x="0" y="95"/>
                  </a:lnTo>
                  <a:lnTo>
                    <a:pt x="3" y="90"/>
                  </a:lnTo>
                  <a:lnTo>
                    <a:pt x="13" y="86"/>
                  </a:lnTo>
                  <a:lnTo>
                    <a:pt x="13" y="83"/>
                  </a:lnTo>
                  <a:lnTo>
                    <a:pt x="15" y="74"/>
                  </a:lnTo>
                  <a:lnTo>
                    <a:pt x="12" y="57"/>
                  </a:lnTo>
                  <a:lnTo>
                    <a:pt x="11" y="30"/>
                  </a:lnTo>
                  <a:lnTo>
                    <a:pt x="7" y="22"/>
                  </a:lnTo>
                  <a:lnTo>
                    <a:pt x="7" y="19"/>
                  </a:lnTo>
                  <a:lnTo>
                    <a:pt x="15" y="11"/>
                  </a:lnTo>
                  <a:lnTo>
                    <a:pt x="18" y="2"/>
                  </a:lnTo>
                  <a:lnTo>
                    <a:pt x="26" y="0"/>
                  </a:lnTo>
                  <a:lnTo>
                    <a:pt x="28" y="6"/>
                  </a:lnTo>
                  <a:lnTo>
                    <a:pt x="35" y="8"/>
                  </a:lnTo>
                  <a:lnTo>
                    <a:pt x="54" y="3"/>
                  </a:lnTo>
                  <a:lnTo>
                    <a:pt x="67" y="3"/>
                  </a:lnTo>
                  <a:lnTo>
                    <a:pt x="91" y="7"/>
                  </a:lnTo>
                  <a:lnTo>
                    <a:pt x="123" y="12"/>
                  </a:lnTo>
                  <a:lnTo>
                    <a:pt x="142" y="19"/>
                  </a:lnTo>
                  <a:lnTo>
                    <a:pt x="153" y="27"/>
                  </a:lnTo>
                  <a:lnTo>
                    <a:pt x="169" y="29"/>
                  </a:lnTo>
                  <a:lnTo>
                    <a:pt x="177" y="31"/>
                  </a:lnTo>
                  <a:lnTo>
                    <a:pt x="185" y="38"/>
                  </a:lnTo>
                  <a:lnTo>
                    <a:pt x="201" y="38"/>
                  </a:lnTo>
                  <a:lnTo>
                    <a:pt x="214" y="39"/>
                  </a:lnTo>
                  <a:lnTo>
                    <a:pt x="228" y="45"/>
                  </a:lnTo>
                  <a:lnTo>
                    <a:pt x="239" y="52"/>
                  </a:lnTo>
                  <a:lnTo>
                    <a:pt x="255" y="47"/>
                  </a:lnTo>
                  <a:lnTo>
                    <a:pt x="269" y="40"/>
                  </a:lnTo>
                  <a:lnTo>
                    <a:pt x="285" y="28"/>
                  </a:lnTo>
                  <a:lnTo>
                    <a:pt x="301" y="20"/>
                  </a:lnTo>
                  <a:lnTo>
                    <a:pt x="311" y="13"/>
                  </a:lnTo>
                  <a:lnTo>
                    <a:pt x="324" y="12"/>
                  </a:lnTo>
                  <a:lnTo>
                    <a:pt x="334" y="8"/>
                  </a:lnTo>
                  <a:lnTo>
                    <a:pt x="336" y="8"/>
                  </a:lnTo>
                  <a:lnTo>
                    <a:pt x="336" y="11"/>
                  </a:lnTo>
                  <a:lnTo>
                    <a:pt x="324" y="16"/>
                  </a:lnTo>
                  <a:lnTo>
                    <a:pt x="322" y="20"/>
                  </a:lnTo>
                  <a:lnTo>
                    <a:pt x="324" y="20"/>
                  </a:lnTo>
                  <a:lnTo>
                    <a:pt x="344" y="17"/>
                  </a:lnTo>
                  <a:lnTo>
                    <a:pt x="349" y="13"/>
                  </a:lnTo>
                  <a:lnTo>
                    <a:pt x="354" y="7"/>
                  </a:lnTo>
                  <a:lnTo>
                    <a:pt x="361" y="11"/>
                  </a:lnTo>
                  <a:lnTo>
                    <a:pt x="365" y="11"/>
                  </a:lnTo>
                  <a:lnTo>
                    <a:pt x="388" y="11"/>
                  </a:lnTo>
                  <a:lnTo>
                    <a:pt x="390" y="11"/>
                  </a:lnTo>
                  <a:lnTo>
                    <a:pt x="400" y="6"/>
                  </a:lnTo>
                  <a:lnTo>
                    <a:pt x="401" y="8"/>
                  </a:lnTo>
                  <a:lnTo>
                    <a:pt x="405" y="14"/>
                  </a:lnTo>
                  <a:lnTo>
                    <a:pt x="408" y="16"/>
                  </a:lnTo>
                  <a:lnTo>
                    <a:pt x="411" y="20"/>
                  </a:lnTo>
                  <a:lnTo>
                    <a:pt x="416" y="24"/>
                  </a:lnTo>
                  <a:lnTo>
                    <a:pt x="426" y="28"/>
                  </a:lnTo>
                  <a:lnTo>
                    <a:pt x="431" y="35"/>
                  </a:lnTo>
                  <a:lnTo>
                    <a:pt x="435" y="40"/>
                  </a:lnTo>
                  <a:lnTo>
                    <a:pt x="447" y="40"/>
                  </a:lnTo>
                  <a:lnTo>
                    <a:pt x="456" y="39"/>
                  </a:lnTo>
                  <a:lnTo>
                    <a:pt x="459" y="35"/>
                  </a:lnTo>
                  <a:lnTo>
                    <a:pt x="463" y="34"/>
                  </a:lnTo>
                  <a:lnTo>
                    <a:pt x="468" y="40"/>
                  </a:lnTo>
                  <a:lnTo>
                    <a:pt x="491" y="38"/>
                  </a:lnTo>
                  <a:lnTo>
                    <a:pt x="510" y="29"/>
                  </a:lnTo>
                  <a:lnTo>
                    <a:pt x="521" y="20"/>
                  </a:lnTo>
                  <a:lnTo>
                    <a:pt x="523" y="30"/>
                  </a:lnTo>
                  <a:lnTo>
                    <a:pt x="523" y="35"/>
                  </a:lnTo>
                  <a:lnTo>
                    <a:pt x="527" y="41"/>
                  </a:lnTo>
                  <a:lnTo>
                    <a:pt x="545" y="99"/>
                  </a:lnTo>
                  <a:lnTo>
                    <a:pt x="561" y="144"/>
                  </a:lnTo>
                  <a:lnTo>
                    <a:pt x="554" y="164"/>
                  </a:lnTo>
                  <a:lnTo>
                    <a:pt x="549" y="187"/>
                  </a:lnTo>
                  <a:lnTo>
                    <a:pt x="539" y="211"/>
                  </a:lnTo>
                  <a:lnTo>
                    <a:pt x="539" y="221"/>
                  </a:lnTo>
                  <a:lnTo>
                    <a:pt x="539" y="228"/>
                  </a:lnTo>
                  <a:lnTo>
                    <a:pt x="538" y="234"/>
                  </a:lnTo>
                  <a:lnTo>
                    <a:pt x="534" y="238"/>
                  </a:lnTo>
                  <a:lnTo>
                    <a:pt x="527" y="242"/>
                  </a:lnTo>
                  <a:lnTo>
                    <a:pt x="518" y="242"/>
                  </a:lnTo>
                  <a:lnTo>
                    <a:pt x="510" y="235"/>
                  </a:lnTo>
                  <a:lnTo>
                    <a:pt x="499" y="219"/>
                  </a:lnTo>
                  <a:lnTo>
                    <a:pt x="486" y="207"/>
                  </a:lnTo>
                  <a:lnTo>
                    <a:pt x="476" y="192"/>
                  </a:lnTo>
                  <a:lnTo>
                    <a:pt x="474" y="189"/>
                  </a:lnTo>
                  <a:lnTo>
                    <a:pt x="473" y="175"/>
                  </a:lnTo>
                  <a:lnTo>
                    <a:pt x="469" y="165"/>
                  </a:lnTo>
                  <a:lnTo>
                    <a:pt x="458" y="154"/>
                  </a:lnTo>
                  <a:lnTo>
                    <a:pt x="454" y="144"/>
                  </a:lnTo>
                  <a:lnTo>
                    <a:pt x="447" y="135"/>
                  </a:lnTo>
                  <a:lnTo>
                    <a:pt x="442" y="115"/>
                  </a:lnTo>
                  <a:lnTo>
                    <a:pt x="440" y="109"/>
                  </a:lnTo>
                  <a:lnTo>
                    <a:pt x="438" y="105"/>
                  </a:lnTo>
                  <a:lnTo>
                    <a:pt x="436" y="104"/>
                  </a:lnTo>
                  <a:lnTo>
                    <a:pt x="436" y="104"/>
                  </a:lnTo>
                  <a:lnTo>
                    <a:pt x="432" y="108"/>
                  </a:lnTo>
                  <a:lnTo>
                    <a:pt x="433" y="113"/>
                  </a:lnTo>
                  <a:lnTo>
                    <a:pt x="429" y="119"/>
                  </a:lnTo>
                  <a:lnTo>
                    <a:pt x="427" y="131"/>
                  </a:lnTo>
                  <a:lnTo>
                    <a:pt x="429" y="135"/>
                  </a:lnTo>
                  <a:lnTo>
                    <a:pt x="437" y="143"/>
                  </a:lnTo>
                  <a:lnTo>
                    <a:pt x="440" y="148"/>
                  </a:lnTo>
                  <a:lnTo>
                    <a:pt x="442" y="154"/>
                  </a:lnTo>
                  <a:lnTo>
                    <a:pt x="441" y="167"/>
                  </a:lnTo>
                  <a:lnTo>
                    <a:pt x="443" y="174"/>
                  </a:lnTo>
                  <a:lnTo>
                    <a:pt x="458" y="203"/>
                  </a:lnTo>
                  <a:lnTo>
                    <a:pt x="475" y="223"/>
                  </a:lnTo>
                  <a:lnTo>
                    <a:pt x="483" y="230"/>
                  </a:lnTo>
                  <a:lnTo>
                    <a:pt x="487" y="232"/>
                  </a:lnTo>
                  <a:lnTo>
                    <a:pt x="490" y="256"/>
                  </a:lnTo>
                  <a:lnTo>
                    <a:pt x="495" y="265"/>
                  </a:lnTo>
                  <a:lnTo>
                    <a:pt x="506" y="278"/>
                  </a:lnTo>
                  <a:lnTo>
                    <a:pt x="512" y="304"/>
                  </a:lnTo>
                  <a:lnTo>
                    <a:pt x="515" y="314"/>
                  </a:lnTo>
                  <a:lnTo>
                    <a:pt x="517" y="323"/>
                  </a:lnTo>
                  <a:lnTo>
                    <a:pt x="530" y="346"/>
                  </a:lnTo>
                  <a:lnTo>
                    <a:pt x="535" y="362"/>
                  </a:lnTo>
                  <a:lnTo>
                    <a:pt x="545" y="374"/>
                  </a:lnTo>
                  <a:lnTo>
                    <a:pt x="558" y="401"/>
                  </a:lnTo>
                  <a:lnTo>
                    <a:pt x="562" y="412"/>
                  </a:lnTo>
                  <a:lnTo>
                    <a:pt x="567" y="418"/>
                  </a:lnTo>
                  <a:lnTo>
                    <a:pt x="578" y="444"/>
                  </a:lnTo>
                  <a:lnTo>
                    <a:pt x="588" y="455"/>
                  </a:lnTo>
                  <a:lnTo>
                    <a:pt x="604" y="469"/>
                  </a:lnTo>
                  <a:lnTo>
                    <a:pt x="608" y="471"/>
                  </a:lnTo>
                  <a:lnTo>
                    <a:pt x="612" y="476"/>
                  </a:lnTo>
                  <a:lnTo>
                    <a:pt x="612" y="479"/>
                  </a:lnTo>
                  <a:lnTo>
                    <a:pt x="598" y="476"/>
                  </a:lnTo>
                  <a:lnTo>
                    <a:pt x="596" y="476"/>
                  </a:lnTo>
                  <a:lnTo>
                    <a:pt x="594" y="479"/>
                  </a:lnTo>
                  <a:lnTo>
                    <a:pt x="598" y="488"/>
                  </a:lnTo>
                  <a:lnTo>
                    <a:pt x="599" y="513"/>
                  </a:lnTo>
                  <a:lnTo>
                    <a:pt x="603" y="525"/>
                  </a:lnTo>
                  <a:lnTo>
                    <a:pt x="581" y="545"/>
                  </a:lnTo>
                  <a:lnTo>
                    <a:pt x="567" y="540"/>
                  </a:lnTo>
                  <a:lnTo>
                    <a:pt x="555" y="571"/>
                  </a:lnTo>
                  <a:lnTo>
                    <a:pt x="526" y="578"/>
                  </a:lnTo>
                  <a:lnTo>
                    <a:pt x="518" y="603"/>
                  </a:lnTo>
                  <a:lnTo>
                    <a:pt x="491" y="605"/>
                  </a:lnTo>
                  <a:lnTo>
                    <a:pt x="473" y="592"/>
                  </a:lnTo>
                  <a:lnTo>
                    <a:pt x="376" y="590"/>
                  </a:lnTo>
                  <a:lnTo>
                    <a:pt x="381" y="579"/>
                  </a:lnTo>
                  <a:lnTo>
                    <a:pt x="378" y="579"/>
                  </a:lnTo>
                  <a:lnTo>
                    <a:pt x="376" y="578"/>
                  </a:lnTo>
                  <a:lnTo>
                    <a:pt x="373" y="578"/>
                  </a:lnTo>
                  <a:lnTo>
                    <a:pt x="366" y="590"/>
                  </a:lnTo>
                  <a:lnTo>
                    <a:pt x="338" y="590"/>
                  </a:lnTo>
                  <a:lnTo>
                    <a:pt x="285" y="590"/>
                  </a:lnTo>
                  <a:lnTo>
                    <a:pt x="233" y="590"/>
                  </a:lnTo>
                  <a:lnTo>
                    <a:pt x="180" y="590"/>
                  </a:lnTo>
                  <a:lnTo>
                    <a:pt x="129" y="590"/>
                  </a:lnTo>
                  <a:lnTo>
                    <a:pt x="77" y="590"/>
                  </a:lnTo>
                  <a:lnTo>
                    <a:pt x="24" y="590"/>
                  </a:lnTo>
                  <a:lnTo>
                    <a:pt x="24" y="55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4" name="Algeria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gray">
            <a:xfrm>
              <a:off x="4233665" y="3606883"/>
              <a:ext cx="519613" cy="528976"/>
            </a:xfrm>
            <a:custGeom>
              <a:avLst/>
              <a:gdLst/>
              <a:ahLst/>
              <a:cxnLst>
                <a:cxn ang="0">
                  <a:pos x="0" y="608"/>
                </a:cxn>
                <a:cxn ang="0">
                  <a:pos x="66" y="499"/>
                </a:cxn>
                <a:cxn ang="0">
                  <a:pos x="97" y="485"/>
                </a:cxn>
                <a:cxn ang="0">
                  <a:pos x="114" y="474"/>
                </a:cxn>
                <a:cxn ang="0">
                  <a:pos x="178" y="463"/>
                </a:cxn>
                <a:cxn ang="0">
                  <a:pos x="196" y="437"/>
                </a:cxn>
                <a:cxn ang="0">
                  <a:pos x="274" y="403"/>
                </a:cxn>
                <a:cxn ang="0">
                  <a:pos x="267" y="390"/>
                </a:cxn>
                <a:cxn ang="0">
                  <a:pos x="268" y="372"/>
                </a:cxn>
                <a:cxn ang="0">
                  <a:pos x="268" y="355"/>
                </a:cxn>
                <a:cxn ang="0">
                  <a:pos x="308" y="348"/>
                </a:cxn>
                <a:cxn ang="0">
                  <a:pos x="316" y="328"/>
                </a:cxn>
                <a:cxn ang="0">
                  <a:pos x="371" y="324"/>
                </a:cxn>
                <a:cxn ang="0">
                  <a:pos x="409" y="327"/>
                </a:cxn>
                <a:cxn ang="0">
                  <a:pos x="416" y="304"/>
                </a:cxn>
                <a:cxn ang="0">
                  <a:pos x="393" y="268"/>
                </a:cxn>
                <a:cxn ang="0">
                  <a:pos x="391" y="238"/>
                </a:cxn>
                <a:cxn ang="0">
                  <a:pos x="387" y="204"/>
                </a:cxn>
                <a:cxn ang="0">
                  <a:pos x="381" y="167"/>
                </a:cxn>
                <a:cxn ang="0">
                  <a:pos x="373" y="155"/>
                </a:cxn>
                <a:cxn ang="0">
                  <a:pos x="371" y="137"/>
                </a:cxn>
                <a:cxn ang="0">
                  <a:pos x="438" y="91"/>
                </a:cxn>
                <a:cxn ang="0">
                  <a:pos x="484" y="73"/>
                </a:cxn>
                <a:cxn ang="0">
                  <a:pos x="543" y="41"/>
                </a:cxn>
                <a:cxn ang="0">
                  <a:pos x="640" y="20"/>
                </a:cxn>
                <a:cxn ang="0">
                  <a:pos x="689" y="14"/>
                </a:cxn>
                <a:cxn ang="0">
                  <a:pos x="764" y="27"/>
                </a:cxn>
                <a:cxn ang="0">
                  <a:pos x="819" y="0"/>
                </a:cxn>
                <a:cxn ang="0">
                  <a:pos x="866" y="9"/>
                </a:cxn>
                <a:cxn ang="0">
                  <a:pos x="921" y="10"/>
                </a:cxn>
                <a:cxn ang="0">
                  <a:pos x="935" y="26"/>
                </a:cxn>
                <a:cxn ang="0">
                  <a:pos x="926" y="78"/>
                </a:cxn>
                <a:cxn ang="0">
                  <a:pos x="932" y="132"/>
                </a:cxn>
                <a:cxn ang="0">
                  <a:pos x="892" y="197"/>
                </a:cxn>
                <a:cxn ang="0">
                  <a:pos x="876" y="219"/>
                </a:cxn>
                <a:cxn ang="0">
                  <a:pos x="919" y="290"/>
                </a:cxn>
                <a:cxn ang="0">
                  <a:pos x="964" y="334"/>
                </a:cxn>
                <a:cxn ang="0">
                  <a:pos x="973" y="457"/>
                </a:cxn>
                <a:cxn ang="0">
                  <a:pos x="1001" y="554"/>
                </a:cxn>
                <a:cxn ang="0">
                  <a:pos x="999" y="684"/>
                </a:cxn>
                <a:cxn ang="0">
                  <a:pos x="1001" y="737"/>
                </a:cxn>
                <a:cxn ang="0">
                  <a:pos x="1048" y="801"/>
                </a:cxn>
                <a:cxn ang="0">
                  <a:pos x="1112" y="864"/>
                </a:cxn>
                <a:cxn ang="0">
                  <a:pos x="911" y="1005"/>
                </a:cxn>
                <a:cxn ang="0">
                  <a:pos x="704" y="1115"/>
                </a:cxn>
                <a:cxn ang="0">
                  <a:pos x="663" y="1129"/>
                </a:cxn>
                <a:cxn ang="0">
                  <a:pos x="645" y="1109"/>
                </a:cxn>
                <a:cxn ang="0">
                  <a:pos x="646" y="1092"/>
                </a:cxn>
                <a:cxn ang="0">
                  <a:pos x="644" y="1076"/>
                </a:cxn>
                <a:cxn ang="0">
                  <a:pos x="614" y="1064"/>
                </a:cxn>
                <a:cxn ang="0">
                  <a:pos x="585" y="1054"/>
                </a:cxn>
                <a:cxn ang="0">
                  <a:pos x="560" y="1032"/>
                </a:cxn>
                <a:cxn ang="0">
                  <a:pos x="532" y="1016"/>
                </a:cxn>
                <a:cxn ang="0">
                  <a:pos x="203" y="773"/>
                </a:cxn>
              </a:cxnLst>
              <a:rect l="0" t="0" r="r" b="b"/>
              <a:pathLst>
                <a:path w="1112" h="1129">
                  <a:moveTo>
                    <a:pt x="203" y="773"/>
                  </a:moveTo>
                  <a:lnTo>
                    <a:pt x="126" y="722"/>
                  </a:lnTo>
                  <a:lnTo>
                    <a:pt x="67" y="684"/>
                  </a:lnTo>
                  <a:lnTo>
                    <a:pt x="0" y="640"/>
                  </a:lnTo>
                  <a:lnTo>
                    <a:pt x="0" y="608"/>
                  </a:lnTo>
                  <a:lnTo>
                    <a:pt x="0" y="539"/>
                  </a:lnTo>
                  <a:lnTo>
                    <a:pt x="26" y="519"/>
                  </a:lnTo>
                  <a:lnTo>
                    <a:pt x="47" y="505"/>
                  </a:lnTo>
                  <a:lnTo>
                    <a:pt x="59" y="505"/>
                  </a:lnTo>
                  <a:lnTo>
                    <a:pt x="66" y="499"/>
                  </a:lnTo>
                  <a:lnTo>
                    <a:pt x="72" y="495"/>
                  </a:lnTo>
                  <a:lnTo>
                    <a:pt x="79" y="489"/>
                  </a:lnTo>
                  <a:lnTo>
                    <a:pt x="83" y="485"/>
                  </a:lnTo>
                  <a:lnTo>
                    <a:pt x="90" y="487"/>
                  </a:lnTo>
                  <a:lnTo>
                    <a:pt x="97" y="485"/>
                  </a:lnTo>
                  <a:lnTo>
                    <a:pt x="102" y="488"/>
                  </a:lnTo>
                  <a:lnTo>
                    <a:pt x="110" y="488"/>
                  </a:lnTo>
                  <a:lnTo>
                    <a:pt x="113" y="487"/>
                  </a:lnTo>
                  <a:lnTo>
                    <a:pt x="113" y="478"/>
                  </a:lnTo>
                  <a:lnTo>
                    <a:pt x="114" y="474"/>
                  </a:lnTo>
                  <a:lnTo>
                    <a:pt x="131" y="476"/>
                  </a:lnTo>
                  <a:lnTo>
                    <a:pt x="136" y="473"/>
                  </a:lnTo>
                  <a:lnTo>
                    <a:pt x="145" y="473"/>
                  </a:lnTo>
                  <a:lnTo>
                    <a:pt x="161" y="471"/>
                  </a:lnTo>
                  <a:lnTo>
                    <a:pt x="178" y="463"/>
                  </a:lnTo>
                  <a:lnTo>
                    <a:pt x="184" y="458"/>
                  </a:lnTo>
                  <a:lnTo>
                    <a:pt x="190" y="453"/>
                  </a:lnTo>
                  <a:lnTo>
                    <a:pt x="193" y="447"/>
                  </a:lnTo>
                  <a:lnTo>
                    <a:pt x="193" y="445"/>
                  </a:lnTo>
                  <a:lnTo>
                    <a:pt x="196" y="437"/>
                  </a:lnTo>
                  <a:lnTo>
                    <a:pt x="206" y="430"/>
                  </a:lnTo>
                  <a:lnTo>
                    <a:pt x="221" y="424"/>
                  </a:lnTo>
                  <a:lnTo>
                    <a:pt x="227" y="424"/>
                  </a:lnTo>
                  <a:lnTo>
                    <a:pt x="253" y="407"/>
                  </a:lnTo>
                  <a:lnTo>
                    <a:pt x="274" y="403"/>
                  </a:lnTo>
                  <a:lnTo>
                    <a:pt x="276" y="399"/>
                  </a:lnTo>
                  <a:lnTo>
                    <a:pt x="275" y="396"/>
                  </a:lnTo>
                  <a:lnTo>
                    <a:pt x="270" y="392"/>
                  </a:lnTo>
                  <a:lnTo>
                    <a:pt x="269" y="390"/>
                  </a:lnTo>
                  <a:lnTo>
                    <a:pt x="267" y="390"/>
                  </a:lnTo>
                  <a:lnTo>
                    <a:pt x="264" y="391"/>
                  </a:lnTo>
                  <a:lnTo>
                    <a:pt x="263" y="391"/>
                  </a:lnTo>
                  <a:lnTo>
                    <a:pt x="264" y="380"/>
                  </a:lnTo>
                  <a:lnTo>
                    <a:pt x="269" y="375"/>
                  </a:lnTo>
                  <a:lnTo>
                    <a:pt x="268" y="372"/>
                  </a:lnTo>
                  <a:lnTo>
                    <a:pt x="263" y="372"/>
                  </a:lnTo>
                  <a:lnTo>
                    <a:pt x="262" y="370"/>
                  </a:lnTo>
                  <a:lnTo>
                    <a:pt x="262" y="364"/>
                  </a:lnTo>
                  <a:lnTo>
                    <a:pt x="263" y="359"/>
                  </a:lnTo>
                  <a:lnTo>
                    <a:pt x="268" y="355"/>
                  </a:lnTo>
                  <a:lnTo>
                    <a:pt x="273" y="355"/>
                  </a:lnTo>
                  <a:lnTo>
                    <a:pt x="280" y="356"/>
                  </a:lnTo>
                  <a:lnTo>
                    <a:pt x="287" y="355"/>
                  </a:lnTo>
                  <a:lnTo>
                    <a:pt x="295" y="354"/>
                  </a:lnTo>
                  <a:lnTo>
                    <a:pt x="308" y="348"/>
                  </a:lnTo>
                  <a:lnTo>
                    <a:pt x="311" y="345"/>
                  </a:lnTo>
                  <a:lnTo>
                    <a:pt x="312" y="339"/>
                  </a:lnTo>
                  <a:lnTo>
                    <a:pt x="311" y="334"/>
                  </a:lnTo>
                  <a:lnTo>
                    <a:pt x="313" y="329"/>
                  </a:lnTo>
                  <a:lnTo>
                    <a:pt x="316" y="328"/>
                  </a:lnTo>
                  <a:lnTo>
                    <a:pt x="323" y="331"/>
                  </a:lnTo>
                  <a:lnTo>
                    <a:pt x="327" y="329"/>
                  </a:lnTo>
                  <a:lnTo>
                    <a:pt x="330" y="327"/>
                  </a:lnTo>
                  <a:lnTo>
                    <a:pt x="340" y="324"/>
                  </a:lnTo>
                  <a:lnTo>
                    <a:pt x="371" y="324"/>
                  </a:lnTo>
                  <a:lnTo>
                    <a:pt x="376" y="323"/>
                  </a:lnTo>
                  <a:lnTo>
                    <a:pt x="387" y="324"/>
                  </a:lnTo>
                  <a:lnTo>
                    <a:pt x="399" y="324"/>
                  </a:lnTo>
                  <a:lnTo>
                    <a:pt x="407" y="328"/>
                  </a:lnTo>
                  <a:lnTo>
                    <a:pt x="409" y="327"/>
                  </a:lnTo>
                  <a:lnTo>
                    <a:pt x="409" y="324"/>
                  </a:lnTo>
                  <a:lnTo>
                    <a:pt x="407" y="320"/>
                  </a:lnTo>
                  <a:lnTo>
                    <a:pt x="408" y="313"/>
                  </a:lnTo>
                  <a:lnTo>
                    <a:pt x="411" y="306"/>
                  </a:lnTo>
                  <a:lnTo>
                    <a:pt x="416" y="304"/>
                  </a:lnTo>
                  <a:lnTo>
                    <a:pt x="416" y="302"/>
                  </a:lnTo>
                  <a:lnTo>
                    <a:pt x="409" y="297"/>
                  </a:lnTo>
                  <a:lnTo>
                    <a:pt x="400" y="289"/>
                  </a:lnTo>
                  <a:lnTo>
                    <a:pt x="393" y="274"/>
                  </a:lnTo>
                  <a:lnTo>
                    <a:pt x="393" y="268"/>
                  </a:lnTo>
                  <a:lnTo>
                    <a:pt x="391" y="261"/>
                  </a:lnTo>
                  <a:lnTo>
                    <a:pt x="388" y="253"/>
                  </a:lnTo>
                  <a:lnTo>
                    <a:pt x="389" y="248"/>
                  </a:lnTo>
                  <a:lnTo>
                    <a:pt x="391" y="242"/>
                  </a:lnTo>
                  <a:lnTo>
                    <a:pt x="391" y="238"/>
                  </a:lnTo>
                  <a:lnTo>
                    <a:pt x="391" y="234"/>
                  </a:lnTo>
                  <a:lnTo>
                    <a:pt x="383" y="226"/>
                  </a:lnTo>
                  <a:lnTo>
                    <a:pt x="386" y="223"/>
                  </a:lnTo>
                  <a:lnTo>
                    <a:pt x="386" y="213"/>
                  </a:lnTo>
                  <a:lnTo>
                    <a:pt x="387" y="204"/>
                  </a:lnTo>
                  <a:lnTo>
                    <a:pt x="384" y="193"/>
                  </a:lnTo>
                  <a:lnTo>
                    <a:pt x="382" y="186"/>
                  </a:lnTo>
                  <a:lnTo>
                    <a:pt x="386" y="178"/>
                  </a:lnTo>
                  <a:lnTo>
                    <a:pt x="380" y="170"/>
                  </a:lnTo>
                  <a:lnTo>
                    <a:pt x="381" y="167"/>
                  </a:lnTo>
                  <a:lnTo>
                    <a:pt x="382" y="167"/>
                  </a:lnTo>
                  <a:lnTo>
                    <a:pt x="383" y="165"/>
                  </a:lnTo>
                  <a:lnTo>
                    <a:pt x="381" y="161"/>
                  </a:lnTo>
                  <a:lnTo>
                    <a:pt x="377" y="160"/>
                  </a:lnTo>
                  <a:lnTo>
                    <a:pt x="373" y="155"/>
                  </a:lnTo>
                  <a:lnTo>
                    <a:pt x="372" y="153"/>
                  </a:lnTo>
                  <a:lnTo>
                    <a:pt x="366" y="148"/>
                  </a:lnTo>
                  <a:lnTo>
                    <a:pt x="364" y="143"/>
                  </a:lnTo>
                  <a:lnTo>
                    <a:pt x="364" y="138"/>
                  </a:lnTo>
                  <a:lnTo>
                    <a:pt x="371" y="137"/>
                  </a:lnTo>
                  <a:lnTo>
                    <a:pt x="384" y="132"/>
                  </a:lnTo>
                  <a:lnTo>
                    <a:pt x="399" y="123"/>
                  </a:lnTo>
                  <a:lnTo>
                    <a:pt x="418" y="100"/>
                  </a:lnTo>
                  <a:lnTo>
                    <a:pt x="429" y="92"/>
                  </a:lnTo>
                  <a:lnTo>
                    <a:pt x="438" y="91"/>
                  </a:lnTo>
                  <a:lnTo>
                    <a:pt x="445" y="92"/>
                  </a:lnTo>
                  <a:lnTo>
                    <a:pt x="456" y="82"/>
                  </a:lnTo>
                  <a:lnTo>
                    <a:pt x="467" y="87"/>
                  </a:lnTo>
                  <a:lnTo>
                    <a:pt x="478" y="82"/>
                  </a:lnTo>
                  <a:lnTo>
                    <a:pt x="484" y="73"/>
                  </a:lnTo>
                  <a:lnTo>
                    <a:pt x="491" y="65"/>
                  </a:lnTo>
                  <a:lnTo>
                    <a:pt x="497" y="62"/>
                  </a:lnTo>
                  <a:lnTo>
                    <a:pt x="505" y="59"/>
                  </a:lnTo>
                  <a:lnTo>
                    <a:pt x="516" y="51"/>
                  </a:lnTo>
                  <a:lnTo>
                    <a:pt x="543" y="41"/>
                  </a:lnTo>
                  <a:lnTo>
                    <a:pt x="555" y="37"/>
                  </a:lnTo>
                  <a:lnTo>
                    <a:pt x="608" y="33"/>
                  </a:lnTo>
                  <a:lnTo>
                    <a:pt x="620" y="33"/>
                  </a:lnTo>
                  <a:lnTo>
                    <a:pt x="630" y="28"/>
                  </a:lnTo>
                  <a:lnTo>
                    <a:pt x="640" y="20"/>
                  </a:lnTo>
                  <a:lnTo>
                    <a:pt x="646" y="22"/>
                  </a:lnTo>
                  <a:lnTo>
                    <a:pt x="658" y="21"/>
                  </a:lnTo>
                  <a:lnTo>
                    <a:pt x="663" y="24"/>
                  </a:lnTo>
                  <a:lnTo>
                    <a:pt x="673" y="21"/>
                  </a:lnTo>
                  <a:lnTo>
                    <a:pt x="689" y="14"/>
                  </a:lnTo>
                  <a:lnTo>
                    <a:pt x="705" y="14"/>
                  </a:lnTo>
                  <a:lnTo>
                    <a:pt x="720" y="12"/>
                  </a:lnTo>
                  <a:lnTo>
                    <a:pt x="744" y="15"/>
                  </a:lnTo>
                  <a:lnTo>
                    <a:pt x="753" y="24"/>
                  </a:lnTo>
                  <a:lnTo>
                    <a:pt x="764" y="27"/>
                  </a:lnTo>
                  <a:lnTo>
                    <a:pt x="775" y="25"/>
                  </a:lnTo>
                  <a:lnTo>
                    <a:pt x="784" y="20"/>
                  </a:lnTo>
                  <a:lnTo>
                    <a:pt x="801" y="16"/>
                  </a:lnTo>
                  <a:lnTo>
                    <a:pt x="812" y="12"/>
                  </a:lnTo>
                  <a:lnTo>
                    <a:pt x="819" y="0"/>
                  </a:lnTo>
                  <a:lnTo>
                    <a:pt x="832" y="4"/>
                  </a:lnTo>
                  <a:lnTo>
                    <a:pt x="840" y="10"/>
                  </a:lnTo>
                  <a:lnTo>
                    <a:pt x="846" y="10"/>
                  </a:lnTo>
                  <a:lnTo>
                    <a:pt x="855" y="14"/>
                  </a:lnTo>
                  <a:lnTo>
                    <a:pt x="866" y="9"/>
                  </a:lnTo>
                  <a:lnTo>
                    <a:pt x="872" y="1"/>
                  </a:lnTo>
                  <a:lnTo>
                    <a:pt x="892" y="9"/>
                  </a:lnTo>
                  <a:lnTo>
                    <a:pt x="900" y="15"/>
                  </a:lnTo>
                  <a:lnTo>
                    <a:pt x="913" y="14"/>
                  </a:lnTo>
                  <a:lnTo>
                    <a:pt x="921" y="10"/>
                  </a:lnTo>
                  <a:lnTo>
                    <a:pt x="935" y="12"/>
                  </a:lnTo>
                  <a:lnTo>
                    <a:pt x="948" y="10"/>
                  </a:lnTo>
                  <a:lnTo>
                    <a:pt x="946" y="16"/>
                  </a:lnTo>
                  <a:lnTo>
                    <a:pt x="941" y="20"/>
                  </a:lnTo>
                  <a:lnTo>
                    <a:pt x="935" y="26"/>
                  </a:lnTo>
                  <a:lnTo>
                    <a:pt x="926" y="35"/>
                  </a:lnTo>
                  <a:lnTo>
                    <a:pt x="924" y="40"/>
                  </a:lnTo>
                  <a:lnTo>
                    <a:pt x="930" y="42"/>
                  </a:lnTo>
                  <a:lnTo>
                    <a:pt x="931" y="46"/>
                  </a:lnTo>
                  <a:lnTo>
                    <a:pt x="926" y="78"/>
                  </a:lnTo>
                  <a:lnTo>
                    <a:pt x="925" y="86"/>
                  </a:lnTo>
                  <a:lnTo>
                    <a:pt x="927" y="96"/>
                  </a:lnTo>
                  <a:lnTo>
                    <a:pt x="929" y="119"/>
                  </a:lnTo>
                  <a:lnTo>
                    <a:pt x="932" y="125"/>
                  </a:lnTo>
                  <a:lnTo>
                    <a:pt x="932" y="132"/>
                  </a:lnTo>
                  <a:lnTo>
                    <a:pt x="926" y="156"/>
                  </a:lnTo>
                  <a:lnTo>
                    <a:pt x="922" y="170"/>
                  </a:lnTo>
                  <a:lnTo>
                    <a:pt x="903" y="182"/>
                  </a:lnTo>
                  <a:lnTo>
                    <a:pt x="900" y="193"/>
                  </a:lnTo>
                  <a:lnTo>
                    <a:pt x="892" y="197"/>
                  </a:lnTo>
                  <a:lnTo>
                    <a:pt x="887" y="202"/>
                  </a:lnTo>
                  <a:lnTo>
                    <a:pt x="886" y="205"/>
                  </a:lnTo>
                  <a:lnTo>
                    <a:pt x="876" y="211"/>
                  </a:lnTo>
                  <a:lnTo>
                    <a:pt x="873" y="211"/>
                  </a:lnTo>
                  <a:lnTo>
                    <a:pt x="876" y="219"/>
                  </a:lnTo>
                  <a:lnTo>
                    <a:pt x="881" y="231"/>
                  </a:lnTo>
                  <a:lnTo>
                    <a:pt x="887" y="257"/>
                  </a:lnTo>
                  <a:lnTo>
                    <a:pt x="905" y="264"/>
                  </a:lnTo>
                  <a:lnTo>
                    <a:pt x="910" y="270"/>
                  </a:lnTo>
                  <a:lnTo>
                    <a:pt x="919" y="290"/>
                  </a:lnTo>
                  <a:lnTo>
                    <a:pt x="919" y="308"/>
                  </a:lnTo>
                  <a:lnTo>
                    <a:pt x="937" y="321"/>
                  </a:lnTo>
                  <a:lnTo>
                    <a:pt x="962" y="333"/>
                  </a:lnTo>
                  <a:lnTo>
                    <a:pt x="964" y="333"/>
                  </a:lnTo>
                  <a:lnTo>
                    <a:pt x="964" y="334"/>
                  </a:lnTo>
                  <a:lnTo>
                    <a:pt x="978" y="407"/>
                  </a:lnTo>
                  <a:lnTo>
                    <a:pt x="983" y="444"/>
                  </a:lnTo>
                  <a:lnTo>
                    <a:pt x="984" y="447"/>
                  </a:lnTo>
                  <a:lnTo>
                    <a:pt x="983" y="450"/>
                  </a:lnTo>
                  <a:lnTo>
                    <a:pt x="973" y="457"/>
                  </a:lnTo>
                  <a:lnTo>
                    <a:pt x="972" y="473"/>
                  </a:lnTo>
                  <a:lnTo>
                    <a:pt x="983" y="487"/>
                  </a:lnTo>
                  <a:lnTo>
                    <a:pt x="995" y="509"/>
                  </a:lnTo>
                  <a:lnTo>
                    <a:pt x="1000" y="532"/>
                  </a:lnTo>
                  <a:lnTo>
                    <a:pt x="1001" y="554"/>
                  </a:lnTo>
                  <a:lnTo>
                    <a:pt x="1001" y="585"/>
                  </a:lnTo>
                  <a:lnTo>
                    <a:pt x="1004" y="593"/>
                  </a:lnTo>
                  <a:lnTo>
                    <a:pt x="1004" y="606"/>
                  </a:lnTo>
                  <a:lnTo>
                    <a:pt x="1000" y="628"/>
                  </a:lnTo>
                  <a:lnTo>
                    <a:pt x="999" y="684"/>
                  </a:lnTo>
                  <a:lnTo>
                    <a:pt x="990" y="691"/>
                  </a:lnTo>
                  <a:lnTo>
                    <a:pt x="979" y="693"/>
                  </a:lnTo>
                  <a:lnTo>
                    <a:pt x="978" y="702"/>
                  </a:lnTo>
                  <a:lnTo>
                    <a:pt x="983" y="715"/>
                  </a:lnTo>
                  <a:lnTo>
                    <a:pt x="1001" y="737"/>
                  </a:lnTo>
                  <a:lnTo>
                    <a:pt x="1011" y="753"/>
                  </a:lnTo>
                  <a:lnTo>
                    <a:pt x="1012" y="773"/>
                  </a:lnTo>
                  <a:lnTo>
                    <a:pt x="1015" y="785"/>
                  </a:lnTo>
                  <a:lnTo>
                    <a:pt x="1029" y="800"/>
                  </a:lnTo>
                  <a:lnTo>
                    <a:pt x="1048" y="801"/>
                  </a:lnTo>
                  <a:lnTo>
                    <a:pt x="1059" y="801"/>
                  </a:lnTo>
                  <a:lnTo>
                    <a:pt x="1088" y="815"/>
                  </a:lnTo>
                  <a:lnTo>
                    <a:pt x="1106" y="844"/>
                  </a:lnTo>
                  <a:lnTo>
                    <a:pt x="1110" y="858"/>
                  </a:lnTo>
                  <a:lnTo>
                    <a:pt x="1112" y="864"/>
                  </a:lnTo>
                  <a:lnTo>
                    <a:pt x="1086" y="882"/>
                  </a:lnTo>
                  <a:lnTo>
                    <a:pt x="1042" y="913"/>
                  </a:lnTo>
                  <a:lnTo>
                    <a:pt x="999" y="944"/>
                  </a:lnTo>
                  <a:lnTo>
                    <a:pt x="956" y="974"/>
                  </a:lnTo>
                  <a:lnTo>
                    <a:pt x="911" y="1005"/>
                  </a:lnTo>
                  <a:lnTo>
                    <a:pt x="867" y="1036"/>
                  </a:lnTo>
                  <a:lnTo>
                    <a:pt x="824" y="1066"/>
                  </a:lnTo>
                  <a:lnTo>
                    <a:pt x="781" y="1096"/>
                  </a:lnTo>
                  <a:lnTo>
                    <a:pt x="766" y="1101"/>
                  </a:lnTo>
                  <a:lnTo>
                    <a:pt x="704" y="1115"/>
                  </a:lnTo>
                  <a:lnTo>
                    <a:pt x="695" y="1117"/>
                  </a:lnTo>
                  <a:lnTo>
                    <a:pt x="690" y="1119"/>
                  </a:lnTo>
                  <a:lnTo>
                    <a:pt x="680" y="1124"/>
                  </a:lnTo>
                  <a:lnTo>
                    <a:pt x="672" y="1124"/>
                  </a:lnTo>
                  <a:lnTo>
                    <a:pt x="663" y="1129"/>
                  </a:lnTo>
                  <a:lnTo>
                    <a:pt x="656" y="1129"/>
                  </a:lnTo>
                  <a:lnTo>
                    <a:pt x="650" y="1128"/>
                  </a:lnTo>
                  <a:lnTo>
                    <a:pt x="642" y="1119"/>
                  </a:lnTo>
                  <a:lnTo>
                    <a:pt x="642" y="1114"/>
                  </a:lnTo>
                  <a:lnTo>
                    <a:pt x="645" y="1109"/>
                  </a:lnTo>
                  <a:lnTo>
                    <a:pt x="644" y="1103"/>
                  </a:lnTo>
                  <a:lnTo>
                    <a:pt x="645" y="1101"/>
                  </a:lnTo>
                  <a:lnTo>
                    <a:pt x="649" y="1098"/>
                  </a:lnTo>
                  <a:lnTo>
                    <a:pt x="649" y="1096"/>
                  </a:lnTo>
                  <a:lnTo>
                    <a:pt x="646" y="1092"/>
                  </a:lnTo>
                  <a:lnTo>
                    <a:pt x="646" y="1088"/>
                  </a:lnTo>
                  <a:lnTo>
                    <a:pt x="647" y="1086"/>
                  </a:lnTo>
                  <a:lnTo>
                    <a:pt x="646" y="1080"/>
                  </a:lnTo>
                  <a:lnTo>
                    <a:pt x="645" y="1080"/>
                  </a:lnTo>
                  <a:lnTo>
                    <a:pt x="644" y="1076"/>
                  </a:lnTo>
                  <a:lnTo>
                    <a:pt x="640" y="1074"/>
                  </a:lnTo>
                  <a:lnTo>
                    <a:pt x="631" y="1071"/>
                  </a:lnTo>
                  <a:lnTo>
                    <a:pt x="623" y="1066"/>
                  </a:lnTo>
                  <a:lnTo>
                    <a:pt x="618" y="1066"/>
                  </a:lnTo>
                  <a:lnTo>
                    <a:pt x="614" y="1064"/>
                  </a:lnTo>
                  <a:lnTo>
                    <a:pt x="603" y="1064"/>
                  </a:lnTo>
                  <a:lnTo>
                    <a:pt x="599" y="1061"/>
                  </a:lnTo>
                  <a:lnTo>
                    <a:pt x="596" y="1054"/>
                  </a:lnTo>
                  <a:lnTo>
                    <a:pt x="593" y="1053"/>
                  </a:lnTo>
                  <a:lnTo>
                    <a:pt x="585" y="1054"/>
                  </a:lnTo>
                  <a:lnTo>
                    <a:pt x="575" y="1052"/>
                  </a:lnTo>
                  <a:lnTo>
                    <a:pt x="570" y="1049"/>
                  </a:lnTo>
                  <a:lnTo>
                    <a:pt x="563" y="1043"/>
                  </a:lnTo>
                  <a:lnTo>
                    <a:pt x="561" y="1038"/>
                  </a:lnTo>
                  <a:lnTo>
                    <a:pt x="560" y="1032"/>
                  </a:lnTo>
                  <a:lnTo>
                    <a:pt x="558" y="1031"/>
                  </a:lnTo>
                  <a:lnTo>
                    <a:pt x="547" y="1025"/>
                  </a:lnTo>
                  <a:lnTo>
                    <a:pt x="539" y="1023"/>
                  </a:lnTo>
                  <a:lnTo>
                    <a:pt x="533" y="1020"/>
                  </a:lnTo>
                  <a:lnTo>
                    <a:pt x="532" y="1016"/>
                  </a:lnTo>
                  <a:lnTo>
                    <a:pt x="533" y="1007"/>
                  </a:lnTo>
                  <a:lnTo>
                    <a:pt x="529" y="1004"/>
                  </a:lnTo>
                  <a:lnTo>
                    <a:pt x="529" y="999"/>
                  </a:lnTo>
                  <a:lnTo>
                    <a:pt x="267" y="817"/>
                  </a:lnTo>
                  <a:lnTo>
                    <a:pt x="203" y="7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5" name="Mauritania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gray">
            <a:xfrm>
              <a:off x="4018329" y="3906480"/>
              <a:ext cx="308959" cy="341728"/>
            </a:xfrm>
            <a:custGeom>
              <a:avLst/>
              <a:gdLst/>
              <a:ahLst/>
              <a:cxnLst>
                <a:cxn ang="0">
                  <a:pos x="96" y="347"/>
                </a:cxn>
                <a:cxn ang="0">
                  <a:pos x="14" y="353"/>
                </a:cxn>
                <a:cxn ang="0">
                  <a:pos x="5" y="364"/>
                </a:cxn>
                <a:cxn ang="0">
                  <a:pos x="0" y="369"/>
                </a:cxn>
                <a:cxn ang="0">
                  <a:pos x="22" y="391"/>
                </a:cxn>
                <a:cxn ang="0">
                  <a:pos x="40" y="409"/>
                </a:cxn>
                <a:cxn ang="0">
                  <a:pos x="41" y="437"/>
                </a:cxn>
                <a:cxn ang="0">
                  <a:pos x="28" y="460"/>
                </a:cxn>
                <a:cxn ang="0">
                  <a:pos x="49" y="501"/>
                </a:cxn>
                <a:cxn ang="0">
                  <a:pos x="50" y="563"/>
                </a:cxn>
                <a:cxn ang="0">
                  <a:pos x="30" y="623"/>
                </a:cxn>
                <a:cxn ang="0">
                  <a:pos x="24" y="650"/>
                </a:cxn>
                <a:cxn ang="0">
                  <a:pos x="37" y="627"/>
                </a:cxn>
                <a:cxn ang="0">
                  <a:pos x="50" y="627"/>
                </a:cxn>
                <a:cxn ang="0">
                  <a:pos x="76" y="628"/>
                </a:cxn>
                <a:cxn ang="0">
                  <a:pos x="98" y="624"/>
                </a:cxn>
                <a:cxn ang="0">
                  <a:pos x="102" y="619"/>
                </a:cxn>
                <a:cxn ang="0">
                  <a:pos x="119" y="620"/>
                </a:cxn>
                <a:cxn ang="0">
                  <a:pos x="141" y="620"/>
                </a:cxn>
                <a:cxn ang="0">
                  <a:pos x="161" y="635"/>
                </a:cxn>
                <a:cxn ang="0">
                  <a:pos x="173" y="647"/>
                </a:cxn>
                <a:cxn ang="0">
                  <a:pos x="183" y="651"/>
                </a:cxn>
                <a:cxn ang="0">
                  <a:pos x="200" y="662"/>
                </a:cxn>
                <a:cxn ang="0">
                  <a:pos x="209" y="677"/>
                </a:cxn>
                <a:cxn ang="0">
                  <a:pos x="215" y="686"/>
                </a:cxn>
                <a:cxn ang="0">
                  <a:pos x="222" y="692"/>
                </a:cxn>
                <a:cxn ang="0">
                  <a:pos x="223" y="698"/>
                </a:cxn>
                <a:cxn ang="0">
                  <a:pos x="231" y="704"/>
                </a:cxn>
                <a:cxn ang="0">
                  <a:pos x="244" y="709"/>
                </a:cxn>
                <a:cxn ang="0">
                  <a:pos x="250" y="719"/>
                </a:cxn>
                <a:cxn ang="0">
                  <a:pos x="286" y="705"/>
                </a:cxn>
                <a:cxn ang="0">
                  <a:pos x="302" y="665"/>
                </a:cxn>
                <a:cxn ang="0">
                  <a:pos x="308" y="666"/>
                </a:cxn>
                <a:cxn ang="0">
                  <a:pos x="323" y="683"/>
                </a:cxn>
                <a:cxn ang="0">
                  <a:pos x="350" y="705"/>
                </a:cxn>
                <a:cxn ang="0">
                  <a:pos x="534" y="687"/>
                </a:cxn>
                <a:cxn ang="0">
                  <a:pos x="637" y="641"/>
                </a:cxn>
                <a:cxn ang="0">
                  <a:pos x="604" y="522"/>
                </a:cxn>
                <a:cxn ang="0">
                  <a:pos x="587" y="359"/>
                </a:cxn>
                <a:cxn ang="0">
                  <a:pos x="570" y="191"/>
                </a:cxn>
                <a:cxn ang="0">
                  <a:pos x="584" y="82"/>
                </a:cxn>
                <a:cxn ang="0">
                  <a:pos x="458" y="70"/>
                </a:cxn>
                <a:cxn ang="0">
                  <a:pos x="299" y="70"/>
                </a:cxn>
                <a:cxn ang="0">
                  <a:pos x="281" y="187"/>
                </a:cxn>
                <a:cxn ang="0">
                  <a:pos x="244" y="231"/>
                </a:cxn>
                <a:cxn ang="0">
                  <a:pos x="220" y="245"/>
                </a:cxn>
                <a:cxn ang="0">
                  <a:pos x="215" y="290"/>
                </a:cxn>
                <a:cxn ang="0">
                  <a:pos x="222" y="347"/>
                </a:cxn>
              </a:cxnLst>
              <a:rect l="0" t="0" r="r" b="b"/>
              <a:pathLst>
                <a:path w="661" h="727">
                  <a:moveTo>
                    <a:pt x="196" y="347"/>
                  </a:moveTo>
                  <a:lnTo>
                    <a:pt x="148" y="347"/>
                  </a:lnTo>
                  <a:lnTo>
                    <a:pt x="96" y="347"/>
                  </a:lnTo>
                  <a:lnTo>
                    <a:pt x="45" y="347"/>
                  </a:lnTo>
                  <a:lnTo>
                    <a:pt x="16" y="347"/>
                  </a:lnTo>
                  <a:lnTo>
                    <a:pt x="14" y="353"/>
                  </a:lnTo>
                  <a:lnTo>
                    <a:pt x="6" y="360"/>
                  </a:lnTo>
                  <a:lnTo>
                    <a:pt x="2" y="365"/>
                  </a:lnTo>
                  <a:lnTo>
                    <a:pt x="5" y="364"/>
                  </a:lnTo>
                  <a:lnTo>
                    <a:pt x="0" y="369"/>
                  </a:lnTo>
                  <a:lnTo>
                    <a:pt x="0" y="371"/>
                  </a:lnTo>
                  <a:lnTo>
                    <a:pt x="0" y="369"/>
                  </a:lnTo>
                  <a:lnTo>
                    <a:pt x="10" y="365"/>
                  </a:lnTo>
                  <a:lnTo>
                    <a:pt x="12" y="369"/>
                  </a:lnTo>
                  <a:lnTo>
                    <a:pt x="22" y="391"/>
                  </a:lnTo>
                  <a:lnTo>
                    <a:pt x="23" y="393"/>
                  </a:lnTo>
                  <a:lnTo>
                    <a:pt x="30" y="391"/>
                  </a:lnTo>
                  <a:lnTo>
                    <a:pt x="40" y="409"/>
                  </a:lnTo>
                  <a:lnTo>
                    <a:pt x="41" y="414"/>
                  </a:lnTo>
                  <a:lnTo>
                    <a:pt x="41" y="429"/>
                  </a:lnTo>
                  <a:lnTo>
                    <a:pt x="41" y="437"/>
                  </a:lnTo>
                  <a:lnTo>
                    <a:pt x="35" y="455"/>
                  </a:lnTo>
                  <a:lnTo>
                    <a:pt x="33" y="458"/>
                  </a:lnTo>
                  <a:lnTo>
                    <a:pt x="28" y="460"/>
                  </a:lnTo>
                  <a:lnTo>
                    <a:pt x="27" y="463"/>
                  </a:lnTo>
                  <a:lnTo>
                    <a:pt x="45" y="488"/>
                  </a:lnTo>
                  <a:lnTo>
                    <a:pt x="49" y="501"/>
                  </a:lnTo>
                  <a:lnTo>
                    <a:pt x="50" y="515"/>
                  </a:lnTo>
                  <a:lnTo>
                    <a:pt x="51" y="527"/>
                  </a:lnTo>
                  <a:lnTo>
                    <a:pt x="50" y="563"/>
                  </a:lnTo>
                  <a:lnTo>
                    <a:pt x="46" y="577"/>
                  </a:lnTo>
                  <a:lnTo>
                    <a:pt x="32" y="614"/>
                  </a:lnTo>
                  <a:lnTo>
                    <a:pt x="30" y="623"/>
                  </a:lnTo>
                  <a:lnTo>
                    <a:pt x="24" y="639"/>
                  </a:lnTo>
                  <a:lnTo>
                    <a:pt x="23" y="651"/>
                  </a:lnTo>
                  <a:lnTo>
                    <a:pt x="24" y="650"/>
                  </a:lnTo>
                  <a:lnTo>
                    <a:pt x="28" y="647"/>
                  </a:lnTo>
                  <a:lnTo>
                    <a:pt x="32" y="640"/>
                  </a:lnTo>
                  <a:lnTo>
                    <a:pt x="37" y="627"/>
                  </a:lnTo>
                  <a:lnTo>
                    <a:pt x="40" y="627"/>
                  </a:lnTo>
                  <a:lnTo>
                    <a:pt x="43" y="625"/>
                  </a:lnTo>
                  <a:lnTo>
                    <a:pt x="50" y="627"/>
                  </a:lnTo>
                  <a:lnTo>
                    <a:pt x="59" y="627"/>
                  </a:lnTo>
                  <a:lnTo>
                    <a:pt x="69" y="629"/>
                  </a:lnTo>
                  <a:lnTo>
                    <a:pt x="76" y="628"/>
                  </a:lnTo>
                  <a:lnTo>
                    <a:pt x="78" y="625"/>
                  </a:lnTo>
                  <a:lnTo>
                    <a:pt x="89" y="623"/>
                  </a:lnTo>
                  <a:lnTo>
                    <a:pt x="98" y="624"/>
                  </a:lnTo>
                  <a:lnTo>
                    <a:pt x="100" y="623"/>
                  </a:lnTo>
                  <a:lnTo>
                    <a:pt x="100" y="619"/>
                  </a:lnTo>
                  <a:lnTo>
                    <a:pt x="102" y="619"/>
                  </a:lnTo>
                  <a:lnTo>
                    <a:pt x="108" y="619"/>
                  </a:lnTo>
                  <a:lnTo>
                    <a:pt x="113" y="618"/>
                  </a:lnTo>
                  <a:lnTo>
                    <a:pt x="119" y="620"/>
                  </a:lnTo>
                  <a:lnTo>
                    <a:pt x="135" y="620"/>
                  </a:lnTo>
                  <a:lnTo>
                    <a:pt x="136" y="622"/>
                  </a:lnTo>
                  <a:lnTo>
                    <a:pt x="141" y="620"/>
                  </a:lnTo>
                  <a:lnTo>
                    <a:pt x="143" y="625"/>
                  </a:lnTo>
                  <a:lnTo>
                    <a:pt x="150" y="627"/>
                  </a:lnTo>
                  <a:lnTo>
                    <a:pt x="161" y="635"/>
                  </a:lnTo>
                  <a:lnTo>
                    <a:pt x="162" y="641"/>
                  </a:lnTo>
                  <a:lnTo>
                    <a:pt x="169" y="649"/>
                  </a:lnTo>
                  <a:lnTo>
                    <a:pt x="173" y="647"/>
                  </a:lnTo>
                  <a:lnTo>
                    <a:pt x="179" y="646"/>
                  </a:lnTo>
                  <a:lnTo>
                    <a:pt x="179" y="650"/>
                  </a:lnTo>
                  <a:lnTo>
                    <a:pt x="183" y="651"/>
                  </a:lnTo>
                  <a:lnTo>
                    <a:pt x="188" y="647"/>
                  </a:lnTo>
                  <a:lnTo>
                    <a:pt x="190" y="647"/>
                  </a:lnTo>
                  <a:lnTo>
                    <a:pt x="200" y="662"/>
                  </a:lnTo>
                  <a:lnTo>
                    <a:pt x="205" y="672"/>
                  </a:lnTo>
                  <a:lnTo>
                    <a:pt x="205" y="676"/>
                  </a:lnTo>
                  <a:lnTo>
                    <a:pt x="209" y="677"/>
                  </a:lnTo>
                  <a:lnTo>
                    <a:pt x="212" y="682"/>
                  </a:lnTo>
                  <a:lnTo>
                    <a:pt x="212" y="684"/>
                  </a:lnTo>
                  <a:lnTo>
                    <a:pt x="215" y="686"/>
                  </a:lnTo>
                  <a:lnTo>
                    <a:pt x="218" y="684"/>
                  </a:lnTo>
                  <a:lnTo>
                    <a:pt x="220" y="684"/>
                  </a:lnTo>
                  <a:lnTo>
                    <a:pt x="222" y="692"/>
                  </a:lnTo>
                  <a:lnTo>
                    <a:pt x="225" y="693"/>
                  </a:lnTo>
                  <a:lnTo>
                    <a:pt x="227" y="697"/>
                  </a:lnTo>
                  <a:lnTo>
                    <a:pt x="223" y="698"/>
                  </a:lnTo>
                  <a:lnTo>
                    <a:pt x="223" y="699"/>
                  </a:lnTo>
                  <a:lnTo>
                    <a:pt x="228" y="700"/>
                  </a:lnTo>
                  <a:lnTo>
                    <a:pt x="231" y="704"/>
                  </a:lnTo>
                  <a:lnTo>
                    <a:pt x="234" y="706"/>
                  </a:lnTo>
                  <a:lnTo>
                    <a:pt x="238" y="706"/>
                  </a:lnTo>
                  <a:lnTo>
                    <a:pt x="244" y="709"/>
                  </a:lnTo>
                  <a:lnTo>
                    <a:pt x="247" y="713"/>
                  </a:lnTo>
                  <a:lnTo>
                    <a:pt x="248" y="717"/>
                  </a:lnTo>
                  <a:lnTo>
                    <a:pt x="250" y="719"/>
                  </a:lnTo>
                  <a:lnTo>
                    <a:pt x="256" y="721"/>
                  </a:lnTo>
                  <a:lnTo>
                    <a:pt x="263" y="727"/>
                  </a:lnTo>
                  <a:lnTo>
                    <a:pt x="286" y="705"/>
                  </a:lnTo>
                  <a:lnTo>
                    <a:pt x="293" y="687"/>
                  </a:lnTo>
                  <a:lnTo>
                    <a:pt x="297" y="676"/>
                  </a:lnTo>
                  <a:lnTo>
                    <a:pt x="302" y="665"/>
                  </a:lnTo>
                  <a:lnTo>
                    <a:pt x="304" y="663"/>
                  </a:lnTo>
                  <a:lnTo>
                    <a:pt x="307" y="665"/>
                  </a:lnTo>
                  <a:lnTo>
                    <a:pt x="308" y="666"/>
                  </a:lnTo>
                  <a:lnTo>
                    <a:pt x="314" y="667"/>
                  </a:lnTo>
                  <a:lnTo>
                    <a:pt x="318" y="670"/>
                  </a:lnTo>
                  <a:lnTo>
                    <a:pt x="323" y="683"/>
                  </a:lnTo>
                  <a:lnTo>
                    <a:pt x="333" y="701"/>
                  </a:lnTo>
                  <a:lnTo>
                    <a:pt x="347" y="705"/>
                  </a:lnTo>
                  <a:lnTo>
                    <a:pt x="350" y="705"/>
                  </a:lnTo>
                  <a:lnTo>
                    <a:pt x="376" y="683"/>
                  </a:lnTo>
                  <a:lnTo>
                    <a:pt x="463" y="686"/>
                  </a:lnTo>
                  <a:lnTo>
                    <a:pt x="534" y="687"/>
                  </a:lnTo>
                  <a:lnTo>
                    <a:pt x="607" y="688"/>
                  </a:lnTo>
                  <a:lnTo>
                    <a:pt x="625" y="688"/>
                  </a:lnTo>
                  <a:lnTo>
                    <a:pt x="637" y="641"/>
                  </a:lnTo>
                  <a:lnTo>
                    <a:pt x="615" y="634"/>
                  </a:lnTo>
                  <a:lnTo>
                    <a:pt x="609" y="577"/>
                  </a:lnTo>
                  <a:lnTo>
                    <a:pt x="604" y="522"/>
                  </a:lnTo>
                  <a:lnTo>
                    <a:pt x="598" y="468"/>
                  </a:lnTo>
                  <a:lnTo>
                    <a:pt x="592" y="414"/>
                  </a:lnTo>
                  <a:lnTo>
                    <a:pt x="587" y="359"/>
                  </a:lnTo>
                  <a:lnTo>
                    <a:pt x="581" y="302"/>
                  </a:lnTo>
                  <a:lnTo>
                    <a:pt x="576" y="247"/>
                  </a:lnTo>
                  <a:lnTo>
                    <a:pt x="570" y="191"/>
                  </a:lnTo>
                  <a:lnTo>
                    <a:pt x="564" y="133"/>
                  </a:lnTo>
                  <a:lnTo>
                    <a:pt x="661" y="133"/>
                  </a:lnTo>
                  <a:lnTo>
                    <a:pt x="584" y="82"/>
                  </a:lnTo>
                  <a:lnTo>
                    <a:pt x="525" y="44"/>
                  </a:lnTo>
                  <a:lnTo>
                    <a:pt x="458" y="0"/>
                  </a:lnTo>
                  <a:lnTo>
                    <a:pt x="458" y="70"/>
                  </a:lnTo>
                  <a:lnTo>
                    <a:pt x="405" y="70"/>
                  </a:lnTo>
                  <a:lnTo>
                    <a:pt x="352" y="70"/>
                  </a:lnTo>
                  <a:lnTo>
                    <a:pt x="299" y="70"/>
                  </a:lnTo>
                  <a:lnTo>
                    <a:pt x="281" y="70"/>
                  </a:lnTo>
                  <a:lnTo>
                    <a:pt x="281" y="128"/>
                  </a:lnTo>
                  <a:lnTo>
                    <a:pt x="281" y="187"/>
                  </a:lnTo>
                  <a:lnTo>
                    <a:pt x="281" y="222"/>
                  </a:lnTo>
                  <a:lnTo>
                    <a:pt x="261" y="229"/>
                  </a:lnTo>
                  <a:lnTo>
                    <a:pt x="244" y="231"/>
                  </a:lnTo>
                  <a:lnTo>
                    <a:pt x="228" y="236"/>
                  </a:lnTo>
                  <a:lnTo>
                    <a:pt x="223" y="240"/>
                  </a:lnTo>
                  <a:lnTo>
                    <a:pt x="220" y="245"/>
                  </a:lnTo>
                  <a:lnTo>
                    <a:pt x="215" y="256"/>
                  </a:lnTo>
                  <a:lnTo>
                    <a:pt x="213" y="264"/>
                  </a:lnTo>
                  <a:lnTo>
                    <a:pt x="215" y="290"/>
                  </a:lnTo>
                  <a:lnTo>
                    <a:pt x="218" y="310"/>
                  </a:lnTo>
                  <a:lnTo>
                    <a:pt x="218" y="331"/>
                  </a:lnTo>
                  <a:lnTo>
                    <a:pt x="222" y="347"/>
                  </a:lnTo>
                  <a:lnTo>
                    <a:pt x="196" y="34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6" name="Morocco"/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gray">
            <a:xfrm>
              <a:off x="4121316" y="3646673"/>
              <a:ext cx="306619" cy="245763"/>
            </a:xfrm>
            <a:custGeom>
              <a:avLst/>
              <a:gdLst/>
              <a:ahLst/>
              <a:cxnLst>
                <a:cxn ang="0">
                  <a:pos x="204" y="526"/>
                </a:cxn>
                <a:cxn ang="0">
                  <a:pos x="79" y="526"/>
                </a:cxn>
                <a:cxn ang="0">
                  <a:pos x="0" y="526"/>
                </a:cxn>
                <a:cxn ang="0">
                  <a:pos x="27" y="511"/>
                </a:cxn>
                <a:cxn ang="0">
                  <a:pos x="86" y="487"/>
                </a:cxn>
                <a:cxn ang="0">
                  <a:pos x="112" y="464"/>
                </a:cxn>
                <a:cxn ang="0">
                  <a:pos x="144" y="439"/>
                </a:cxn>
                <a:cxn ang="0">
                  <a:pos x="166" y="411"/>
                </a:cxn>
                <a:cxn ang="0">
                  <a:pos x="182" y="362"/>
                </a:cxn>
                <a:cxn ang="0">
                  <a:pos x="175" y="305"/>
                </a:cxn>
                <a:cxn ang="0">
                  <a:pos x="194" y="263"/>
                </a:cxn>
                <a:cxn ang="0">
                  <a:pos x="214" y="235"/>
                </a:cxn>
                <a:cxn ang="0">
                  <a:pos x="244" y="184"/>
                </a:cxn>
                <a:cxn ang="0">
                  <a:pos x="299" y="155"/>
                </a:cxn>
                <a:cxn ang="0">
                  <a:pos x="348" y="120"/>
                </a:cxn>
                <a:cxn ang="0">
                  <a:pos x="376" y="56"/>
                </a:cxn>
                <a:cxn ang="0">
                  <a:pos x="419" y="0"/>
                </a:cxn>
                <a:cxn ang="0">
                  <a:pos x="465" y="48"/>
                </a:cxn>
                <a:cxn ang="0">
                  <a:pos x="507" y="45"/>
                </a:cxn>
                <a:cxn ang="0">
                  <a:pos x="548" y="40"/>
                </a:cxn>
                <a:cxn ang="0">
                  <a:pos x="574" y="53"/>
                </a:cxn>
                <a:cxn ang="0">
                  <a:pos x="604" y="56"/>
                </a:cxn>
                <a:cxn ang="0">
                  <a:pos x="612" y="71"/>
                </a:cxn>
                <a:cxn ang="0">
                  <a:pos x="621" y="79"/>
                </a:cxn>
                <a:cxn ang="0">
                  <a:pos x="621" y="85"/>
                </a:cxn>
                <a:cxn ang="0">
                  <a:pos x="622" y="104"/>
                </a:cxn>
                <a:cxn ang="0">
                  <a:pos x="626" y="131"/>
                </a:cxn>
                <a:cxn ang="0">
                  <a:pos x="631" y="152"/>
                </a:cxn>
                <a:cxn ang="0">
                  <a:pos x="629" y="166"/>
                </a:cxn>
                <a:cxn ang="0">
                  <a:pos x="633" y="186"/>
                </a:cxn>
                <a:cxn ang="0">
                  <a:pos x="649" y="215"/>
                </a:cxn>
                <a:cxn ang="0">
                  <a:pos x="651" y="224"/>
                </a:cxn>
                <a:cxn ang="0">
                  <a:pos x="649" y="242"/>
                </a:cxn>
                <a:cxn ang="0">
                  <a:pos x="639" y="242"/>
                </a:cxn>
                <a:cxn ang="0">
                  <a:pos x="611" y="242"/>
                </a:cxn>
                <a:cxn ang="0">
                  <a:pos x="567" y="247"/>
                </a:cxn>
                <a:cxn ang="0">
                  <a:pos x="553" y="247"/>
                </a:cxn>
                <a:cxn ang="0">
                  <a:pos x="551" y="263"/>
                </a:cxn>
                <a:cxn ang="0">
                  <a:pos x="527" y="273"/>
                </a:cxn>
                <a:cxn ang="0">
                  <a:pos x="508" y="273"/>
                </a:cxn>
                <a:cxn ang="0">
                  <a:pos x="502" y="288"/>
                </a:cxn>
                <a:cxn ang="0">
                  <a:pos x="509" y="293"/>
                </a:cxn>
                <a:cxn ang="0">
                  <a:pos x="504" y="309"/>
                </a:cxn>
                <a:cxn ang="0">
                  <a:pos x="510" y="310"/>
                </a:cxn>
                <a:cxn ang="0">
                  <a:pos x="514" y="321"/>
                </a:cxn>
                <a:cxn ang="0">
                  <a:pos x="461" y="342"/>
                </a:cxn>
                <a:cxn ang="0">
                  <a:pos x="433" y="363"/>
                </a:cxn>
                <a:cxn ang="0">
                  <a:pos x="424" y="376"/>
                </a:cxn>
                <a:cxn ang="0">
                  <a:pos x="385" y="391"/>
                </a:cxn>
                <a:cxn ang="0">
                  <a:pos x="354" y="392"/>
                </a:cxn>
                <a:cxn ang="0">
                  <a:pos x="350" y="406"/>
                </a:cxn>
                <a:cxn ang="0">
                  <a:pos x="330" y="405"/>
                </a:cxn>
                <a:cxn ang="0">
                  <a:pos x="312" y="413"/>
                </a:cxn>
                <a:cxn ang="0">
                  <a:pos x="287" y="423"/>
                </a:cxn>
              </a:cxnLst>
              <a:rect l="0" t="0" r="r" b="b"/>
              <a:pathLst>
                <a:path w="656" h="526">
                  <a:moveTo>
                    <a:pt x="240" y="457"/>
                  </a:moveTo>
                  <a:lnTo>
                    <a:pt x="240" y="526"/>
                  </a:lnTo>
                  <a:lnTo>
                    <a:pt x="204" y="526"/>
                  </a:lnTo>
                  <a:lnTo>
                    <a:pt x="161" y="526"/>
                  </a:lnTo>
                  <a:lnTo>
                    <a:pt x="120" y="526"/>
                  </a:lnTo>
                  <a:lnTo>
                    <a:pt x="79" y="526"/>
                  </a:lnTo>
                  <a:lnTo>
                    <a:pt x="43" y="526"/>
                  </a:lnTo>
                  <a:lnTo>
                    <a:pt x="9" y="526"/>
                  </a:lnTo>
                  <a:lnTo>
                    <a:pt x="0" y="526"/>
                  </a:lnTo>
                  <a:lnTo>
                    <a:pt x="5" y="515"/>
                  </a:lnTo>
                  <a:lnTo>
                    <a:pt x="14" y="511"/>
                  </a:lnTo>
                  <a:lnTo>
                    <a:pt x="27" y="511"/>
                  </a:lnTo>
                  <a:lnTo>
                    <a:pt x="46" y="507"/>
                  </a:lnTo>
                  <a:lnTo>
                    <a:pt x="77" y="495"/>
                  </a:lnTo>
                  <a:lnTo>
                    <a:pt x="86" y="487"/>
                  </a:lnTo>
                  <a:lnTo>
                    <a:pt x="97" y="475"/>
                  </a:lnTo>
                  <a:lnTo>
                    <a:pt x="101" y="472"/>
                  </a:lnTo>
                  <a:lnTo>
                    <a:pt x="112" y="464"/>
                  </a:lnTo>
                  <a:lnTo>
                    <a:pt x="129" y="456"/>
                  </a:lnTo>
                  <a:lnTo>
                    <a:pt x="140" y="445"/>
                  </a:lnTo>
                  <a:lnTo>
                    <a:pt x="144" y="439"/>
                  </a:lnTo>
                  <a:lnTo>
                    <a:pt x="149" y="437"/>
                  </a:lnTo>
                  <a:lnTo>
                    <a:pt x="154" y="433"/>
                  </a:lnTo>
                  <a:lnTo>
                    <a:pt x="166" y="411"/>
                  </a:lnTo>
                  <a:lnTo>
                    <a:pt x="182" y="384"/>
                  </a:lnTo>
                  <a:lnTo>
                    <a:pt x="183" y="379"/>
                  </a:lnTo>
                  <a:lnTo>
                    <a:pt x="182" y="362"/>
                  </a:lnTo>
                  <a:lnTo>
                    <a:pt x="172" y="343"/>
                  </a:lnTo>
                  <a:lnTo>
                    <a:pt x="175" y="332"/>
                  </a:lnTo>
                  <a:lnTo>
                    <a:pt x="175" y="305"/>
                  </a:lnTo>
                  <a:lnTo>
                    <a:pt x="177" y="297"/>
                  </a:lnTo>
                  <a:lnTo>
                    <a:pt x="194" y="267"/>
                  </a:lnTo>
                  <a:lnTo>
                    <a:pt x="194" y="263"/>
                  </a:lnTo>
                  <a:lnTo>
                    <a:pt x="207" y="256"/>
                  </a:lnTo>
                  <a:lnTo>
                    <a:pt x="204" y="258"/>
                  </a:lnTo>
                  <a:lnTo>
                    <a:pt x="214" y="235"/>
                  </a:lnTo>
                  <a:lnTo>
                    <a:pt x="213" y="224"/>
                  </a:lnTo>
                  <a:lnTo>
                    <a:pt x="235" y="198"/>
                  </a:lnTo>
                  <a:lnTo>
                    <a:pt x="244" y="184"/>
                  </a:lnTo>
                  <a:lnTo>
                    <a:pt x="253" y="175"/>
                  </a:lnTo>
                  <a:lnTo>
                    <a:pt x="271" y="166"/>
                  </a:lnTo>
                  <a:lnTo>
                    <a:pt x="299" y="155"/>
                  </a:lnTo>
                  <a:lnTo>
                    <a:pt x="314" y="148"/>
                  </a:lnTo>
                  <a:lnTo>
                    <a:pt x="337" y="132"/>
                  </a:lnTo>
                  <a:lnTo>
                    <a:pt x="348" y="120"/>
                  </a:lnTo>
                  <a:lnTo>
                    <a:pt x="354" y="102"/>
                  </a:lnTo>
                  <a:lnTo>
                    <a:pt x="365" y="89"/>
                  </a:lnTo>
                  <a:lnTo>
                    <a:pt x="376" y="56"/>
                  </a:lnTo>
                  <a:lnTo>
                    <a:pt x="392" y="12"/>
                  </a:lnTo>
                  <a:lnTo>
                    <a:pt x="398" y="7"/>
                  </a:lnTo>
                  <a:lnTo>
                    <a:pt x="419" y="0"/>
                  </a:lnTo>
                  <a:lnTo>
                    <a:pt x="429" y="18"/>
                  </a:lnTo>
                  <a:lnTo>
                    <a:pt x="443" y="32"/>
                  </a:lnTo>
                  <a:lnTo>
                    <a:pt x="465" y="48"/>
                  </a:lnTo>
                  <a:lnTo>
                    <a:pt x="475" y="51"/>
                  </a:lnTo>
                  <a:lnTo>
                    <a:pt x="499" y="42"/>
                  </a:lnTo>
                  <a:lnTo>
                    <a:pt x="507" y="45"/>
                  </a:lnTo>
                  <a:lnTo>
                    <a:pt x="525" y="45"/>
                  </a:lnTo>
                  <a:lnTo>
                    <a:pt x="541" y="43"/>
                  </a:lnTo>
                  <a:lnTo>
                    <a:pt x="548" y="40"/>
                  </a:lnTo>
                  <a:lnTo>
                    <a:pt x="557" y="45"/>
                  </a:lnTo>
                  <a:lnTo>
                    <a:pt x="564" y="51"/>
                  </a:lnTo>
                  <a:lnTo>
                    <a:pt x="574" y="53"/>
                  </a:lnTo>
                  <a:lnTo>
                    <a:pt x="580" y="53"/>
                  </a:lnTo>
                  <a:lnTo>
                    <a:pt x="585" y="52"/>
                  </a:lnTo>
                  <a:lnTo>
                    <a:pt x="604" y="56"/>
                  </a:lnTo>
                  <a:lnTo>
                    <a:pt x="604" y="61"/>
                  </a:lnTo>
                  <a:lnTo>
                    <a:pt x="606" y="66"/>
                  </a:lnTo>
                  <a:lnTo>
                    <a:pt x="612" y="71"/>
                  </a:lnTo>
                  <a:lnTo>
                    <a:pt x="613" y="73"/>
                  </a:lnTo>
                  <a:lnTo>
                    <a:pt x="617" y="78"/>
                  </a:lnTo>
                  <a:lnTo>
                    <a:pt x="621" y="79"/>
                  </a:lnTo>
                  <a:lnTo>
                    <a:pt x="623" y="83"/>
                  </a:lnTo>
                  <a:lnTo>
                    <a:pt x="622" y="85"/>
                  </a:lnTo>
                  <a:lnTo>
                    <a:pt x="621" y="85"/>
                  </a:lnTo>
                  <a:lnTo>
                    <a:pt x="620" y="88"/>
                  </a:lnTo>
                  <a:lnTo>
                    <a:pt x="626" y="96"/>
                  </a:lnTo>
                  <a:lnTo>
                    <a:pt x="622" y="104"/>
                  </a:lnTo>
                  <a:lnTo>
                    <a:pt x="624" y="111"/>
                  </a:lnTo>
                  <a:lnTo>
                    <a:pt x="627" y="122"/>
                  </a:lnTo>
                  <a:lnTo>
                    <a:pt x="626" y="131"/>
                  </a:lnTo>
                  <a:lnTo>
                    <a:pt x="626" y="141"/>
                  </a:lnTo>
                  <a:lnTo>
                    <a:pt x="623" y="144"/>
                  </a:lnTo>
                  <a:lnTo>
                    <a:pt x="631" y="152"/>
                  </a:lnTo>
                  <a:lnTo>
                    <a:pt x="631" y="156"/>
                  </a:lnTo>
                  <a:lnTo>
                    <a:pt x="631" y="160"/>
                  </a:lnTo>
                  <a:lnTo>
                    <a:pt x="629" y="166"/>
                  </a:lnTo>
                  <a:lnTo>
                    <a:pt x="628" y="171"/>
                  </a:lnTo>
                  <a:lnTo>
                    <a:pt x="631" y="179"/>
                  </a:lnTo>
                  <a:lnTo>
                    <a:pt x="633" y="186"/>
                  </a:lnTo>
                  <a:lnTo>
                    <a:pt x="633" y="192"/>
                  </a:lnTo>
                  <a:lnTo>
                    <a:pt x="640" y="207"/>
                  </a:lnTo>
                  <a:lnTo>
                    <a:pt x="649" y="215"/>
                  </a:lnTo>
                  <a:lnTo>
                    <a:pt x="656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8" y="231"/>
                  </a:lnTo>
                  <a:lnTo>
                    <a:pt x="647" y="238"/>
                  </a:lnTo>
                  <a:lnTo>
                    <a:pt x="649" y="242"/>
                  </a:lnTo>
                  <a:lnTo>
                    <a:pt x="649" y="245"/>
                  </a:lnTo>
                  <a:lnTo>
                    <a:pt x="647" y="246"/>
                  </a:lnTo>
                  <a:lnTo>
                    <a:pt x="639" y="242"/>
                  </a:lnTo>
                  <a:lnTo>
                    <a:pt x="627" y="242"/>
                  </a:lnTo>
                  <a:lnTo>
                    <a:pt x="616" y="241"/>
                  </a:lnTo>
                  <a:lnTo>
                    <a:pt x="611" y="242"/>
                  </a:lnTo>
                  <a:lnTo>
                    <a:pt x="580" y="242"/>
                  </a:lnTo>
                  <a:lnTo>
                    <a:pt x="570" y="245"/>
                  </a:lnTo>
                  <a:lnTo>
                    <a:pt x="567" y="247"/>
                  </a:lnTo>
                  <a:lnTo>
                    <a:pt x="563" y="249"/>
                  </a:lnTo>
                  <a:lnTo>
                    <a:pt x="556" y="246"/>
                  </a:lnTo>
                  <a:lnTo>
                    <a:pt x="553" y="247"/>
                  </a:lnTo>
                  <a:lnTo>
                    <a:pt x="551" y="252"/>
                  </a:lnTo>
                  <a:lnTo>
                    <a:pt x="552" y="257"/>
                  </a:lnTo>
                  <a:lnTo>
                    <a:pt x="551" y="263"/>
                  </a:lnTo>
                  <a:lnTo>
                    <a:pt x="548" y="266"/>
                  </a:lnTo>
                  <a:lnTo>
                    <a:pt x="535" y="272"/>
                  </a:lnTo>
                  <a:lnTo>
                    <a:pt x="527" y="273"/>
                  </a:lnTo>
                  <a:lnTo>
                    <a:pt x="520" y="274"/>
                  </a:lnTo>
                  <a:lnTo>
                    <a:pt x="513" y="273"/>
                  </a:lnTo>
                  <a:lnTo>
                    <a:pt x="508" y="273"/>
                  </a:lnTo>
                  <a:lnTo>
                    <a:pt x="503" y="277"/>
                  </a:lnTo>
                  <a:lnTo>
                    <a:pt x="502" y="282"/>
                  </a:lnTo>
                  <a:lnTo>
                    <a:pt x="502" y="288"/>
                  </a:lnTo>
                  <a:lnTo>
                    <a:pt x="503" y="290"/>
                  </a:lnTo>
                  <a:lnTo>
                    <a:pt x="508" y="290"/>
                  </a:lnTo>
                  <a:lnTo>
                    <a:pt x="509" y="293"/>
                  </a:lnTo>
                  <a:lnTo>
                    <a:pt x="504" y="298"/>
                  </a:lnTo>
                  <a:lnTo>
                    <a:pt x="503" y="309"/>
                  </a:lnTo>
                  <a:lnTo>
                    <a:pt x="504" y="309"/>
                  </a:lnTo>
                  <a:lnTo>
                    <a:pt x="507" y="308"/>
                  </a:lnTo>
                  <a:lnTo>
                    <a:pt x="509" y="308"/>
                  </a:lnTo>
                  <a:lnTo>
                    <a:pt x="510" y="310"/>
                  </a:lnTo>
                  <a:lnTo>
                    <a:pt x="515" y="314"/>
                  </a:lnTo>
                  <a:lnTo>
                    <a:pt x="516" y="317"/>
                  </a:lnTo>
                  <a:lnTo>
                    <a:pt x="514" y="321"/>
                  </a:lnTo>
                  <a:lnTo>
                    <a:pt x="493" y="325"/>
                  </a:lnTo>
                  <a:lnTo>
                    <a:pt x="467" y="342"/>
                  </a:lnTo>
                  <a:lnTo>
                    <a:pt x="461" y="342"/>
                  </a:lnTo>
                  <a:lnTo>
                    <a:pt x="446" y="348"/>
                  </a:lnTo>
                  <a:lnTo>
                    <a:pt x="436" y="355"/>
                  </a:lnTo>
                  <a:lnTo>
                    <a:pt x="433" y="363"/>
                  </a:lnTo>
                  <a:lnTo>
                    <a:pt x="433" y="365"/>
                  </a:lnTo>
                  <a:lnTo>
                    <a:pt x="430" y="371"/>
                  </a:lnTo>
                  <a:lnTo>
                    <a:pt x="424" y="376"/>
                  </a:lnTo>
                  <a:lnTo>
                    <a:pt x="418" y="381"/>
                  </a:lnTo>
                  <a:lnTo>
                    <a:pt x="401" y="389"/>
                  </a:lnTo>
                  <a:lnTo>
                    <a:pt x="385" y="391"/>
                  </a:lnTo>
                  <a:lnTo>
                    <a:pt x="376" y="391"/>
                  </a:lnTo>
                  <a:lnTo>
                    <a:pt x="371" y="394"/>
                  </a:lnTo>
                  <a:lnTo>
                    <a:pt x="354" y="392"/>
                  </a:lnTo>
                  <a:lnTo>
                    <a:pt x="353" y="396"/>
                  </a:lnTo>
                  <a:lnTo>
                    <a:pt x="353" y="405"/>
                  </a:lnTo>
                  <a:lnTo>
                    <a:pt x="350" y="406"/>
                  </a:lnTo>
                  <a:lnTo>
                    <a:pt x="342" y="406"/>
                  </a:lnTo>
                  <a:lnTo>
                    <a:pt x="337" y="403"/>
                  </a:lnTo>
                  <a:lnTo>
                    <a:pt x="330" y="405"/>
                  </a:lnTo>
                  <a:lnTo>
                    <a:pt x="323" y="403"/>
                  </a:lnTo>
                  <a:lnTo>
                    <a:pt x="319" y="407"/>
                  </a:lnTo>
                  <a:lnTo>
                    <a:pt x="312" y="413"/>
                  </a:lnTo>
                  <a:lnTo>
                    <a:pt x="306" y="417"/>
                  </a:lnTo>
                  <a:lnTo>
                    <a:pt x="299" y="423"/>
                  </a:lnTo>
                  <a:lnTo>
                    <a:pt x="287" y="423"/>
                  </a:lnTo>
                  <a:lnTo>
                    <a:pt x="266" y="437"/>
                  </a:lnTo>
                  <a:lnTo>
                    <a:pt x="240" y="45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7" name="Somalia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gray">
            <a:xfrm>
              <a:off x="5506951" y="4323107"/>
              <a:ext cx="262147" cy="346409"/>
            </a:xfrm>
            <a:custGeom>
              <a:avLst/>
              <a:gdLst/>
              <a:ahLst/>
              <a:cxnLst>
                <a:cxn ang="0">
                  <a:pos x="6" y="708"/>
                </a:cxn>
                <a:cxn ang="0">
                  <a:pos x="0" y="604"/>
                </a:cxn>
                <a:cxn ang="0">
                  <a:pos x="3" y="496"/>
                </a:cxn>
                <a:cxn ang="0">
                  <a:pos x="48" y="437"/>
                </a:cxn>
                <a:cxn ang="0">
                  <a:pos x="102" y="414"/>
                </a:cxn>
                <a:cxn ang="0">
                  <a:pos x="148" y="384"/>
                </a:cxn>
                <a:cxn ang="0">
                  <a:pos x="302" y="297"/>
                </a:cxn>
                <a:cxn ang="0">
                  <a:pos x="384" y="212"/>
                </a:cxn>
                <a:cxn ang="0">
                  <a:pos x="166" y="154"/>
                </a:cxn>
                <a:cxn ang="0">
                  <a:pos x="132" y="122"/>
                </a:cxn>
                <a:cxn ang="0">
                  <a:pos x="119" y="107"/>
                </a:cxn>
                <a:cxn ang="0">
                  <a:pos x="103" y="88"/>
                </a:cxn>
                <a:cxn ang="0">
                  <a:pos x="103" y="55"/>
                </a:cxn>
                <a:cxn ang="0">
                  <a:pos x="120" y="25"/>
                </a:cxn>
                <a:cxn ang="0">
                  <a:pos x="130" y="29"/>
                </a:cxn>
                <a:cxn ang="0">
                  <a:pos x="151" y="57"/>
                </a:cxn>
                <a:cxn ang="0">
                  <a:pos x="186" y="84"/>
                </a:cxn>
                <a:cxn ang="0">
                  <a:pos x="222" y="77"/>
                </a:cxn>
                <a:cxn ang="0">
                  <a:pos x="248" y="64"/>
                </a:cxn>
                <a:cxn ang="0">
                  <a:pos x="258" y="57"/>
                </a:cxn>
                <a:cxn ang="0">
                  <a:pos x="269" y="61"/>
                </a:cxn>
                <a:cxn ang="0">
                  <a:pos x="291" y="67"/>
                </a:cxn>
                <a:cxn ang="0">
                  <a:pos x="317" y="61"/>
                </a:cxn>
                <a:cxn ang="0">
                  <a:pos x="336" y="48"/>
                </a:cxn>
                <a:cxn ang="0">
                  <a:pos x="365" y="46"/>
                </a:cxn>
                <a:cxn ang="0">
                  <a:pos x="393" y="43"/>
                </a:cxn>
                <a:cxn ang="0">
                  <a:pos x="417" y="33"/>
                </a:cxn>
                <a:cxn ang="0">
                  <a:pos x="451" y="28"/>
                </a:cxn>
                <a:cxn ang="0">
                  <a:pos x="473" y="25"/>
                </a:cxn>
                <a:cxn ang="0">
                  <a:pos x="501" y="17"/>
                </a:cxn>
                <a:cxn ang="0">
                  <a:pos x="527" y="0"/>
                </a:cxn>
                <a:cxn ang="0">
                  <a:pos x="555" y="7"/>
                </a:cxn>
                <a:cxn ang="0">
                  <a:pos x="555" y="19"/>
                </a:cxn>
                <a:cxn ang="0">
                  <a:pos x="548" y="41"/>
                </a:cxn>
                <a:cxn ang="0">
                  <a:pos x="552" y="59"/>
                </a:cxn>
                <a:cxn ang="0">
                  <a:pos x="551" y="78"/>
                </a:cxn>
                <a:cxn ang="0">
                  <a:pos x="551" y="84"/>
                </a:cxn>
                <a:cxn ang="0">
                  <a:pos x="556" y="84"/>
                </a:cxn>
                <a:cxn ang="0">
                  <a:pos x="560" y="91"/>
                </a:cxn>
                <a:cxn ang="0">
                  <a:pos x="545" y="88"/>
                </a:cxn>
                <a:cxn ang="0">
                  <a:pos x="539" y="99"/>
                </a:cxn>
                <a:cxn ang="0">
                  <a:pos x="530" y="145"/>
                </a:cxn>
                <a:cxn ang="0">
                  <a:pos x="518" y="164"/>
                </a:cxn>
                <a:cxn ang="0">
                  <a:pos x="497" y="202"/>
                </a:cxn>
                <a:cxn ang="0">
                  <a:pos x="485" y="215"/>
                </a:cxn>
                <a:cxn ang="0">
                  <a:pos x="479" y="237"/>
                </a:cxn>
                <a:cxn ang="0">
                  <a:pos x="444" y="303"/>
                </a:cxn>
                <a:cxn ang="0">
                  <a:pos x="422" y="351"/>
                </a:cxn>
                <a:cxn ang="0">
                  <a:pos x="414" y="358"/>
                </a:cxn>
                <a:cxn ang="0">
                  <a:pos x="389" y="389"/>
                </a:cxn>
                <a:cxn ang="0">
                  <a:pos x="382" y="405"/>
                </a:cxn>
                <a:cxn ang="0">
                  <a:pos x="363" y="432"/>
                </a:cxn>
                <a:cxn ang="0">
                  <a:pos x="334" y="461"/>
                </a:cxn>
                <a:cxn ang="0">
                  <a:pos x="297" y="492"/>
                </a:cxn>
                <a:cxn ang="0">
                  <a:pos x="277" y="520"/>
                </a:cxn>
                <a:cxn ang="0">
                  <a:pos x="243" y="545"/>
                </a:cxn>
                <a:cxn ang="0">
                  <a:pos x="216" y="554"/>
                </a:cxn>
                <a:cxn ang="0">
                  <a:pos x="120" y="640"/>
                </a:cxn>
                <a:cxn ang="0">
                  <a:pos x="91" y="663"/>
                </a:cxn>
                <a:cxn ang="0">
                  <a:pos x="87" y="665"/>
                </a:cxn>
                <a:cxn ang="0">
                  <a:pos x="83" y="674"/>
                </a:cxn>
                <a:cxn ang="0">
                  <a:pos x="61" y="705"/>
                </a:cxn>
                <a:cxn ang="0">
                  <a:pos x="32" y="739"/>
                </a:cxn>
              </a:cxnLst>
              <a:rect l="0" t="0" r="r" b="b"/>
              <a:pathLst>
                <a:path w="561" h="740">
                  <a:moveTo>
                    <a:pt x="30" y="740"/>
                  </a:moveTo>
                  <a:lnTo>
                    <a:pt x="29" y="737"/>
                  </a:lnTo>
                  <a:lnTo>
                    <a:pt x="6" y="708"/>
                  </a:lnTo>
                  <a:lnTo>
                    <a:pt x="0" y="700"/>
                  </a:lnTo>
                  <a:lnTo>
                    <a:pt x="0" y="657"/>
                  </a:lnTo>
                  <a:lnTo>
                    <a:pt x="0" y="604"/>
                  </a:lnTo>
                  <a:lnTo>
                    <a:pt x="0" y="551"/>
                  </a:lnTo>
                  <a:lnTo>
                    <a:pt x="0" y="498"/>
                  </a:lnTo>
                  <a:lnTo>
                    <a:pt x="3" y="496"/>
                  </a:lnTo>
                  <a:lnTo>
                    <a:pt x="25" y="474"/>
                  </a:lnTo>
                  <a:lnTo>
                    <a:pt x="46" y="442"/>
                  </a:lnTo>
                  <a:lnTo>
                    <a:pt x="48" y="437"/>
                  </a:lnTo>
                  <a:lnTo>
                    <a:pt x="51" y="433"/>
                  </a:lnTo>
                  <a:lnTo>
                    <a:pt x="66" y="426"/>
                  </a:lnTo>
                  <a:lnTo>
                    <a:pt x="102" y="414"/>
                  </a:lnTo>
                  <a:lnTo>
                    <a:pt x="114" y="401"/>
                  </a:lnTo>
                  <a:lnTo>
                    <a:pt x="127" y="393"/>
                  </a:lnTo>
                  <a:lnTo>
                    <a:pt x="148" y="384"/>
                  </a:lnTo>
                  <a:lnTo>
                    <a:pt x="157" y="379"/>
                  </a:lnTo>
                  <a:lnTo>
                    <a:pt x="221" y="379"/>
                  </a:lnTo>
                  <a:lnTo>
                    <a:pt x="302" y="297"/>
                  </a:lnTo>
                  <a:lnTo>
                    <a:pt x="373" y="227"/>
                  </a:lnTo>
                  <a:lnTo>
                    <a:pt x="383" y="215"/>
                  </a:lnTo>
                  <a:lnTo>
                    <a:pt x="384" y="212"/>
                  </a:lnTo>
                  <a:lnTo>
                    <a:pt x="331" y="213"/>
                  </a:lnTo>
                  <a:lnTo>
                    <a:pt x="244" y="181"/>
                  </a:lnTo>
                  <a:lnTo>
                    <a:pt x="166" y="154"/>
                  </a:lnTo>
                  <a:lnTo>
                    <a:pt x="159" y="147"/>
                  </a:lnTo>
                  <a:lnTo>
                    <a:pt x="140" y="132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4" y="110"/>
                  </a:lnTo>
                  <a:lnTo>
                    <a:pt x="119" y="107"/>
                  </a:lnTo>
                  <a:lnTo>
                    <a:pt x="113" y="100"/>
                  </a:lnTo>
                  <a:lnTo>
                    <a:pt x="110" y="95"/>
                  </a:lnTo>
                  <a:lnTo>
                    <a:pt x="103" y="88"/>
                  </a:lnTo>
                  <a:lnTo>
                    <a:pt x="98" y="65"/>
                  </a:lnTo>
                  <a:lnTo>
                    <a:pt x="99" y="60"/>
                  </a:lnTo>
                  <a:lnTo>
                    <a:pt x="103" y="55"/>
                  </a:lnTo>
                  <a:lnTo>
                    <a:pt x="105" y="49"/>
                  </a:lnTo>
                  <a:lnTo>
                    <a:pt x="115" y="37"/>
                  </a:lnTo>
                  <a:lnTo>
                    <a:pt x="120" y="25"/>
                  </a:lnTo>
                  <a:lnTo>
                    <a:pt x="123" y="23"/>
                  </a:lnTo>
                  <a:lnTo>
                    <a:pt x="125" y="27"/>
                  </a:lnTo>
                  <a:lnTo>
                    <a:pt x="130" y="29"/>
                  </a:lnTo>
                  <a:lnTo>
                    <a:pt x="135" y="38"/>
                  </a:lnTo>
                  <a:lnTo>
                    <a:pt x="140" y="41"/>
                  </a:lnTo>
                  <a:lnTo>
                    <a:pt x="151" y="57"/>
                  </a:lnTo>
                  <a:lnTo>
                    <a:pt x="167" y="73"/>
                  </a:lnTo>
                  <a:lnTo>
                    <a:pt x="179" y="82"/>
                  </a:lnTo>
                  <a:lnTo>
                    <a:pt x="186" y="84"/>
                  </a:lnTo>
                  <a:lnTo>
                    <a:pt x="193" y="82"/>
                  </a:lnTo>
                  <a:lnTo>
                    <a:pt x="215" y="83"/>
                  </a:lnTo>
                  <a:lnTo>
                    <a:pt x="222" y="77"/>
                  </a:lnTo>
                  <a:lnTo>
                    <a:pt x="231" y="72"/>
                  </a:lnTo>
                  <a:lnTo>
                    <a:pt x="238" y="70"/>
                  </a:lnTo>
                  <a:lnTo>
                    <a:pt x="248" y="64"/>
                  </a:lnTo>
                  <a:lnTo>
                    <a:pt x="253" y="62"/>
                  </a:lnTo>
                  <a:lnTo>
                    <a:pt x="255" y="60"/>
                  </a:lnTo>
                  <a:lnTo>
                    <a:pt x="258" y="57"/>
                  </a:lnTo>
                  <a:lnTo>
                    <a:pt x="260" y="57"/>
                  </a:lnTo>
                  <a:lnTo>
                    <a:pt x="265" y="61"/>
                  </a:lnTo>
                  <a:lnTo>
                    <a:pt x="269" y="61"/>
                  </a:lnTo>
                  <a:lnTo>
                    <a:pt x="271" y="62"/>
                  </a:lnTo>
                  <a:lnTo>
                    <a:pt x="283" y="61"/>
                  </a:lnTo>
                  <a:lnTo>
                    <a:pt x="291" y="67"/>
                  </a:lnTo>
                  <a:lnTo>
                    <a:pt x="302" y="67"/>
                  </a:lnTo>
                  <a:lnTo>
                    <a:pt x="312" y="65"/>
                  </a:lnTo>
                  <a:lnTo>
                    <a:pt x="317" y="61"/>
                  </a:lnTo>
                  <a:lnTo>
                    <a:pt x="322" y="56"/>
                  </a:lnTo>
                  <a:lnTo>
                    <a:pt x="331" y="54"/>
                  </a:lnTo>
                  <a:lnTo>
                    <a:pt x="336" y="48"/>
                  </a:lnTo>
                  <a:lnTo>
                    <a:pt x="342" y="44"/>
                  </a:lnTo>
                  <a:lnTo>
                    <a:pt x="353" y="41"/>
                  </a:lnTo>
                  <a:lnTo>
                    <a:pt x="365" y="46"/>
                  </a:lnTo>
                  <a:lnTo>
                    <a:pt x="372" y="45"/>
                  </a:lnTo>
                  <a:lnTo>
                    <a:pt x="382" y="44"/>
                  </a:lnTo>
                  <a:lnTo>
                    <a:pt x="393" y="43"/>
                  </a:lnTo>
                  <a:lnTo>
                    <a:pt x="398" y="41"/>
                  </a:lnTo>
                  <a:lnTo>
                    <a:pt x="411" y="33"/>
                  </a:lnTo>
                  <a:lnTo>
                    <a:pt x="417" y="33"/>
                  </a:lnTo>
                  <a:lnTo>
                    <a:pt x="430" y="37"/>
                  </a:lnTo>
                  <a:lnTo>
                    <a:pt x="447" y="29"/>
                  </a:lnTo>
                  <a:lnTo>
                    <a:pt x="451" y="28"/>
                  </a:lnTo>
                  <a:lnTo>
                    <a:pt x="458" y="29"/>
                  </a:lnTo>
                  <a:lnTo>
                    <a:pt x="462" y="24"/>
                  </a:lnTo>
                  <a:lnTo>
                    <a:pt x="473" y="25"/>
                  </a:lnTo>
                  <a:lnTo>
                    <a:pt x="481" y="24"/>
                  </a:lnTo>
                  <a:lnTo>
                    <a:pt x="496" y="21"/>
                  </a:lnTo>
                  <a:lnTo>
                    <a:pt x="501" y="17"/>
                  </a:lnTo>
                  <a:lnTo>
                    <a:pt x="514" y="12"/>
                  </a:lnTo>
                  <a:lnTo>
                    <a:pt x="518" y="2"/>
                  </a:lnTo>
                  <a:lnTo>
                    <a:pt x="527" y="0"/>
                  </a:lnTo>
                  <a:lnTo>
                    <a:pt x="535" y="0"/>
                  </a:lnTo>
                  <a:lnTo>
                    <a:pt x="546" y="7"/>
                  </a:lnTo>
                  <a:lnTo>
                    <a:pt x="555" y="7"/>
                  </a:lnTo>
                  <a:lnTo>
                    <a:pt x="556" y="8"/>
                  </a:lnTo>
                  <a:lnTo>
                    <a:pt x="555" y="14"/>
                  </a:lnTo>
                  <a:lnTo>
                    <a:pt x="555" y="19"/>
                  </a:lnTo>
                  <a:lnTo>
                    <a:pt x="549" y="27"/>
                  </a:lnTo>
                  <a:lnTo>
                    <a:pt x="548" y="33"/>
                  </a:lnTo>
                  <a:lnTo>
                    <a:pt x="548" y="41"/>
                  </a:lnTo>
                  <a:lnTo>
                    <a:pt x="554" y="46"/>
                  </a:lnTo>
                  <a:lnTo>
                    <a:pt x="551" y="52"/>
                  </a:lnTo>
                  <a:lnTo>
                    <a:pt x="552" y="59"/>
                  </a:lnTo>
                  <a:lnTo>
                    <a:pt x="551" y="66"/>
                  </a:lnTo>
                  <a:lnTo>
                    <a:pt x="552" y="75"/>
                  </a:lnTo>
                  <a:lnTo>
                    <a:pt x="551" y="78"/>
                  </a:lnTo>
                  <a:lnTo>
                    <a:pt x="544" y="83"/>
                  </a:lnTo>
                  <a:lnTo>
                    <a:pt x="545" y="86"/>
                  </a:lnTo>
                  <a:lnTo>
                    <a:pt x="551" y="84"/>
                  </a:lnTo>
                  <a:lnTo>
                    <a:pt x="552" y="82"/>
                  </a:lnTo>
                  <a:lnTo>
                    <a:pt x="554" y="82"/>
                  </a:lnTo>
                  <a:lnTo>
                    <a:pt x="556" y="84"/>
                  </a:lnTo>
                  <a:lnTo>
                    <a:pt x="561" y="86"/>
                  </a:lnTo>
                  <a:lnTo>
                    <a:pt x="561" y="89"/>
                  </a:lnTo>
                  <a:lnTo>
                    <a:pt x="560" y="91"/>
                  </a:lnTo>
                  <a:lnTo>
                    <a:pt x="559" y="91"/>
                  </a:lnTo>
                  <a:lnTo>
                    <a:pt x="552" y="88"/>
                  </a:lnTo>
                  <a:lnTo>
                    <a:pt x="545" y="88"/>
                  </a:lnTo>
                  <a:lnTo>
                    <a:pt x="540" y="91"/>
                  </a:lnTo>
                  <a:lnTo>
                    <a:pt x="539" y="92"/>
                  </a:lnTo>
                  <a:lnTo>
                    <a:pt x="539" y="99"/>
                  </a:lnTo>
                  <a:lnTo>
                    <a:pt x="533" y="125"/>
                  </a:lnTo>
                  <a:lnTo>
                    <a:pt x="533" y="141"/>
                  </a:lnTo>
                  <a:lnTo>
                    <a:pt x="530" y="145"/>
                  </a:lnTo>
                  <a:lnTo>
                    <a:pt x="528" y="156"/>
                  </a:lnTo>
                  <a:lnTo>
                    <a:pt x="524" y="159"/>
                  </a:lnTo>
                  <a:lnTo>
                    <a:pt x="518" y="164"/>
                  </a:lnTo>
                  <a:lnTo>
                    <a:pt x="511" y="181"/>
                  </a:lnTo>
                  <a:lnTo>
                    <a:pt x="502" y="190"/>
                  </a:lnTo>
                  <a:lnTo>
                    <a:pt x="497" y="202"/>
                  </a:lnTo>
                  <a:lnTo>
                    <a:pt x="497" y="204"/>
                  </a:lnTo>
                  <a:lnTo>
                    <a:pt x="492" y="207"/>
                  </a:lnTo>
                  <a:lnTo>
                    <a:pt x="485" y="215"/>
                  </a:lnTo>
                  <a:lnTo>
                    <a:pt x="482" y="220"/>
                  </a:lnTo>
                  <a:lnTo>
                    <a:pt x="480" y="226"/>
                  </a:lnTo>
                  <a:lnTo>
                    <a:pt x="479" y="237"/>
                  </a:lnTo>
                  <a:lnTo>
                    <a:pt x="462" y="271"/>
                  </a:lnTo>
                  <a:lnTo>
                    <a:pt x="447" y="296"/>
                  </a:lnTo>
                  <a:lnTo>
                    <a:pt x="444" y="303"/>
                  </a:lnTo>
                  <a:lnTo>
                    <a:pt x="438" y="325"/>
                  </a:lnTo>
                  <a:lnTo>
                    <a:pt x="431" y="344"/>
                  </a:lnTo>
                  <a:lnTo>
                    <a:pt x="422" y="351"/>
                  </a:lnTo>
                  <a:lnTo>
                    <a:pt x="419" y="353"/>
                  </a:lnTo>
                  <a:lnTo>
                    <a:pt x="416" y="357"/>
                  </a:lnTo>
                  <a:lnTo>
                    <a:pt x="414" y="358"/>
                  </a:lnTo>
                  <a:lnTo>
                    <a:pt x="409" y="363"/>
                  </a:lnTo>
                  <a:lnTo>
                    <a:pt x="394" y="378"/>
                  </a:lnTo>
                  <a:lnTo>
                    <a:pt x="389" y="389"/>
                  </a:lnTo>
                  <a:lnTo>
                    <a:pt x="389" y="390"/>
                  </a:lnTo>
                  <a:lnTo>
                    <a:pt x="388" y="395"/>
                  </a:lnTo>
                  <a:lnTo>
                    <a:pt x="382" y="405"/>
                  </a:lnTo>
                  <a:lnTo>
                    <a:pt x="373" y="420"/>
                  </a:lnTo>
                  <a:lnTo>
                    <a:pt x="362" y="432"/>
                  </a:lnTo>
                  <a:lnTo>
                    <a:pt x="363" y="432"/>
                  </a:lnTo>
                  <a:lnTo>
                    <a:pt x="352" y="442"/>
                  </a:lnTo>
                  <a:lnTo>
                    <a:pt x="340" y="453"/>
                  </a:lnTo>
                  <a:lnTo>
                    <a:pt x="334" y="461"/>
                  </a:lnTo>
                  <a:lnTo>
                    <a:pt x="323" y="474"/>
                  </a:lnTo>
                  <a:lnTo>
                    <a:pt x="306" y="486"/>
                  </a:lnTo>
                  <a:lnTo>
                    <a:pt x="297" y="492"/>
                  </a:lnTo>
                  <a:lnTo>
                    <a:pt x="297" y="495"/>
                  </a:lnTo>
                  <a:lnTo>
                    <a:pt x="290" y="506"/>
                  </a:lnTo>
                  <a:lnTo>
                    <a:pt x="277" y="520"/>
                  </a:lnTo>
                  <a:lnTo>
                    <a:pt x="264" y="532"/>
                  </a:lnTo>
                  <a:lnTo>
                    <a:pt x="249" y="541"/>
                  </a:lnTo>
                  <a:lnTo>
                    <a:pt x="243" y="545"/>
                  </a:lnTo>
                  <a:lnTo>
                    <a:pt x="231" y="549"/>
                  </a:lnTo>
                  <a:lnTo>
                    <a:pt x="223" y="550"/>
                  </a:lnTo>
                  <a:lnTo>
                    <a:pt x="216" y="554"/>
                  </a:lnTo>
                  <a:lnTo>
                    <a:pt x="193" y="572"/>
                  </a:lnTo>
                  <a:lnTo>
                    <a:pt x="139" y="620"/>
                  </a:lnTo>
                  <a:lnTo>
                    <a:pt x="120" y="640"/>
                  </a:lnTo>
                  <a:lnTo>
                    <a:pt x="113" y="648"/>
                  </a:lnTo>
                  <a:lnTo>
                    <a:pt x="103" y="659"/>
                  </a:lnTo>
                  <a:lnTo>
                    <a:pt x="91" y="663"/>
                  </a:lnTo>
                  <a:lnTo>
                    <a:pt x="87" y="660"/>
                  </a:lnTo>
                  <a:lnTo>
                    <a:pt x="84" y="665"/>
                  </a:lnTo>
                  <a:lnTo>
                    <a:pt x="87" y="665"/>
                  </a:lnTo>
                  <a:lnTo>
                    <a:pt x="88" y="669"/>
                  </a:lnTo>
                  <a:lnTo>
                    <a:pt x="87" y="672"/>
                  </a:lnTo>
                  <a:lnTo>
                    <a:pt x="83" y="674"/>
                  </a:lnTo>
                  <a:lnTo>
                    <a:pt x="81" y="681"/>
                  </a:lnTo>
                  <a:lnTo>
                    <a:pt x="75" y="691"/>
                  </a:lnTo>
                  <a:lnTo>
                    <a:pt x="61" y="705"/>
                  </a:lnTo>
                  <a:lnTo>
                    <a:pt x="50" y="718"/>
                  </a:lnTo>
                  <a:lnTo>
                    <a:pt x="37" y="730"/>
                  </a:lnTo>
                  <a:lnTo>
                    <a:pt x="32" y="739"/>
                  </a:lnTo>
                  <a:lnTo>
                    <a:pt x="30" y="74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8" name="Sudan"/>
            <p:cNvSpPr>
              <a:spLocks noChangeAspect="1"/>
            </p:cNvSpPr>
            <p:nvPr>
              <p:custDataLst>
                <p:tags r:id="rId18"/>
              </p:custDataLst>
            </p:nvPr>
          </p:nvSpPr>
          <p:spPr bwMode="gray">
            <a:xfrm>
              <a:off x="5015425" y="4023510"/>
              <a:ext cx="423649" cy="512591"/>
            </a:xfrm>
            <a:custGeom>
              <a:avLst/>
              <a:gdLst/>
              <a:ahLst/>
              <a:cxnLst>
                <a:cxn ang="0">
                  <a:pos x="118" y="375"/>
                </a:cxn>
                <a:cxn ang="0">
                  <a:pos x="72" y="426"/>
                </a:cxn>
                <a:cxn ang="0">
                  <a:pos x="55" y="449"/>
                </a:cxn>
                <a:cxn ang="0">
                  <a:pos x="23" y="508"/>
                </a:cxn>
                <a:cxn ang="0">
                  <a:pos x="14" y="527"/>
                </a:cxn>
                <a:cxn ang="0">
                  <a:pos x="7" y="564"/>
                </a:cxn>
                <a:cxn ang="0">
                  <a:pos x="3" y="596"/>
                </a:cxn>
                <a:cxn ang="0">
                  <a:pos x="28" y="623"/>
                </a:cxn>
                <a:cxn ang="0">
                  <a:pos x="51" y="667"/>
                </a:cxn>
                <a:cxn ang="0">
                  <a:pos x="55" y="703"/>
                </a:cxn>
                <a:cxn ang="0">
                  <a:pos x="88" y="777"/>
                </a:cxn>
                <a:cxn ang="0">
                  <a:pos x="109" y="817"/>
                </a:cxn>
                <a:cxn ang="0">
                  <a:pos x="161" y="840"/>
                </a:cxn>
                <a:cxn ang="0">
                  <a:pos x="179" y="869"/>
                </a:cxn>
                <a:cxn ang="0">
                  <a:pos x="229" y="914"/>
                </a:cxn>
                <a:cxn ang="0">
                  <a:pos x="256" y="950"/>
                </a:cxn>
                <a:cxn ang="0">
                  <a:pos x="303" y="993"/>
                </a:cxn>
                <a:cxn ang="0">
                  <a:pos x="329" y="1031"/>
                </a:cxn>
                <a:cxn ang="0">
                  <a:pos x="369" y="1055"/>
                </a:cxn>
                <a:cxn ang="0">
                  <a:pos x="426" y="1042"/>
                </a:cxn>
                <a:cxn ang="0">
                  <a:pos x="484" y="1091"/>
                </a:cxn>
                <a:cxn ang="0">
                  <a:pos x="517" y="1090"/>
                </a:cxn>
                <a:cxn ang="0">
                  <a:pos x="556" y="1097"/>
                </a:cxn>
                <a:cxn ang="0">
                  <a:pos x="616" y="1089"/>
                </a:cxn>
                <a:cxn ang="0">
                  <a:pos x="662" y="1071"/>
                </a:cxn>
                <a:cxn ang="0">
                  <a:pos x="731" y="1046"/>
                </a:cxn>
                <a:cxn ang="0">
                  <a:pos x="767" y="1011"/>
                </a:cxn>
                <a:cxn ang="0">
                  <a:pos x="727" y="988"/>
                </a:cxn>
                <a:cxn ang="0">
                  <a:pos x="702" y="930"/>
                </a:cxn>
                <a:cxn ang="0">
                  <a:pos x="665" y="891"/>
                </a:cxn>
                <a:cxn ang="0">
                  <a:pos x="629" y="874"/>
                </a:cxn>
                <a:cxn ang="0">
                  <a:pos x="614" y="855"/>
                </a:cxn>
                <a:cxn ang="0">
                  <a:pos x="652" y="834"/>
                </a:cxn>
                <a:cxn ang="0">
                  <a:pos x="672" y="763"/>
                </a:cxn>
                <a:cxn ang="0">
                  <a:pos x="676" y="719"/>
                </a:cxn>
                <a:cxn ang="0">
                  <a:pos x="697" y="697"/>
                </a:cxn>
                <a:cxn ang="0">
                  <a:pos x="723" y="651"/>
                </a:cxn>
                <a:cxn ang="0">
                  <a:pos x="783" y="582"/>
                </a:cxn>
                <a:cxn ang="0">
                  <a:pos x="798" y="473"/>
                </a:cxn>
                <a:cxn ang="0">
                  <a:pos x="821" y="387"/>
                </a:cxn>
                <a:cxn ang="0">
                  <a:pos x="842" y="348"/>
                </a:cxn>
                <a:cxn ang="0">
                  <a:pos x="885" y="323"/>
                </a:cxn>
                <a:cxn ang="0">
                  <a:pos x="904" y="284"/>
                </a:cxn>
                <a:cxn ang="0">
                  <a:pos x="887" y="270"/>
                </a:cxn>
                <a:cxn ang="0">
                  <a:pos x="852" y="252"/>
                </a:cxn>
                <a:cxn ang="0">
                  <a:pos x="837" y="157"/>
                </a:cxn>
                <a:cxn ang="0">
                  <a:pos x="821" y="94"/>
                </a:cxn>
                <a:cxn ang="0">
                  <a:pos x="798" y="44"/>
                </a:cxn>
                <a:cxn ang="0">
                  <a:pos x="749" y="0"/>
                </a:cxn>
                <a:cxn ang="0">
                  <a:pos x="672" y="53"/>
                </a:cxn>
                <a:cxn ang="0">
                  <a:pos x="522" y="65"/>
                </a:cxn>
                <a:cxn ang="0">
                  <a:pos x="519" y="53"/>
                </a:cxn>
                <a:cxn ang="0">
                  <a:pos x="379" y="65"/>
                </a:cxn>
                <a:cxn ang="0">
                  <a:pos x="170" y="65"/>
                </a:cxn>
                <a:cxn ang="0">
                  <a:pos x="118" y="210"/>
                </a:cxn>
              </a:cxnLst>
              <a:rect l="0" t="0" r="r" b="b"/>
              <a:pathLst>
                <a:path w="907" h="1097">
                  <a:moveTo>
                    <a:pt x="118" y="210"/>
                  </a:moveTo>
                  <a:lnTo>
                    <a:pt x="118" y="266"/>
                  </a:lnTo>
                  <a:lnTo>
                    <a:pt x="118" y="320"/>
                  </a:lnTo>
                  <a:lnTo>
                    <a:pt x="118" y="375"/>
                  </a:lnTo>
                  <a:lnTo>
                    <a:pt x="116" y="424"/>
                  </a:lnTo>
                  <a:lnTo>
                    <a:pt x="110" y="425"/>
                  </a:lnTo>
                  <a:lnTo>
                    <a:pt x="81" y="425"/>
                  </a:lnTo>
                  <a:lnTo>
                    <a:pt x="72" y="426"/>
                  </a:lnTo>
                  <a:lnTo>
                    <a:pt x="60" y="428"/>
                  </a:lnTo>
                  <a:lnTo>
                    <a:pt x="59" y="429"/>
                  </a:lnTo>
                  <a:lnTo>
                    <a:pt x="56" y="438"/>
                  </a:lnTo>
                  <a:lnTo>
                    <a:pt x="55" y="449"/>
                  </a:lnTo>
                  <a:lnTo>
                    <a:pt x="51" y="460"/>
                  </a:lnTo>
                  <a:lnTo>
                    <a:pt x="39" y="477"/>
                  </a:lnTo>
                  <a:lnTo>
                    <a:pt x="23" y="495"/>
                  </a:lnTo>
                  <a:lnTo>
                    <a:pt x="23" y="508"/>
                  </a:lnTo>
                  <a:lnTo>
                    <a:pt x="24" y="516"/>
                  </a:lnTo>
                  <a:lnTo>
                    <a:pt x="23" y="521"/>
                  </a:lnTo>
                  <a:lnTo>
                    <a:pt x="22" y="522"/>
                  </a:lnTo>
                  <a:lnTo>
                    <a:pt x="14" y="527"/>
                  </a:lnTo>
                  <a:lnTo>
                    <a:pt x="11" y="531"/>
                  </a:lnTo>
                  <a:lnTo>
                    <a:pt x="9" y="541"/>
                  </a:lnTo>
                  <a:lnTo>
                    <a:pt x="9" y="555"/>
                  </a:lnTo>
                  <a:lnTo>
                    <a:pt x="7" y="564"/>
                  </a:lnTo>
                  <a:lnTo>
                    <a:pt x="1" y="575"/>
                  </a:lnTo>
                  <a:lnTo>
                    <a:pt x="0" y="580"/>
                  </a:lnTo>
                  <a:lnTo>
                    <a:pt x="0" y="596"/>
                  </a:lnTo>
                  <a:lnTo>
                    <a:pt x="3" y="596"/>
                  </a:lnTo>
                  <a:lnTo>
                    <a:pt x="8" y="595"/>
                  </a:lnTo>
                  <a:lnTo>
                    <a:pt x="24" y="591"/>
                  </a:lnTo>
                  <a:lnTo>
                    <a:pt x="23" y="607"/>
                  </a:lnTo>
                  <a:lnTo>
                    <a:pt x="28" y="623"/>
                  </a:lnTo>
                  <a:lnTo>
                    <a:pt x="40" y="657"/>
                  </a:lnTo>
                  <a:lnTo>
                    <a:pt x="41" y="659"/>
                  </a:lnTo>
                  <a:lnTo>
                    <a:pt x="48" y="662"/>
                  </a:lnTo>
                  <a:lnTo>
                    <a:pt x="51" y="667"/>
                  </a:lnTo>
                  <a:lnTo>
                    <a:pt x="54" y="676"/>
                  </a:lnTo>
                  <a:lnTo>
                    <a:pt x="54" y="684"/>
                  </a:lnTo>
                  <a:lnTo>
                    <a:pt x="45" y="688"/>
                  </a:lnTo>
                  <a:lnTo>
                    <a:pt x="55" y="703"/>
                  </a:lnTo>
                  <a:lnTo>
                    <a:pt x="72" y="722"/>
                  </a:lnTo>
                  <a:lnTo>
                    <a:pt x="88" y="743"/>
                  </a:lnTo>
                  <a:lnTo>
                    <a:pt x="93" y="759"/>
                  </a:lnTo>
                  <a:lnTo>
                    <a:pt x="88" y="777"/>
                  </a:lnTo>
                  <a:lnTo>
                    <a:pt x="86" y="793"/>
                  </a:lnTo>
                  <a:lnTo>
                    <a:pt x="88" y="806"/>
                  </a:lnTo>
                  <a:lnTo>
                    <a:pt x="98" y="816"/>
                  </a:lnTo>
                  <a:lnTo>
                    <a:pt x="109" y="817"/>
                  </a:lnTo>
                  <a:lnTo>
                    <a:pt x="122" y="821"/>
                  </a:lnTo>
                  <a:lnTo>
                    <a:pt x="127" y="836"/>
                  </a:lnTo>
                  <a:lnTo>
                    <a:pt x="138" y="840"/>
                  </a:lnTo>
                  <a:lnTo>
                    <a:pt x="161" y="840"/>
                  </a:lnTo>
                  <a:lnTo>
                    <a:pt x="169" y="847"/>
                  </a:lnTo>
                  <a:lnTo>
                    <a:pt x="179" y="854"/>
                  </a:lnTo>
                  <a:lnTo>
                    <a:pt x="180" y="859"/>
                  </a:lnTo>
                  <a:lnTo>
                    <a:pt x="179" y="869"/>
                  </a:lnTo>
                  <a:lnTo>
                    <a:pt x="185" y="880"/>
                  </a:lnTo>
                  <a:lnTo>
                    <a:pt x="204" y="892"/>
                  </a:lnTo>
                  <a:lnTo>
                    <a:pt x="222" y="904"/>
                  </a:lnTo>
                  <a:lnTo>
                    <a:pt x="229" y="914"/>
                  </a:lnTo>
                  <a:lnTo>
                    <a:pt x="240" y="920"/>
                  </a:lnTo>
                  <a:lnTo>
                    <a:pt x="245" y="930"/>
                  </a:lnTo>
                  <a:lnTo>
                    <a:pt x="249" y="941"/>
                  </a:lnTo>
                  <a:lnTo>
                    <a:pt x="256" y="950"/>
                  </a:lnTo>
                  <a:lnTo>
                    <a:pt x="258" y="961"/>
                  </a:lnTo>
                  <a:lnTo>
                    <a:pt x="267" y="964"/>
                  </a:lnTo>
                  <a:lnTo>
                    <a:pt x="297" y="984"/>
                  </a:lnTo>
                  <a:lnTo>
                    <a:pt x="303" y="993"/>
                  </a:lnTo>
                  <a:lnTo>
                    <a:pt x="304" y="1004"/>
                  </a:lnTo>
                  <a:lnTo>
                    <a:pt x="310" y="1011"/>
                  </a:lnTo>
                  <a:lnTo>
                    <a:pt x="317" y="1022"/>
                  </a:lnTo>
                  <a:lnTo>
                    <a:pt x="329" y="1031"/>
                  </a:lnTo>
                  <a:lnTo>
                    <a:pt x="335" y="1039"/>
                  </a:lnTo>
                  <a:lnTo>
                    <a:pt x="340" y="1049"/>
                  </a:lnTo>
                  <a:lnTo>
                    <a:pt x="363" y="1058"/>
                  </a:lnTo>
                  <a:lnTo>
                    <a:pt x="369" y="1055"/>
                  </a:lnTo>
                  <a:lnTo>
                    <a:pt x="376" y="1047"/>
                  </a:lnTo>
                  <a:lnTo>
                    <a:pt x="403" y="1053"/>
                  </a:lnTo>
                  <a:lnTo>
                    <a:pt x="414" y="1052"/>
                  </a:lnTo>
                  <a:lnTo>
                    <a:pt x="426" y="1042"/>
                  </a:lnTo>
                  <a:lnTo>
                    <a:pt x="437" y="1048"/>
                  </a:lnTo>
                  <a:lnTo>
                    <a:pt x="461" y="1074"/>
                  </a:lnTo>
                  <a:lnTo>
                    <a:pt x="475" y="1082"/>
                  </a:lnTo>
                  <a:lnTo>
                    <a:pt x="484" y="1091"/>
                  </a:lnTo>
                  <a:lnTo>
                    <a:pt x="490" y="1096"/>
                  </a:lnTo>
                  <a:lnTo>
                    <a:pt x="496" y="1096"/>
                  </a:lnTo>
                  <a:lnTo>
                    <a:pt x="503" y="1091"/>
                  </a:lnTo>
                  <a:lnTo>
                    <a:pt x="517" y="1090"/>
                  </a:lnTo>
                  <a:lnTo>
                    <a:pt x="528" y="1093"/>
                  </a:lnTo>
                  <a:lnTo>
                    <a:pt x="538" y="1091"/>
                  </a:lnTo>
                  <a:lnTo>
                    <a:pt x="550" y="1090"/>
                  </a:lnTo>
                  <a:lnTo>
                    <a:pt x="556" y="1097"/>
                  </a:lnTo>
                  <a:lnTo>
                    <a:pt x="573" y="1093"/>
                  </a:lnTo>
                  <a:lnTo>
                    <a:pt x="587" y="1092"/>
                  </a:lnTo>
                  <a:lnTo>
                    <a:pt x="600" y="1087"/>
                  </a:lnTo>
                  <a:lnTo>
                    <a:pt x="616" y="1089"/>
                  </a:lnTo>
                  <a:lnTo>
                    <a:pt x="635" y="1089"/>
                  </a:lnTo>
                  <a:lnTo>
                    <a:pt x="662" y="1071"/>
                  </a:lnTo>
                  <a:lnTo>
                    <a:pt x="662" y="1068"/>
                  </a:lnTo>
                  <a:lnTo>
                    <a:pt x="662" y="1071"/>
                  </a:lnTo>
                  <a:lnTo>
                    <a:pt x="678" y="1052"/>
                  </a:lnTo>
                  <a:lnTo>
                    <a:pt x="690" y="1044"/>
                  </a:lnTo>
                  <a:lnTo>
                    <a:pt x="701" y="1043"/>
                  </a:lnTo>
                  <a:lnTo>
                    <a:pt x="731" y="1046"/>
                  </a:lnTo>
                  <a:lnTo>
                    <a:pt x="744" y="1046"/>
                  </a:lnTo>
                  <a:lnTo>
                    <a:pt x="765" y="1043"/>
                  </a:lnTo>
                  <a:lnTo>
                    <a:pt x="766" y="1021"/>
                  </a:lnTo>
                  <a:lnTo>
                    <a:pt x="767" y="1011"/>
                  </a:lnTo>
                  <a:lnTo>
                    <a:pt x="766" y="1004"/>
                  </a:lnTo>
                  <a:lnTo>
                    <a:pt x="759" y="999"/>
                  </a:lnTo>
                  <a:lnTo>
                    <a:pt x="735" y="994"/>
                  </a:lnTo>
                  <a:lnTo>
                    <a:pt x="727" y="988"/>
                  </a:lnTo>
                  <a:lnTo>
                    <a:pt x="722" y="979"/>
                  </a:lnTo>
                  <a:lnTo>
                    <a:pt x="712" y="952"/>
                  </a:lnTo>
                  <a:lnTo>
                    <a:pt x="707" y="940"/>
                  </a:lnTo>
                  <a:lnTo>
                    <a:pt x="702" y="930"/>
                  </a:lnTo>
                  <a:lnTo>
                    <a:pt x="680" y="917"/>
                  </a:lnTo>
                  <a:lnTo>
                    <a:pt x="673" y="909"/>
                  </a:lnTo>
                  <a:lnTo>
                    <a:pt x="667" y="901"/>
                  </a:lnTo>
                  <a:lnTo>
                    <a:pt x="665" y="891"/>
                  </a:lnTo>
                  <a:lnTo>
                    <a:pt x="657" y="881"/>
                  </a:lnTo>
                  <a:lnTo>
                    <a:pt x="648" y="876"/>
                  </a:lnTo>
                  <a:lnTo>
                    <a:pt x="637" y="872"/>
                  </a:lnTo>
                  <a:lnTo>
                    <a:pt x="629" y="874"/>
                  </a:lnTo>
                  <a:lnTo>
                    <a:pt x="621" y="867"/>
                  </a:lnTo>
                  <a:lnTo>
                    <a:pt x="615" y="867"/>
                  </a:lnTo>
                  <a:lnTo>
                    <a:pt x="609" y="863"/>
                  </a:lnTo>
                  <a:lnTo>
                    <a:pt x="614" y="855"/>
                  </a:lnTo>
                  <a:lnTo>
                    <a:pt x="620" y="850"/>
                  </a:lnTo>
                  <a:lnTo>
                    <a:pt x="620" y="836"/>
                  </a:lnTo>
                  <a:lnTo>
                    <a:pt x="630" y="832"/>
                  </a:lnTo>
                  <a:lnTo>
                    <a:pt x="652" y="834"/>
                  </a:lnTo>
                  <a:lnTo>
                    <a:pt x="663" y="829"/>
                  </a:lnTo>
                  <a:lnTo>
                    <a:pt x="670" y="823"/>
                  </a:lnTo>
                  <a:lnTo>
                    <a:pt x="672" y="808"/>
                  </a:lnTo>
                  <a:lnTo>
                    <a:pt x="672" y="763"/>
                  </a:lnTo>
                  <a:lnTo>
                    <a:pt x="676" y="747"/>
                  </a:lnTo>
                  <a:lnTo>
                    <a:pt x="678" y="736"/>
                  </a:lnTo>
                  <a:lnTo>
                    <a:pt x="676" y="730"/>
                  </a:lnTo>
                  <a:lnTo>
                    <a:pt x="676" y="719"/>
                  </a:lnTo>
                  <a:lnTo>
                    <a:pt x="680" y="721"/>
                  </a:lnTo>
                  <a:lnTo>
                    <a:pt x="683" y="714"/>
                  </a:lnTo>
                  <a:lnTo>
                    <a:pt x="690" y="702"/>
                  </a:lnTo>
                  <a:lnTo>
                    <a:pt x="697" y="697"/>
                  </a:lnTo>
                  <a:lnTo>
                    <a:pt x="708" y="697"/>
                  </a:lnTo>
                  <a:lnTo>
                    <a:pt x="713" y="692"/>
                  </a:lnTo>
                  <a:lnTo>
                    <a:pt x="718" y="665"/>
                  </a:lnTo>
                  <a:lnTo>
                    <a:pt x="723" y="651"/>
                  </a:lnTo>
                  <a:lnTo>
                    <a:pt x="758" y="602"/>
                  </a:lnTo>
                  <a:lnTo>
                    <a:pt x="767" y="592"/>
                  </a:lnTo>
                  <a:lnTo>
                    <a:pt x="776" y="590"/>
                  </a:lnTo>
                  <a:lnTo>
                    <a:pt x="783" y="582"/>
                  </a:lnTo>
                  <a:lnTo>
                    <a:pt x="801" y="525"/>
                  </a:lnTo>
                  <a:lnTo>
                    <a:pt x="801" y="509"/>
                  </a:lnTo>
                  <a:lnTo>
                    <a:pt x="798" y="493"/>
                  </a:lnTo>
                  <a:lnTo>
                    <a:pt x="798" y="473"/>
                  </a:lnTo>
                  <a:lnTo>
                    <a:pt x="802" y="456"/>
                  </a:lnTo>
                  <a:lnTo>
                    <a:pt x="809" y="442"/>
                  </a:lnTo>
                  <a:lnTo>
                    <a:pt x="818" y="408"/>
                  </a:lnTo>
                  <a:lnTo>
                    <a:pt x="821" y="387"/>
                  </a:lnTo>
                  <a:lnTo>
                    <a:pt x="821" y="379"/>
                  </a:lnTo>
                  <a:lnTo>
                    <a:pt x="825" y="358"/>
                  </a:lnTo>
                  <a:lnTo>
                    <a:pt x="829" y="349"/>
                  </a:lnTo>
                  <a:lnTo>
                    <a:pt x="842" y="348"/>
                  </a:lnTo>
                  <a:lnTo>
                    <a:pt x="851" y="343"/>
                  </a:lnTo>
                  <a:lnTo>
                    <a:pt x="856" y="336"/>
                  </a:lnTo>
                  <a:lnTo>
                    <a:pt x="877" y="326"/>
                  </a:lnTo>
                  <a:lnTo>
                    <a:pt x="885" y="323"/>
                  </a:lnTo>
                  <a:lnTo>
                    <a:pt x="898" y="317"/>
                  </a:lnTo>
                  <a:lnTo>
                    <a:pt x="905" y="302"/>
                  </a:lnTo>
                  <a:lnTo>
                    <a:pt x="907" y="293"/>
                  </a:lnTo>
                  <a:lnTo>
                    <a:pt x="904" y="284"/>
                  </a:lnTo>
                  <a:lnTo>
                    <a:pt x="899" y="284"/>
                  </a:lnTo>
                  <a:lnTo>
                    <a:pt x="896" y="280"/>
                  </a:lnTo>
                  <a:lnTo>
                    <a:pt x="891" y="282"/>
                  </a:lnTo>
                  <a:lnTo>
                    <a:pt x="887" y="270"/>
                  </a:lnTo>
                  <a:lnTo>
                    <a:pt x="880" y="264"/>
                  </a:lnTo>
                  <a:lnTo>
                    <a:pt x="873" y="263"/>
                  </a:lnTo>
                  <a:lnTo>
                    <a:pt x="858" y="257"/>
                  </a:lnTo>
                  <a:lnTo>
                    <a:pt x="852" y="252"/>
                  </a:lnTo>
                  <a:lnTo>
                    <a:pt x="847" y="245"/>
                  </a:lnTo>
                  <a:lnTo>
                    <a:pt x="840" y="214"/>
                  </a:lnTo>
                  <a:lnTo>
                    <a:pt x="837" y="191"/>
                  </a:lnTo>
                  <a:lnTo>
                    <a:pt x="837" y="157"/>
                  </a:lnTo>
                  <a:lnTo>
                    <a:pt x="836" y="117"/>
                  </a:lnTo>
                  <a:lnTo>
                    <a:pt x="839" y="118"/>
                  </a:lnTo>
                  <a:lnTo>
                    <a:pt x="836" y="111"/>
                  </a:lnTo>
                  <a:lnTo>
                    <a:pt x="821" y="94"/>
                  </a:lnTo>
                  <a:lnTo>
                    <a:pt x="820" y="81"/>
                  </a:lnTo>
                  <a:lnTo>
                    <a:pt x="819" y="65"/>
                  </a:lnTo>
                  <a:lnTo>
                    <a:pt x="808" y="49"/>
                  </a:lnTo>
                  <a:lnTo>
                    <a:pt x="798" y="44"/>
                  </a:lnTo>
                  <a:lnTo>
                    <a:pt x="787" y="31"/>
                  </a:lnTo>
                  <a:lnTo>
                    <a:pt x="776" y="25"/>
                  </a:lnTo>
                  <a:lnTo>
                    <a:pt x="761" y="19"/>
                  </a:lnTo>
                  <a:lnTo>
                    <a:pt x="749" y="0"/>
                  </a:lnTo>
                  <a:lnTo>
                    <a:pt x="727" y="20"/>
                  </a:lnTo>
                  <a:lnTo>
                    <a:pt x="713" y="15"/>
                  </a:lnTo>
                  <a:lnTo>
                    <a:pt x="701" y="46"/>
                  </a:lnTo>
                  <a:lnTo>
                    <a:pt x="672" y="53"/>
                  </a:lnTo>
                  <a:lnTo>
                    <a:pt x="664" y="78"/>
                  </a:lnTo>
                  <a:lnTo>
                    <a:pt x="637" y="80"/>
                  </a:lnTo>
                  <a:lnTo>
                    <a:pt x="619" y="67"/>
                  </a:lnTo>
                  <a:lnTo>
                    <a:pt x="522" y="65"/>
                  </a:lnTo>
                  <a:lnTo>
                    <a:pt x="527" y="54"/>
                  </a:lnTo>
                  <a:lnTo>
                    <a:pt x="524" y="54"/>
                  </a:lnTo>
                  <a:lnTo>
                    <a:pt x="522" y="53"/>
                  </a:lnTo>
                  <a:lnTo>
                    <a:pt x="519" y="53"/>
                  </a:lnTo>
                  <a:lnTo>
                    <a:pt x="512" y="65"/>
                  </a:lnTo>
                  <a:lnTo>
                    <a:pt x="484" y="65"/>
                  </a:lnTo>
                  <a:lnTo>
                    <a:pt x="431" y="65"/>
                  </a:lnTo>
                  <a:lnTo>
                    <a:pt x="379" y="65"/>
                  </a:lnTo>
                  <a:lnTo>
                    <a:pt x="326" y="65"/>
                  </a:lnTo>
                  <a:lnTo>
                    <a:pt x="275" y="65"/>
                  </a:lnTo>
                  <a:lnTo>
                    <a:pt x="223" y="65"/>
                  </a:lnTo>
                  <a:lnTo>
                    <a:pt x="170" y="65"/>
                  </a:lnTo>
                  <a:lnTo>
                    <a:pt x="170" y="118"/>
                  </a:lnTo>
                  <a:lnTo>
                    <a:pt x="170" y="177"/>
                  </a:lnTo>
                  <a:lnTo>
                    <a:pt x="118" y="177"/>
                  </a:lnTo>
                  <a:lnTo>
                    <a:pt x="118" y="2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Niger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gray">
            <a:xfrm>
              <a:off x="4456022" y="4009466"/>
              <a:ext cx="407264" cy="318322"/>
            </a:xfrm>
            <a:custGeom>
              <a:avLst/>
              <a:gdLst/>
              <a:ahLst/>
              <a:cxnLst>
                <a:cxn ang="0">
                  <a:pos x="222" y="381"/>
                </a:cxn>
                <a:cxn ang="0">
                  <a:pos x="209" y="442"/>
                </a:cxn>
                <a:cxn ang="0">
                  <a:pos x="192" y="463"/>
                </a:cxn>
                <a:cxn ang="0">
                  <a:pos x="186" y="474"/>
                </a:cxn>
                <a:cxn ang="0">
                  <a:pos x="160" y="475"/>
                </a:cxn>
                <a:cxn ang="0">
                  <a:pos x="42" y="495"/>
                </a:cxn>
                <a:cxn ang="0">
                  <a:pos x="3" y="511"/>
                </a:cxn>
                <a:cxn ang="0">
                  <a:pos x="11" y="532"/>
                </a:cxn>
                <a:cxn ang="0">
                  <a:pos x="15" y="550"/>
                </a:cxn>
                <a:cxn ang="0">
                  <a:pos x="49" y="588"/>
                </a:cxn>
                <a:cxn ang="0">
                  <a:pos x="70" y="622"/>
                </a:cxn>
                <a:cxn ang="0">
                  <a:pos x="92" y="629"/>
                </a:cxn>
                <a:cxn ang="0">
                  <a:pos x="106" y="622"/>
                </a:cxn>
                <a:cxn ang="0">
                  <a:pos x="119" y="637"/>
                </a:cxn>
                <a:cxn ang="0">
                  <a:pos x="109" y="641"/>
                </a:cxn>
                <a:cxn ang="0">
                  <a:pos x="116" y="656"/>
                </a:cxn>
                <a:cxn ang="0">
                  <a:pos x="127" y="653"/>
                </a:cxn>
                <a:cxn ang="0">
                  <a:pos x="143" y="645"/>
                </a:cxn>
                <a:cxn ang="0">
                  <a:pos x="165" y="653"/>
                </a:cxn>
                <a:cxn ang="0">
                  <a:pos x="193" y="678"/>
                </a:cxn>
                <a:cxn ang="0">
                  <a:pos x="193" y="637"/>
                </a:cxn>
                <a:cxn ang="0">
                  <a:pos x="206" y="624"/>
                </a:cxn>
                <a:cxn ang="0">
                  <a:pos x="221" y="586"/>
                </a:cxn>
                <a:cxn ang="0">
                  <a:pos x="259" y="565"/>
                </a:cxn>
                <a:cxn ang="0">
                  <a:pos x="291" y="561"/>
                </a:cxn>
                <a:cxn ang="0">
                  <a:pos x="365" y="602"/>
                </a:cxn>
                <a:cxn ang="0">
                  <a:pos x="386" y="609"/>
                </a:cxn>
                <a:cxn ang="0">
                  <a:pos x="418" y="588"/>
                </a:cxn>
                <a:cxn ang="0">
                  <a:pos x="471" y="613"/>
                </a:cxn>
                <a:cxn ang="0">
                  <a:pos x="519" y="618"/>
                </a:cxn>
                <a:cxn ang="0">
                  <a:pos x="559" y="588"/>
                </a:cxn>
                <a:cxn ang="0">
                  <a:pos x="613" y="587"/>
                </a:cxn>
                <a:cxn ang="0">
                  <a:pos x="647" y="591"/>
                </a:cxn>
                <a:cxn ang="0">
                  <a:pos x="672" y="597"/>
                </a:cxn>
                <a:cxn ang="0">
                  <a:pos x="688" y="582"/>
                </a:cxn>
                <a:cxn ang="0">
                  <a:pos x="708" y="576"/>
                </a:cxn>
                <a:cxn ang="0">
                  <a:pos x="718" y="561"/>
                </a:cxn>
                <a:cxn ang="0">
                  <a:pos x="709" y="545"/>
                </a:cxn>
                <a:cxn ang="0">
                  <a:pos x="725" y="533"/>
                </a:cxn>
                <a:cxn ang="0">
                  <a:pos x="732" y="515"/>
                </a:cxn>
                <a:cxn ang="0">
                  <a:pos x="746" y="501"/>
                </a:cxn>
                <a:cxn ang="0">
                  <a:pos x="838" y="386"/>
                </a:cxn>
                <a:cxn ang="0">
                  <a:pos x="872" y="184"/>
                </a:cxn>
                <a:cxn ang="0">
                  <a:pos x="837" y="160"/>
                </a:cxn>
                <a:cxn ang="0">
                  <a:pos x="826" y="135"/>
                </a:cxn>
                <a:cxn ang="0">
                  <a:pos x="818" y="117"/>
                </a:cxn>
                <a:cxn ang="0">
                  <a:pos x="795" y="26"/>
                </a:cxn>
                <a:cxn ang="0">
                  <a:pos x="773" y="11"/>
                </a:cxn>
                <a:cxn ang="0">
                  <a:pos x="720" y="1"/>
                </a:cxn>
                <a:cxn ang="0">
                  <a:pos x="643" y="1"/>
                </a:cxn>
                <a:cxn ang="0">
                  <a:pos x="568" y="53"/>
                </a:cxn>
                <a:cxn ang="0">
                  <a:pos x="437" y="145"/>
                </a:cxn>
                <a:cxn ang="0">
                  <a:pos x="307" y="236"/>
                </a:cxn>
                <a:cxn ang="0">
                  <a:pos x="221" y="257"/>
                </a:cxn>
                <a:cxn ang="0">
                  <a:pos x="222" y="271"/>
                </a:cxn>
              </a:cxnLst>
              <a:rect l="0" t="0" r="r" b="b"/>
              <a:pathLst>
                <a:path w="872" h="678">
                  <a:moveTo>
                    <a:pt x="222" y="271"/>
                  </a:moveTo>
                  <a:lnTo>
                    <a:pt x="222" y="327"/>
                  </a:lnTo>
                  <a:lnTo>
                    <a:pt x="222" y="381"/>
                  </a:lnTo>
                  <a:lnTo>
                    <a:pt x="222" y="435"/>
                  </a:lnTo>
                  <a:lnTo>
                    <a:pt x="219" y="436"/>
                  </a:lnTo>
                  <a:lnTo>
                    <a:pt x="209" y="442"/>
                  </a:lnTo>
                  <a:lnTo>
                    <a:pt x="205" y="448"/>
                  </a:lnTo>
                  <a:lnTo>
                    <a:pt x="204" y="456"/>
                  </a:lnTo>
                  <a:lnTo>
                    <a:pt x="192" y="463"/>
                  </a:lnTo>
                  <a:lnTo>
                    <a:pt x="188" y="466"/>
                  </a:lnTo>
                  <a:lnTo>
                    <a:pt x="186" y="469"/>
                  </a:lnTo>
                  <a:lnTo>
                    <a:pt x="186" y="474"/>
                  </a:lnTo>
                  <a:lnTo>
                    <a:pt x="173" y="473"/>
                  </a:lnTo>
                  <a:lnTo>
                    <a:pt x="160" y="472"/>
                  </a:lnTo>
                  <a:lnTo>
                    <a:pt x="160" y="475"/>
                  </a:lnTo>
                  <a:lnTo>
                    <a:pt x="155" y="474"/>
                  </a:lnTo>
                  <a:lnTo>
                    <a:pt x="66" y="475"/>
                  </a:lnTo>
                  <a:lnTo>
                    <a:pt x="42" y="495"/>
                  </a:lnTo>
                  <a:lnTo>
                    <a:pt x="5" y="495"/>
                  </a:lnTo>
                  <a:lnTo>
                    <a:pt x="4" y="499"/>
                  </a:lnTo>
                  <a:lnTo>
                    <a:pt x="3" y="511"/>
                  </a:lnTo>
                  <a:lnTo>
                    <a:pt x="0" y="521"/>
                  </a:lnTo>
                  <a:lnTo>
                    <a:pt x="1" y="523"/>
                  </a:lnTo>
                  <a:lnTo>
                    <a:pt x="11" y="532"/>
                  </a:lnTo>
                  <a:lnTo>
                    <a:pt x="12" y="534"/>
                  </a:lnTo>
                  <a:lnTo>
                    <a:pt x="11" y="543"/>
                  </a:lnTo>
                  <a:lnTo>
                    <a:pt x="15" y="550"/>
                  </a:lnTo>
                  <a:lnTo>
                    <a:pt x="27" y="565"/>
                  </a:lnTo>
                  <a:lnTo>
                    <a:pt x="44" y="579"/>
                  </a:lnTo>
                  <a:lnTo>
                    <a:pt x="49" y="588"/>
                  </a:lnTo>
                  <a:lnTo>
                    <a:pt x="55" y="603"/>
                  </a:lnTo>
                  <a:lnTo>
                    <a:pt x="59" y="609"/>
                  </a:lnTo>
                  <a:lnTo>
                    <a:pt x="70" y="622"/>
                  </a:lnTo>
                  <a:lnTo>
                    <a:pt x="78" y="626"/>
                  </a:lnTo>
                  <a:lnTo>
                    <a:pt x="89" y="629"/>
                  </a:lnTo>
                  <a:lnTo>
                    <a:pt x="92" y="629"/>
                  </a:lnTo>
                  <a:lnTo>
                    <a:pt x="97" y="628"/>
                  </a:lnTo>
                  <a:lnTo>
                    <a:pt x="102" y="623"/>
                  </a:lnTo>
                  <a:lnTo>
                    <a:pt x="106" y="622"/>
                  </a:lnTo>
                  <a:lnTo>
                    <a:pt x="112" y="625"/>
                  </a:lnTo>
                  <a:lnTo>
                    <a:pt x="118" y="635"/>
                  </a:lnTo>
                  <a:lnTo>
                    <a:pt x="119" y="637"/>
                  </a:lnTo>
                  <a:lnTo>
                    <a:pt x="118" y="640"/>
                  </a:lnTo>
                  <a:lnTo>
                    <a:pt x="113" y="640"/>
                  </a:lnTo>
                  <a:lnTo>
                    <a:pt x="109" y="641"/>
                  </a:lnTo>
                  <a:lnTo>
                    <a:pt x="108" y="645"/>
                  </a:lnTo>
                  <a:lnTo>
                    <a:pt x="109" y="649"/>
                  </a:lnTo>
                  <a:lnTo>
                    <a:pt x="116" y="656"/>
                  </a:lnTo>
                  <a:lnTo>
                    <a:pt x="127" y="666"/>
                  </a:lnTo>
                  <a:lnTo>
                    <a:pt x="134" y="662"/>
                  </a:lnTo>
                  <a:lnTo>
                    <a:pt x="127" y="653"/>
                  </a:lnTo>
                  <a:lnTo>
                    <a:pt x="127" y="649"/>
                  </a:lnTo>
                  <a:lnTo>
                    <a:pt x="138" y="646"/>
                  </a:lnTo>
                  <a:lnTo>
                    <a:pt x="143" y="645"/>
                  </a:lnTo>
                  <a:lnTo>
                    <a:pt x="151" y="641"/>
                  </a:lnTo>
                  <a:lnTo>
                    <a:pt x="154" y="642"/>
                  </a:lnTo>
                  <a:lnTo>
                    <a:pt x="165" y="653"/>
                  </a:lnTo>
                  <a:lnTo>
                    <a:pt x="177" y="666"/>
                  </a:lnTo>
                  <a:lnTo>
                    <a:pt x="184" y="671"/>
                  </a:lnTo>
                  <a:lnTo>
                    <a:pt x="193" y="678"/>
                  </a:lnTo>
                  <a:lnTo>
                    <a:pt x="194" y="671"/>
                  </a:lnTo>
                  <a:lnTo>
                    <a:pt x="192" y="646"/>
                  </a:lnTo>
                  <a:lnTo>
                    <a:pt x="193" y="637"/>
                  </a:lnTo>
                  <a:lnTo>
                    <a:pt x="195" y="633"/>
                  </a:lnTo>
                  <a:lnTo>
                    <a:pt x="199" y="628"/>
                  </a:lnTo>
                  <a:lnTo>
                    <a:pt x="206" y="624"/>
                  </a:lnTo>
                  <a:lnTo>
                    <a:pt x="211" y="618"/>
                  </a:lnTo>
                  <a:lnTo>
                    <a:pt x="219" y="604"/>
                  </a:lnTo>
                  <a:lnTo>
                    <a:pt x="221" y="586"/>
                  </a:lnTo>
                  <a:lnTo>
                    <a:pt x="222" y="582"/>
                  </a:lnTo>
                  <a:lnTo>
                    <a:pt x="240" y="570"/>
                  </a:lnTo>
                  <a:lnTo>
                    <a:pt x="259" y="565"/>
                  </a:lnTo>
                  <a:lnTo>
                    <a:pt x="277" y="565"/>
                  </a:lnTo>
                  <a:lnTo>
                    <a:pt x="283" y="564"/>
                  </a:lnTo>
                  <a:lnTo>
                    <a:pt x="291" y="561"/>
                  </a:lnTo>
                  <a:lnTo>
                    <a:pt x="306" y="563"/>
                  </a:lnTo>
                  <a:lnTo>
                    <a:pt x="343" y="581"/>
                  </a:lnTo>
                  <a:lnTo>
                    <a:pt x="365" y="602"/>
                  </a:lnTo>
                  <a:lnTo>
                    <a:pt x="372" y="607"/>
                  </a:lnTo>
                  <a:lnTo>
                    <a:pt x="377" y="609"/>
                  </a:lnTo>
                  <a:lnTo>
                    <a:pt x="386" y="609"/>
                  </a:lnTo>
                  <a:lnTo>
                    <a:pt x="392" y="599"/>
                  </a:lnTo>
                  <a:lnTo>
                    <a:pt x="408" y="591"/>
                  </a:lnTo>
                  <a:lnTo>
                    <a:pt x="418" y="588"/>
                  </a:lnTo>
                  <a:lnTo>
                    <a:pt x="430" y="588"/>
                  </a:lnTo>
                  <a:lnTo>
                    <a:pt x="447" y="598"/>
                  </a:lnTo>
                  <a:lnTo>
                    <a:pt x="471" y="613"/>
                  </a:lnTo>
                  <a:lnTo>
                    <a:pt x="483" y="617"/>
                  </a:lnTo>
                  <a:lnTo>
                    <a:pt x="506" y="619"/>
                  </a:lnTo>
                  <a:lnTo>
                    <a:pt x="519" y="618"/>
                  </a:lnTo>
                  <a:lnTo>
                    <a:pt x="533" y="608"/>
                  </a:lnTo>
                  <a:lnTo>
                    <a:pt x="550" y="593"/>
                  </a:lnTo>
                  <a:lnTo>
                    <a:pt x="559" y="588"/>
                  </a:lnTo>
                  <a:lnTo>
                    <a:pt x="585" y="588"/>
                  </a:lnTo>
                  <a:lnTo>
                    <a:pt x="603" y="591"/>
                  </a:lnTo>
                  <a:lnTo>
                    <a:pt x="613" y="587"/>
                  </a:lnTo>
                  <a:lnTo>
                    <a:pt x="633" y="585"/>
                  </a:lnTo>
                  <a:lnTo>
                    <a:pt x="640" y="587"/>
                  </a:lnTo>
                  <a:lnTo>
                    <a:pt x="647" y="591"/>
                  </a:lnTo>
                  <a:lnTo>
                    <a:pt x="655" y="593"/>
                  </a:lnTo>
                  <a:lnTo>
                    <a:pt x="661" y="597"/>
                  </a:lnTo>
                  <a:lnTo>
                    <a:pt x="672" y="597"/>
                  </a:lnTo>
                  <a:lnTo>
                    <a:pt x="678" y="593"/>
                  </a:lnTo>
                  <a:lnTo>
                    <a:pt x="688" y="583"/>
                  </a:lnTo>
                  <a:lnTo>
                    <a:pt x="688" y="582"/>
                  </a:lnTo>
                  <a:lnTo>
                    <a:pt x="694" y="577"/>
                  </a:lnTo>
                  <a:lnTo>
                    <a:pt x="702" y="576"/>
                  </a:lnTo>
                  <a:lnTo>
                    <a:pt x="708" y="576"/>
                  </a:lnTo>
                  <a:lnTo>
                    <a:pt x="714" y="564"/>
                  </a:lnTo>
                  <a:lnTo>
                    <a:pt x="715" y="564"/>
                  </a:lnTo>
                  <a:lnTo>
                    <a:pt x="718" y="561"/>
                  </a:lnTo>
                  <a:lnTo>
                    <a:pt x="713" y="556"/>
                  </a:lnTo>
                  <a:lnTo>
                    <a:pt x="709" y="550"/>
                  </a:lnTo>
                  <a:lnTo>
                    <a:pt x="709" y="545"/>
                  </a:lnTo>
                  <a:lnTo>
                    <a:pt x="714" y="538"/>
                  </a:lnTo>
                  <a:lnTo>
                    <a:pt x="720" y="534"/>
                  </a:lnTo>
                  <a:lnTo>
                    <a:pt x="725" y="533"/>
                  </a:lnTo>
                  <a:lnTo>
                    <a:pt x="730" y="531"/>
                  </a:lnTo>
                  <a:lnTo>
                    <a:pt x="727" y="520"/>
                  </a:lnTo>
                  <a:lnTo>
                    <a:pt x="732" y="515"/>
                  </a:lnTo>
                  <a:lnTo>
                    <a:pt x="740" y="513"/>
                  </a:lnTo>
                  <a:lnTo>
                    <a:pt x="740" y="504"/>
                  </a:lnTo>
                  <a:lnTo>
                    <a:pt x="746" y="501"/>
                  </a:lnTo>
                  <a:lnTo>
                    <a:pt x="746" y="490"/>
                  </a:lnTo>
                  <a:lnTo>
                    <a:pt x="834" y="391"/>
                  </a:lnTo>
                  <a:lnTo>
                    <a:pt x="838" y="386"/>
                  </a:lnTo>
                  <a:lnTo>
                    <a:pt x="844" y="287"/>
                  </a:lnTo>
                  <a:lnTo>
                    <a:pt x="859" y="208"/>
                  </a:lnTo>
                  <a:lnTo>
                    <a:pt x="872" y="184"/>
                  </a:lnTo>
                  <a:lnTo>
                    <a:pt x="849" y="171"/>
                  </a:lnTo>
                  <a:lnTo>
                    <a:pt x="843" y="166"/>
                  </a:lnTo>
                  <a:lnTo>
                    <a:pt x="837" y="160"/>
                  </a:lnTo>
                  <a:lnTo>
                    <a:pt x="833" y="154"/>
                  </a:lnTo>
                  <a:lnTo>
                    <a:pt x="829" y="142"/>
                  </a:lnTo>
                  <a:lnTo>
                    <a:pt x="826" y="135"/>
                  </a:lnTo>
                  <a:lnTo>
                    <a:pt x="826" y="133"/>
                  </a:lnTo>
                  <a:lnTo>
                    <a:pt x="821" y="123"/>
                  </a:lnTo>
                  <a:lnTo>
                    <a:pt x="818" y="117"/>
                  </a:lnTo>
                  <a:lnTo>
                    <a:pt x="818" y="31"/>
                  </a:lnTo>
                  <a:lnTo>
                    <a:pt x="801" y="36"/>
                  </a:lnTo>
                  <a:lnTo>
                    <a:pt x="795" y="26"/>
                  </a:lnTo>
                  <a:lnTo>
                    <a:pt x="791" y="22"/>
                  </a:lnTo>
                  <a:lnTo>
                    <a:pt x="776" y="15"/>
                  </a:lnTo>
                  <a:lnTo>
                    <a:pt x="773" y="11"/>
                  </a:lnTo>
                  <a:lnTo>
                    <a:pt x="768" y="7"/>
                  </a:lnTo>
                  <a:lnTo>
                    <a:pt x="759" y="5"/>
                  </a:lnTo>
                  <a:lnTo>
                    <a:pt x="720" y="1"/>
                  </a:lnTo>
                  <a:lnTo>
                    <a:pt x="677" y="2"/>
                  </a:lnTo>
                  <a:lnTo>
                    <a:pt x="646" y="0"/>
                  </a:lnTo>
                  <a:lnTo>
                    <a:pt x="643" y="1"/>
                  </a:lnTo>
                  <a:lnTo>
                    <a:pt x="638" y="4"/>
                  </a:lnTo>
                  <a:lnTo>
                    <a:pt x="612" y="22"/>
                  </a:lnTo>
                  <a:lnTo>
                    <a:pt x="568" y="53"/>
                  </a:lnTo>
                  <a:lnTo>
                    <a:pt x="525" y="84"/>
                  </a:lnTo>
                  <a:lnTo>
                    <a:pt x="482" y="114"/>
                  </a:lnTo>
                  <a:lnTo>
                    <a:pt x="437" y="145"/>
                  </a:lnTo>
                  <a:lnTo>
                    <a:pt x="393" y="176"/>
                  </a:lnTo>
                  <a:lnTo>
                    <a:pt x="350" y="206"/>
                  </a:lnTo>
                  <a:lnTo>
                    <a:pt x="307" y="236"/>
                  </a:lnTo>
                  <a:lnTo>
                    <a:pt x="292" y="241"/>
                  </a:lnTo>
                  <a:lnTo>
                    <a:pt x="230" y="255"/>
                  </a:lnTo>
                  <a:lnTo>
                    <a:pt x="221" y="257"/>
                  </a:lnTo>
                  <a:lnTo>
                    <a:pt x="221" y="259"/>
                  </a:lnTo>
                  <a:lnTo>
                    <a:pt x="222" y="260"/>
                  </a:lnTo>
                  <a:lnTo>
                    <a:pt x="222" y="2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20" name="Ethiopia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gray">
            <a:xfrm>
              <a:off x="5300978" y="4245867"/>
              <a:ext cx="386199" cy="292575"/>
            </a:xfrm>
            <a:custGeom>
              <a:avLst/>
              <a:gdLst/>
              <a:ahLst/>
              <a:cxnLst>
                <a:cxn ang="0">
                  <a:pos x="174" y="105"/>
                </a:cxn>
                <a:cxn ang="0">
                  <a:pos x="149" y="125"/>
                </a:cxn>
                <a:cxn ang="0">
                  <a:pos x="104" y="215"/>
                </a:cxn>
                <a:cxn ang="0">
                  <a:pos x="81" y="225"/>
                </a:cxn>
                <a:cxn ang="0">
                  <a:pos x="67" y="242"/>
                </a:cxn>
                <a:cxn ang="0">
                  <a:pos x="67" y="270"/>
                </a:cxn>
                <a:cxn ang="0">
                  <a:pos x="61" y="346"/>
                </a:cxn>
                <a:cxn ang="0">
                  <a:pos x="21" y="355"/>
                </a:cxn>
                <a:cxn ang="0">
                  <a:pos x="5" y="378"/>
                </a:cxn>
                <a:cxn ang="0">
                  <a:pos x="12" y="390"/>
                </a:cxn>
                <a:cxn ang="0">
                  <a:pos x="39" y="399"/>
                </a:cxn>
                <a:cxn ang="0">
                  <a:pos x="58" y="424"/>
                </a:cxn>
                <a:cxn ang="0">
                  <a:pos x="93" y="453"/>
                </a:cxn>
                <a:cxn ang="0">
                  <a:pos x="113" y="502"/>
                </a:cxn>
                <a:cxn ang="0">
                  <a:pos x="150" y="522"/>
                </a:cxn>
                <a:cxn ang="0">
                  <a:pos x="157" y="544"/>
                </a:cxn>
                <a:cxn ang="0">
                  <a:pos x="185" y="569"/>
                </a:cxn>
                <a:cxn ang="0">
                  <a:pos x="255" y="600"/>
                </a:cxn>
                <a:cxn ang="0">
                  <a:pos x="303" y="619"/>
                </a:cxn>
                <a:cxn ang="0">
                  <a:pos x="373" y="614"/>
                </a:cxn>
                <a:cxn ang="0">
                  <a:pos x="427" y="588"/>
                </a:cxn>
                <a:cxn ang="0">
                  <a:pos x="483" y="604"/>
                </a:cxn>
                <a:cxn ang="0">
                  <a:pos x="506" y="592"/>
                </a:cxn>
                <a:cxn ang="0">
                  <a:pos x="567" y="559"/>
                </a:cxn>
                <a:cxn ang="0">
                  <a:pos x="661" y="545"/>
                </a:cxn>
                <a:cxn ang="0">
                  <a:pos x="823" y="381"/>
                </a:cxn>
                <a:cxn ang="0">
                  <a:pos x="684" y="347"/>
                </a:cxn>
                <a:cxn ang="0">
                  <a:pos x="579" y="298"/>
                </a:cxn>
                <a:cxn ang="0">
                  <a:pos x="564" y="276"/>
                </a:cxn>
                <a:cxn ang="0">
                  <a:pos x="550" y="261"/>
                </a:cxn>
                <a:cxn ang="0">
                  <a:pos x="539" y="226"/>
                </a:cxn>
                <a:cxn ang="0">
                  <a:pos x="534" y="212"/>
                </a:cxn>
                <a:cxn ang="0">
                  <a:pos x="516" y="218"/>
                </a:cxn>
                <a:cxn ang="0">
                  <a:pos x="504" y="220"/>
                </a:cxn>
                <a:cxn ang="0">
                  <a:pos x="484" y="203"/>
                </a:cxn>
                <a:cxn ang="0">
                  <a:pos x="499" y="177"/>
                </a:cxn>
                <a:cxn ang="0">
                  <a:pos x="512" y="140"/>
                </a:cxn>
                <a:cxn ang="0">
                  <a:pos x="495" y="119"/>
                </a:cxn>
                <a:cxn ang="0">
                  <a:pos x="480" y="99"/>
                </a:cxn>
                <a:cxn ang="0">
                  <a:pos x="445" y="71"/>
                </a:cxn>
                <a:cxn ang="0">
                  <a:pos x="420" y="40"/>
                </a:cxn>
                <a:cxn ang="0">
                  <a:pos x="389" y="23"/>
                </a:cxn>
                <a:cxn ang="0">
                  <a:pos x="372" y="26"/>
                </a:cxn>
                <a:cxn ang="0">
                  <a:pos x="356" y="18"/>
                </a:cxn>
                <a:cxn ang="0">
                  <a:pos x="340" y="23"/>
                </a:cxn>
                <a:cxn ang="0">
                  <a:pos x="334" y="18"/>
                </a:cxn>
                <a:cxn ang="0">
                  <a:pos x="324" y="17"/>
                </a:cxn>
                <a:cxn ang="0">
                  <a:pos x="301" y="26"/>
                </a:cxn>
                <a:cxn ang="0">
                  <a:pos x="284" y="12"/>
                </a:cxn>
                <a:cxn ang="0">
                  <a:pos x="268" y="5"/>
                </a:cxn>
                <a:cxn ang="0">
                  <a:pos x="236" y="34"/>
                </a:cxn>
                <a:cxn ang="0">
                  <a:pos x="223" y="26"/>
                </a:cxn>
                <a:cxn ang="0">
                  <a:pos x="216" y="35"/>
                </a:cxn>
                <a:cxn ang="0">
                  <a:pos x="194" y="33"/>
                </a:cxn>
              </a:cxnLst>
              <a:rect l="0" t="0" r="r" b="b"/>
              <a:pathLst>
                <a:path w="824" h="626">
                  <a:moveTo>
                    <a:pt x="192" y="32"/>
                  </a:moveTo>
                  <a:lnTo>
                    <a:pt x="192" y="48"/>
                  </a:lnTo>
                  <a:lnTo>
                    <a:pt x="174" y="105"/>
                  </a:lnTo>
                  <a:lnTo>
                    <a:pt x="167" y="113"/>
                  </a:lnTo>
                  <a:lnTo>
                    <a:pt x="158" y="115"/>
                  </a:lnTo>
                  <a:lnTo>
                    <a:pt x="149" y="125"/>
                  </a:lnTo>
                  <a:lnTo>
                    <a:pt x="114" y="174"/>
                  </a:lnTo>
                  <a:lnTo>
                    <a:pt x="109" y="188"/>
                  </a:lnTo>
                  <a:lnTo>
                    <a:pt x="104" y="215"/>
                  </a:lnTo>
                  <a:lnTo>
                    <a:pt x="99" y="220"/>
                  </a:lnTo>
                  <a:lnTo>
                    <a:pt x="88" y="220"/>
                  </a:lnTo>
                  <a:lnTo>
                    <a:pt x="81" y="225"/>
                  </a:lnTo>
                  <a:lnTo>
                    <a:pt x="74" y="237"/>
                  </a:lnTo>
                  <a:lnTo>
                    <a:pt x="71" y="244"/>
                  </a:lnTo>
                  <a:lnTo>
                    <a:pt x="67" y="242"/>
                  </a:lnTo>
                  <a:lnTo>
                    <a:pt x="67" y="253"/>
                  </a:lnTo>
                  <a:lnTo>
                    <a:pt x="69" y="259"/>
                  </a:lnTo>
                  <a:lnTo>
                    <a:pt x="67" y="270"/>
                  </a:lnTo>
                  <a:lnTo>
                    <a:pt x="63" y="286"/>
                  </a:lnTo>
                  <a:lnTo>
                    <a:pt x="63" y="331"/>
                  </a:lnTo>
                  <a:lnTo>
                    <a:pt x="61" y="346"/>
                  </a:lnTo>
                  <a:lnTo>
                    <a:pt x="54" y="352"/>
                  </a:lnTo>
                  <a:lnTo>
                    <a:pt x="43" y="357"/>
                  </a:lnTo>
                  <a:lnTo>
                    <a:pt x="21" y="355"/>
                  </a:lnTo>
                  <a:lnTo>
                    <a:pt x="11" y="359"/>
                  </a:lnTo>
                  <a:lnTo>
                    <a:pt x="11" y="373"/>
                  </a:lnTo>
                  <a:lnTo>
                    <a:pt x="5" y="378"/>
                  </a:lnTo>
                  <a:lnTo>
                    <a:pt x="0" y="386"/>
                  </a:lnTo>
                  <a:lnTo>
                    <a:pt x="6" y="390"/>
                  </a:lnTo>
                  <a:lnTo>
                    <a:pt x="12" y="390"/>
                  </a:lnTo>
                  <a:lnTo>
                    <a:pt x="20" y="397"/>
                  </a:lnTo>
                  <a:lnTo>
                    <a:pt x="28" y="395"/>
                  </a:lnTo>
                  <a:lnTo>
                    <a:pt x="39" y="399"/>
                  </a:lnTo>
                  <a:lnTo>
                    <a:pt x="48" y="404"/>
                  </a:lnTo>
                  <a:lnTo>
                    <a:pt x="56" y="414"/>
                  </a:lnTo>
                  <a:lnTo>
                    <a:pt x="58" y="424"/>
                  </a:lnTo>
                  <a:lnTo>
                    <a:pt x="64" y="432"/>
                  </a:lnTo>
                  <a:lnTo>
                    <a:pt x="71" y="440"/>
                  </a:lnTo>
                  <a:lnTo>
                    <a:pt x="93" y="453"/>
                  </a:lnTo>
                  <a:lnTo>
                    <a:pt x="98" y="463"/>
                  </a:lnTo>
                  <a:lnTo>
                    <a:pt x="103" y="475"/>
                  </a:lnTo>
                  <a:lnTo>
                    <a:pt x="113" y="502"/>
                  </a:lnTo>
                  <a:lnTo>
                    <a:pt x="118" y="511"/>
                  </a:lnTo>
                  <a:lnTo>
                    <a:pt x="126" y="517"/>
                  </a:lnTo>
                  <a:lnTo>
                    <a:pt x="150" y="522"/>
                  </a:lnTo>
                  <a:lnTo>
                    <a:pt x="157" y="527"/>
                  </a:lnTo>
                  <a:lnTo>
                    <a:pt x="158" y="534"/>
                  </a:lnTo>
                  <a:lnTo>
                    <a:pt x="157" y="544"/>
                  </a:lnTo>
                  <a:lnTo>
                    <a:pt x="156" y="566"/>
                  </a:lnTo>
                  <a:lnTo>
                    <a:pt x="169" y="571"/>
                  </a:lnTo>
                  <a:lnTo>
                    <a:pt x="185" y="569"/>
                  </a:lnTo>
                  <a:lnTo>
                    <a:pt x="200" y="570"/>
                  </a:lnTo>
                  <a:lnTo>
                    <a:pt x="217" y="578"/>
                  </a:lnTo>
                  <a:lnTo>
                    <a:pt x="255" y="600"/>
                  </a:lnTo>
                  <a:lnTo>
                    <a:pt x="266" y="613"/>
                  </a:lnTo>
                  <a:lnTo>
                    <a:pt x="286" y="619"/>
                  </a:lnTo>
                  <a:lnTo>
                    <a:pt x="303" y="619"/>
                  </a:lnTo>
                  <a:lnTo>
                    <a:pt x="325" y="625"/>
                  </a:lnTo>
                  <a:lnTo>
                    <a:pt x="350" y="626"/>
                  </a:lnTo>
                  <a:lnTo>
                    <a:pt x="373" y="614"/>
                  </a:lnTo>
                  <a:lnTo>
                    <a:pt x="389" y="598"/>
                  </a:lnTo>
                  <a:lnTo>
                    <a:pt x="408" y="592"/>
                  </a:lnTo>
                  <a:lnTo>
                    <a:pt x="427" y="588"/>
                  </a:lnTo>
                  <a:lnTo>
                    <a:pt x="461" y="604"/>
                  </a:lnTo>
                  <a:lnTo>
                    <a:pt x="474" y="603"/>
                  </a:lnTo>
                  <a:lnTo>
                    <a:pt x="483" y="604"/>
                  </a:lnTo>
                  <a:lnTo>
                    <a:pt x="488" y="603"/>
                  </a:lnTo>
                  <a:lnTo>
                    <a:pt x="491" y="599"/>
                  </a:lnTo>
                  <a:lnTo>
                    <a:pt x="506" y="592"/>
                  </a:lnTo>
                  <a:lnTo>
                    <a:pt x="542" y="580"/>
                  </a:lnTo>
                  <a:lnTo>
                    <a:pt x="554" y="567"/>
                  </a:lnTo>
                  <a:lnTo>
                    <a:pt x="567" y="559"/>
                  </a:lnTo>
                  <a:lnTo>
                    <a:pt x="588" y="550"/>
                  </a:lnTo>
                  <a:lnTo>
                    <a:pt x="596" y="545"/>
                  </a:lnTo>
                  <a:lnTo>
                    <a:pt x="661" y="545"/>
                  </a:lnTo>
                  <a:lnTo>
                    <a:pt x="742" y="463"/>
                  </a:lnTo>
                  <a:lnTo>
                    <a:pt x="813" y="393"/>
                  </a:lnTo>
                  <a:lnTo>
                    <a:pt x="823" y="381"/>
                  </a:lnTo>
                  <a:lnTo>
                    <a:pt x="824" y="378"/>
                  </a:lnTo>
                  <a:lnTo>
                    <a:pt x="771" y="379"/>
                  </a:lnTo>
                  <a:lnTo>
                    <a:pt x="684" y="347"/>
                  </a:lnTo>
                  <a:lnTo>
                    <a:pt x="606" y="320"/>
                  </a:lnTo>
                  <a:lnTo>
                    <a:pt x="599" y="313"/>
                  </a:lnTo>
                  <a:lnTo>
                    <a:pt x="579" y="298"/>
                  </a:lnTo>
                  <a:lnTo>
                    <a:pt x="572" y="288"/>
                  </a:lnTo>
                  <a:lnTo>
                    <a:pt x="566" y="282"/>
                  </a:lnTo>
                  <a:lnTo>
                    <a:pt x="564" y="276"/>
                  </a:lnTo>
                  <a:lnTo>
                    <a:pt x="559" y="273"/>
                  </a:lnTo>
                  <a:lnTo>
                    <a:pt x="553" y="266"/>
                  </a:lnTo>
                  <a:lnTo>
                    <a:pt x="550" y="261"/>
                  </a:lnTo>
                  <a:lnTo>
                    <a:pt x="543" y="254"/>
                  </a:lnTo>
                  <a:lnTo>
                    <a:pt x="538" y="231"/>
                  </a:lnTo>
                  <a:lnTo>
                    <a:pt x="539" y="226"/>
                  </a:lnTo>
                  <a:lnTo>
                    <a:pt x="543" y="221"/>
                  </a:lnTo>
                  <a:lnTo>
                    <a:pt x="543" y="220"/>
                  </a:lnTo>
                  <a:lnTo>
                    <a:pt x="534" y="212"/>
                  </a:lnTo>
                  <a:lnTo>
                    <a:pt x="529" y="211"/>
                  </a:lnTo>
                  <a:lnTo>
                    <a:pt x="517" y="216"/>
                  </a:lnTo>
                  <a:lnTo>
                    <a:pt x="516" y="218"/>
                  </a:lnTo>
                  <a:lnTo>
                    <a:pt x="515" y="220"/>
                  </a:lnTo>
                  <a:lnTo>
                    <a:pt x="508" y="217"/>
                  </a:lnTo>
                  <a:lnTo>
                    <a:pt x="504" y="220"/>
                  </a:lnTo>
                  <a:lnTo>
                    <a:pt x="491" y="218"/>
                  </a:lnTo>
                  <a:lnTo>
                    <a:pt x="485" y="212"/>
                  </a:lnTo>
                  <a:lnTo>
                    <a:pt x="484" y="203"/>
                  </a:lnTo>
                  <a:lnTo>
                    <a:pt x="484" y="200"/>
                  </a:lnTo>
                  <a:lnTo>
                    <a:pt x="493" y="190"/>
                  </a:lnTo>
                  <a:lnTo>
                    <a:pt x="499" y="177"/>
                  </a:lnTo>
                  <a:lnTo>
                    <a:pt x="501" y="166"/>
                  </a:lnTo>
                  <a:lnTo>
                    <a:pt x="506" y="144"/>
                  </a:lnTo>
                  <a:lnTo>
                    <a:pt x="512" y="140"/>
                  </a:lnTo>
                  <a:lnTo>
                    <a:pt x="506" y="132"/>
                  </a:lnTo>
                  <a:lnTo>
                    <a:pt x="502" y="125"/>
                  </a:lnTo>
                  <a:lnTo>
                    <a:pt x="495" y="119"/>
                  </a:lnTo>
                  <a:lnTo>
                    <a:pt x="486" y="115"/>
                  </a:lnTo>
                  <a:lnTo>
                    <a:pt x="483" y="109"/>
                  </a:lnTo>
                  <a:lnTo>
                    <a:pt x="480" y="99"/>
                  </a:lnTo>
                  <a:lnTo>
                    <a:pt x="474" y="93"/>
                  </a:lnTo>
                  <a:lnTo>
                    <a:pt x="462" y="83"/>
                  </a:lnTo>
                  <a:lnTo>
                    <a:pt x="445" y="71"/>
                  </a:lnTo>
                  <a:lnTo>
                    <a:pt x="440" y="62"/>
                  </a:lnTo>
                  <a:lnTo>
                    <a:pt x="432" y="51"/>
                  </a:lnTo>
                  <a:lnTo>
                    <a:pt x="420" y="40"/>
                  </a:lnTo>
                  <a:lnTo>
                    <a:pt x="413" y="39"/>
                  </a:lnTo>
                  <a:lnTo>
                    <a:pt x="403" y="34"/>
                  </a:lnTo>
                  <a:lnTo>
                    <a:pt x="389" y="23"/>
                  </a:lnTo>
                  <a:lnTo>
                    <a:pt x="378" y="24"/>
                  </a:lnTo>
                  <a:lnTo>
                    <a:pt x="376" y="26"/>
                  </a:lnTo>
                  <a:lnTo>
                    <a:pt x="372" y="26"/>
                  </a:lnTo>
                  <a:lnTo>
                    <a:pt x="371" y="22"/>
                  </a:lnTo>
                  <a:lnTo>
                    <a:pt x="361" y="22"/>
                  </a:lnTo>
                  <a:lnTo>
                    <a:pt x="356" y="18"/>
                  </a:lnTo>
                  <a:lnTo>
                    <a:pt x="352" y="18"/>
                  </a:lnTo>
                  <a:lnTo>
                    <a:pt x="348" y="22"/>
                  </a:lnTo>
                  <a:lnTo>
                    <a:pt x="340" y="23"/>
                  </a:lnTo>
                  <a:lnTo>
                    <a:pt x="339" y="24"/>
                  </a:lnTo>
                  <a:lnTo>
                    <a:pt x="337" y="24"/>
                  </a:lnTo>
                  <a:lnTo>
                    <a:pt x="334" y="18"/>
                  </a:lnTo>
                  <a:lnTo>
                    <a:pt x="329" y="13"/>
                  </a:lnTo>
                  <a:lnTo>
                    <a:pt x="324" y="13"/>
                  </a:lnTo>
                  <a:lnTo>
                    <a:pt x="324" y="17"/>
                  </a:lnTo>
                  <a:lnTo>
                    <a:pt x="318" y="22"/>
                  </a:lnTo>
                  <a:lnTo>
                    <a:pt x="305" y="24"/>
                  </a:lnTo>
                  <a:lnTo>
                    <a:pt x="301" y="26"/>
                  </a:lnTo>
                  <a:lnTo>
                    <a:pt x="292" y="26"/>
                  </a:lnTo>
                  <a:lnTo>
                    <a:pt x="284" y="15"/>
                  </a:lnTo>
                  <a:lnTo>
                    <a:pt x="284" y="12"/>
                  </a:lnTo>
                  <a:lnTo>
                    <a:pt x="281" y="11"/>
                  </a:lnTo>
                  <a:lnTo>
                    <a:pt x="274" y="11"/>
                  </a:lnTo>
                  <a:lnTo>
                    <a:pt x="268" y="5"/>
                  </a:lnTo>
                  <a:lnTo>
                    <a:pt x="264" y="0"/>
                  </a:lnTo>
                  <a:lnTo>
                    <a:pt x="244" y="44"/>
                  </a:lnTo>
                  <a:lnTo>
                    <a:pt x="236" y="34"/>
                  </a:lnTo>
                  <a:lnTo>
                    <a:pt x="236" y="31"/>
                  </a:lnTo>
                  <a:lnTo>
                    <a:pt x="231" y="26"/>
                  </a:lnTo>
                  <a:lnTo>
                    <a:pt x="223" y="26"/>
                  </a:lnTo>
                  <a:lnTo>
                    <a:pt x="220" y="29"/>
                  </a:lnTo>
                  <a:lnTo>
                    <a:pt x="219" y="33"/>
                  </a:lnTo>
                  <a:lnTo>
                    <a:pt x="216" y="35"/>
                  </a:lnTo>
                  <a:lnTo>
                    <a:pt x="212" y="35"/>
                  </a:lnTo>
                  <a:lnTo>
                    <a:pt x="208" y="33"/>
                  </a:lnTo>
                  <a:lnTo>
                    <a:pt x="194" y="33"/>
                  </a:lnTo>
                  <a:lnTo>
                    <a:pt x="192" y="3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21" name="Libya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gray">
            <a:xfrm>
              <a:off x="4687741" y="3730935"/>
              <a:ext cx="407264" cy="390880"/>
            </a:xfrm>
            <a:custGeom>
              <a:avLst/>
              <a:gdLst/>
              <a:ahLst/>
              <a:cxnLst>
                <a:cxn ang="0">
                  <a:pos x="134" y="578"/>
                </a:cxn>
                <a:cxn ang="0">
                  <a:pos x="76" y="535"/>
                </a:cxn>
                <a:cxn ang="0">
                  <a:pos x="40" y="507"/>
                </a:cxn>
                <a:cxn ang="0">
                  <a:pos x="11" y="449"/>
                </a:cxn>
                <a:cxn ang="0">
                  <a:pos x="18" y="425"/>
                </a:cxn>
                <a:cxn ang="0">
                  <a:pos x="32" y="340"/>
                </a:cxn>
                <a:cxn ang="0">
                  <a:pos x="29" y="288"/>
                </a:cxn>
                <a:cxn ang="0">
                  <a:pos x="11" y="222"/>
                </a:cxn>
                <a:cxn ang="0">
                  <a:pos x="11" y="184"/>
                </a:cxn>
                <a:cxn ang="0">
                  <a:pos x="36" y="171"/>
                </a:cxn>
                <a:cxn ang="0">
                  <a:pos x="52" y="143"/>
                </a:cxn>
                <a:cxn ang="0">
                  <a:pos x="52" y="98"/>
                </a:cxn>
                <a:cxn ang="0">
                  <a:pos x="79" y="74"/>
                </a:cxn>
                <a:cxn ang="0">
                  <a:pos x="119" y="39"/>
                </a:cxn>
                <a:cxn ang="0">
                  <a:pos x="130" y="2"/>
                </a:cxn>
                <a:cxn ang="0">
                  <a:pos x="190" y="22"/>
                </a:cxn>
                <a:cxn ang="0">
                  <a:pos x="237" y="23"/>
                </a:cxn>
                <a:cxn ang="0">
                  <a:pos x="276" y="35"/>
                </a:cxn>
                <a:cxn ang="0">
                  <a:pos x="323" y="52"/>
                </a:cxn>
                <a:cxn ang="0">
                  <a:pos x="333" y="84"/>
                </a:cxn>
                <a:cxn ang="0">
                  <a:pos x="371" y="121"/>
                </a:cxn>
                <a:cxn ang="0">
                  <a:pos x="431" y="130"/>
                </a:cxn>
                <a:cxn ang="0">
                  <a:pos x="482" y="151"/>
                </a:cxn>
                <a:cxn ang="0">
                  <a:pos x="514" y="178"/>
                </a:cxn>
                <a:cxn ang="0">
                  <a:pos x="561" y="176"/>
                </a:cxn>
                <a:cxn ang="0">
                  <a:pos x="587" y="148"/>
                </a:cxn>
                <a:cxn ang="0">
                  <a:pos x="589" y="117"/>
                </a:cxn>
                <a:cxn ang="0">
                  <a:pos x="582" y="83"/>
                </a:cxn>
                <a:cxn ang="0">
                  <a:pos x="606" y="47"/>
                </a:cxn>
                <a:cxn ang="0">
                  <a:pos x="658" y="22"/>
                </a:cxn>
                <a:cxn ang="0">
                  <a:pos x="729" y="25"/>
                </a:cxn>
                <a:cxn ang="0">
                  <a:pos x="754" y="35"/>
                </a:cxn>
                <a:cxn ang="0">
                  <a:pos x="751" y="46"/>
                </a:cxn>
                <a:cxn ang="0">
                  <a:pos x="767" y="63"/>
                </a:cxn>
                <a:cxn ang="0">
                  <a:pos x="797" y="67"/>
                </a:cxn>
                <a:cxn ang="0">
                  <a:pos x="831" y="77"/>
                </a:cxn>
                <a:cxn ang="0">
                  <a:pos x="868" y="95"/>
                </a:cxn>
                <a:cxn ang="0">
                  <a:pos x="860" y="108"/>
                </a:cxn>
                <a:cxn ang="0">
                  <a:pos x="856" y="127"/>
                </a:cxn>
                <a:cxn ang="0">
                  <a:pos x="858" y="180"/>
                </a:cxn>
                <a:cxn ang="0">
                  <a:pos x="845" y="192"/>
                </a:cxn>
                <a:cxn ang="0">
                  <a:pos x="853" y="227"/>
                </a:cxn>
                <a:cxn ang="0">
                  <a:pos x="869" y="261"/>
                </a:cxn>
                <a:cxn ang="0">
                  <a:pos x="869" y="421"/>
                </a:cxn>
                <a:cxn ang="0">
                  <a:pos x="869" y="593"/>
                </a:cxn>
                <a:cxn ang="0">
                  <a:pos x="869" y="740"/>
                </a:cxn>
                <a:cxn ang="0">
                  <a:pos x="817" y="832"/>
                </a:cxn>
                <a:cxn ang="0">
                  <a:pos x="715" y="783"/>
                </a:cxn>
                <a:cxn ang="0">
                  <a:pos x="573" y="709"/>
                </a:cxn>
                <a:cxn ang="0">
                  <a:pos x="433" y="635"/>
                </a:cxn>
                <a:cxn ang="0">
                  <a:pos x="326" y="622"/>
                </a:cxn>
                <a:cxn ang="0">
                  <a:pos x="297" y="620"/>
                </a:cxn>
                <a:cxn ang="0">
                  <a:pos x="275" y="605"/>
                </a:cxn>
                <a:cxn ang="0">
                  <a:pos x="222" y="595"/>
                </a:cxn>
                <a:cxn ang="0">
                  <a:pos x="145" y="595"/>
                </a:cxn>
              </a:cxnLst>
              <a:rect l="0" t="0" r="r" b="b"/>
              <a:pathLst>
                <a:path w="871" h="832">
                  <a:moveTo>
                    <a:pt x="140" y="598"/>
                  </a:moveTo>
                  <a:lnTo>
                    <a:pt x="138" y="592"/>
                  </a:lnTo>
                  <a:lnTo>
                    <a:pt x="134" y="578"/>
                  </a:lnTo>
                  <a:lnTo>
                    <a:pt x="116" y="549"/>
                  </a:lnTo>
                  <a:lnTo>
                    <a:pt x="87" y="535"/>
                  </a:lnTo>
                  <a:lnTo>
                    <a:pt x="76" y="535"/>
                  </a:lnTo>
                  <a:lnTo>
                    <a:pt x="57" y="534"/>
                  </a:lnTo>
                  <a:lnTo>
                    <a:pt x="43" y="519"/>
                  </a:lnTo>
                  <a:lnTo>
                    <a:pt x="40" y="507"/>
                  </a:lnTo>
                  <a:lnTo>
                    <a:pt x="39" y="487"/>
                  </a:lnTo>
                  <a:lnTo>
                    <a:pt x="29" y="471"/>
                  </a:lnTo>
                  <a:lnTo>
                    <a:pt x="11" y="449"/>
                  </a:lnTo>
                  <a:lnTo>
                    <a:pt x="6" y="436"/>
                  </a:lnTo>
                  <a:lnTo>
                    <a:pt x="7" y="428"/>
                  </a:lnTo>
                  <a:lnTo>
                    <a:pt x="18" y="425"/>
                  </a:lnTo>
                  <a:lnTo>
                    <a:pt x="27" y="418"/>
                  </a:lnTo>
                  <a:lnTo>
                    <a:pt x="28" y="362"/>
                  </a:lnTo>
                  <a:lnTo>
                    <a:pt x="32" y="340"/>
                  </a:lnTo>
                  <a:lnTo>
                    <a:pt x="32" y="327"/>
                  </a:lnTo>
                  <a:lnTo>
                    <a:pt x="29" y="319"/>
                  </a:lnTo>
                  <a:lnTo>
                    <a:pt x="29" y="288"/>
                  </a:lnTo>
                  <a:lnTo>
                    <a:pt x="28" y="266"/>
                  </a:lnTo>
                  <a:lnTo>
                    <a:pt x="23" y="243"/>
                  </a:lnTo>
                  <a:lnTo>
                    <a:pt x="11" y="222"/>
                  </a:lnTo>
                  <a:lnTo>
                    <a:pt x="0" y="207"/>
                  </a:lnTo>
                  <a:lnTo>
                    <a:pt x="1" y="191"/>
                  </a:lnTo>
                  <a:lnTo>
                    <a:pt x="11" y="184"/>
                  </a:lnTo>
                  <a:lnTo>
                    <a:pt x="12" y="181"/>
                  </a:lnTo>
                  <a:lnTo>
                    <a:pt x="24" y="180"/>
                  </a:lnTo>
                  <a:lnTo>
                    <a:pt x="36" y="171"/>
                  </a:lnTo>
                  <a:lnTo>
                    <a:pt x="46" y="163"/>
                  </a:lnTo>
                  <a:lnTo>
                    <a:pt x="52" y="153"/>
                  </a:lnTo>
                  <a:lnTo>
                    <a:pt x="52" y="143"/>
                  </a:lnTo>
                  <a:lnTo>
                    <a:pt x="46" y="115"/>
                  </a:lnTo>
                  <a:lnTo>
                    <a:pt x="48" y="106"/>
                  </a:lnTo>
                  <a:lnTo>
                    <a:pt x="52" y="98"/>
                  </a:lnTo>
                  <a:lnTo>
                    <a:pt x="65" y="92"/>
                  </a:lnTo>
                  <a:lnTo>
                    <a:pt x="75" y="85"/>
                  </a:lnTo>
                  <a:lnTo>
                    <a:pt x="79" y="74"/>
                  </a:lnTo>
                  <a:lnTo>
                    <a:pt x="108" y="55"/>
                  </a:lnTo>
                  <a:lnTo>
                    <a:pt x="114" y="50"/>
                  </a:lnTo>
                  <a:lnTo>
                    <a:pt x="119" y="39"/>
                  </a:lnTo>
                  <a:lnTo>
                    <a:pt x="118" y="3"/>
                  </a:lnTo>
                  <a:lnTo>
                    <a:pt x="119" y="0"/>
                  </a:lnTo>
                  <a:lnTo>
                    <a:pt x="130" y="2"/>
                  </a:lnTo>
                  <a:lnTo>
                    <a:pt x="142" y="9"/>
                  </a:lnTo>
                  <a:lnTo>
                    <a:pt x="169" y="20"/>
                  </a:lnTo>
                  <a:lnTo>
                    <a:pt x="190" y="22"/>
                  </a:lnTo>
                  <a:lnTo>
                    <a:pt x="211" y="17"/>
                  </a:lnTo>
                  <a:lnTo>
                    <a:pt x="226" y="18"/>
                  </a:lnTo>
                  <a:lnTo>
                    <a:pt x="237" y="23"/>
                  </a:lnTo>
                  <a:lnTo>
                    <a:pt x="250" y="24"/>
                  </a:lnTo>
                  <a:lnTo>
                    <a:pt x="267" y="29"/>
                  </a:lnTo>
                  <a:lnTo>
                    <a:pt x="276" y="35"/>
                  </a:lnTo>
                  <a:lnTo>
                    <a:pt x="297" y="45"/>
                  </a:lnTo>
                  <a:lnTo>
                    <a:pt x="309" y="47"/>
                  </a:lnTo>
                  <a:lnTo>
                    <a:pt x="323" y="52"/>
                  </a:lnTo>
                  <a:lnTo>
                    <a:pt x="329" y="58"/>
                  </a:lnTo>
                  <a:lnTo>
                    <a:pt x="333" y="71"/>
                  </a:lnTo>
                  <a:lnTo>
                    <a:pt x="333" y="84"/>
                  </a:lnTo>
                  <a:lnTo>
                    <a:pt x="342" y="99"/>
                  </a:lnTo>
                  <a:lnTo>
                    <a:pt x="358" y="115"/>
                  </a:lnTo>
                  <a:lnTo>
                    <a:pt x="371" y="121"/>
                  </a:lnTo>
                  <a:lnTo>
                    <a:pt x="379" y="124"/>
                  </a:lnTo>
                  <a:lnTo>
                    <a:pt x="415" y="125"/>
                  </a:lnTo>
                  <a:lnTo>
                    <a:pt x="431" y="130"/>
                  </a:lnTo>
                  <a:lnTo>
                    <a:pt x="459" y="140"/>
                  </a:lnTo>
                  <a:lnTo>
                    <a:pt x="474" y="149"/>
                  </a:lnTo>
                  <a:lnTo>
                    <a:pt x="482" y="151"/>
                  </a:lnTo>
                  <a:lnTo>
                    <a:pt x="490" y="154"/>
                  </a:lnTo>
                  <a:lnTo>
                    <a:pt x="496" y="162"/>
                  </a:lnTo>
                  <a:lnTo>
                    <a:pt x="514" y="178"/>
                  </a:lnTo>
                  <a:lnTo>
                    <a:pt x="529" y="184"/>
                  </a:lnTo>
                  <a:lnTo>
                    <a:pt x="543" y="184"/>
                  </a:lnTo>
                  <a:lnTo>
                    <a:pt x="561" y="176"/>
                  </a:lnTo>
                  <a:lnTo>
                    <a:pt x="571" y="170"/>
                  </a:lnTo>
                  <a:lnTo>
                    <a:pt x="581" y="159"/>
                  </a:lnTo>
                  <a:lnTo>
                    <a:pt x="587" y="148"/>
                  </a:lnTo>
                  <a:lnTo>
                    <a:pt x="593" y="138"/>
                  </a:lnTo>
                  <a:lnTo>
                    <a:pt x="594" y="130"/>
                  </a:lnTo>
                  <a:lnTo>
                    <a:pt x="589" y="117"/>
                  </a:lnTo>
                  <a:lnTo>
                    <a:pt x="588" y="108"/>
                  </a:lnTo>
                  <a:lnTo>
                    <a:pt x="582" y="98"/>
                  </a:lnTo>
                  <a:lnTo>
                    <a:pt x="582" y="83"/>
                  </a:lnTo>
                  <a:lnTo>
                    <a:pt x="586" y="70"/>
                  </a:lnTo>
                  <a:lnTo>
                    <a:pt x="598" y="55"/>
                  </a:lnTo>
                  <a:lnTo>
                    <a:pt x="606" y="47"/>
                  </a:lnTo>
                  <a:lnTo>
                    <a:pt x="625" y="33"/>
                  </a:lnTo>
                  <a:lnTo>
                    <a:pt x="641" y="24"/>
                  </a:lnTo>
                  <a:lnTo>
                    <a:pt x="658" y="22"/>
                  </a:lnTo>
                  <a:lnTo>
                    <a:pt x="670" y="17"/>
                  </a:lnTo>
                  <a:lnTo>
                    <a:pt x="701" y="15"/>
                  </a:lnTo>
                  <a:lnTo>
                    <a:pt x="729" y="25"/>
                  </a:lnTo>
                  <a:lnTo>
                    <a:pt x="737" y="29"/>
                  </a:lnTo>
                  <a:lnTo>
                    <a:pt x="745" y="30"/>
                  </a:lnTo>
                  <a:lnTo>
                    <a:pt x="754" y="35"/>
                  </a:lnTo>
                  <a:lnTo>
                    <a:pt x="755" y="45"/>
                  </a:lnTo>
                  <a:lnTo>
                    <a:pt x="754" y="47"/>
                  </a:lnTo>
                  <a:lnTo>
                    <a:pt x="751" y="46"/>
                  </a:lnTo>
                  <a:lnTo>
                    <a:pt x="753" y="54"/>
                  </a:lnTo>
                  <a:lnTo>
                    <a:pt x="762" y="61"/>
                  </a:lnTo>
                  <a:lnTo>
                    <a:pt x="767" y="63"/>
                  </a:lnTo>
                  <a:lnTo>
                    <a:pt x="772" y="62"/>
                  </a:lnTo>
                  <a:lnTo>
                    <a:pt x="787" y="65"/>
                  </a:lnTo>
                  <a:lnTo>
                    <a:pt x="797" y="67"/>
                  </a:lnTo>
                  <a:lnTo>
                    <a:pt x="801" y="68"/>
                  </a:lnTo>
                  <a:lnTo>
                    <a:pt x="815" y="74"/>
                  </a:lnTo>
                  <a:lnTo>
                    <a:pt x="831" y="77"/>
                  </a:lnTo>
                  <a:lnTo>
                    <a:pt x="856" y="78"/>
                  </a:lnTo>
                  <a:lnTo>
                    <a:pt x="864" y="83"/>
                  </a:lnTo>
                  <a:lnTo>
                    <a:pt x="868" y="95"/>
                  </a:lnTo>
                  <a:lnTo>
                    <a:pt x="871" y="97"/>
                  </a:lnTo>
                  <a:lnTo>
                    <a:pt x="863" y="99"/>
                  </a:lnTo>
                  <a:lnTo>
                    <a:pt x="860" y="108"/>
                  </a:lnTo>
                  <a:lnTo>
                    <a:pt x="852" y="116"/>
                  </a:lnTo>
                  <a:lnTo>
                    <a:pt x="852" y="119"/>
                  </a:lnTo>
                  <a:lnTo>
                    <a:pt x="856" y="127"/>
                  </a:lnTo>
                  <a:lnTo>
                    <a:pt x="857" y="154"/>
                  </a:lnTo>
                  <a:lnTo>
                    <a:pt x="860" y="171"/>
                  </a:lnTo>
                  <a:lnTo>
                    <a:pt x="858" y="180"/>
                  </a:lnTo>
                  <a:lnTo>
                    <a:pt x="858" y="183"/>
                  </a:lnTo>
                  <a:lnTo>
                    <a:pt x="848" y="187"/>
                  </a:lnTo>
                  <a:lnTo>
                    <a:pt x="845" y="192"/>
                  </a:lnTo>
                  <a:lnTo>
                    <a:pt x="845" y="196"/>
                  </a:lnTo>
                  <a:lnTo>
                    <a:pt x="846" y="217"/>
                  </a:lnTo>
                  <a:lnTo>
                    <a:pt x="853" y="227"/>
                  </a:lnTo>
                  <a:lnTo>
                    <a:pt x="855" y="230"/>
                  </a:lnTo>
                  <a:lnTo>
                    <a:pt x="852" y="243"/>
                  </a:lnTo>
                  <a:lnTo>
                    <a:pt x="869" y="261"/>
                  </a:lnTo>
                  <a:lnTo>
                    <a:pt x="869" y="304"/>
                  </a:lnTo>
                  <a:lnTo>
                    <a:pt x="869" y="362"/>
                  </a:lnTo>
                  <a:lnTo>
                    <a:pt x="869" y="421"/>
                  </a:lnTo>
                  <a:lnTo>
                    <a:pt x="869" y="479"/>
                  </a:lnTo>
                  <a:lnTo>
                    <a:pt x="869" y="535"/>
                  </a:lnTo>
                  <a:lnTo>
                    <a:pt x="869" y="593"/>
                  </a:lnTo>
                  <a:lnTo>
                    <a:pt x="869" y="649"/>
                  </a:lnTo>
                  <a:lnTo>
                    <a:pt x="869" y="687"/>
                  </a:lnTo>
                  <a:lnTo>
                    <a:pt x="869" y="740"/>
                  </a:lnTo>
                  <a:lnTo>
                    <a:pt x="869" y="799"/>
                  </a:lnTo>
                  <a:lnTo>
                    <a:pt x="817" y="799"/>
                  </a:lnTo>
                  <a:lnTo>
                    <a:pt x="817" y="832"/>
                  </a:lnTo>
                  <a:lnTo>
                    <a:pt x="808" y="831"/>
                  </a:lnTo>
                  <a:lnTo>
                    <a:pt x="761" y="807"/>
                  </a:lnTo>
                  <a:lnTo>
                    <a:pt x="715" y="783"/>
                  </a:lnTo>
                  <a:lnTo>
                    <a:pt x="667" y="759"/>
                  </a:lnTo>
                  <a:lnTo>
                    <a:pt x="620" y="734"/>
                  </a:lnTo>
                  <a:lnTo>
                    <a:pt x="573" y="709"/>
                  </a:lnTo>
                  <a:lnTo>
                    <a:pt x="527" y="685"/>
                  </a:lnTo>
                  <a:lnTo>
                    <a:pt x="480" y="659"/>
                  </a:lnTo>
                  <a:lnTo>
                    <a:pt x="433" y="635"/>
                  </a:lnTo>
                  <a:lnTo>
                    <a:pt x="387" y="610"/>
                  </a:lnTo>
                  <a:lnTo>
                    <a:pt x="376" y="605"/>
                  </a:lnTo>
                  <a:lnTo>
                    <a:pt x="326" y="622"/>
                  </a:lnTo>
                  <a:lnTo>
                    <a:pt x="320" y="625"/>
                  </a:lnTo>
                  <a:lnTo>
                    <a:pt x="303" y="630"/>
                  </a:lnTo>
                  <a:lnTo>
                    <a:pt x="297" y="620"/>
                  </a:lnTo>
                  <a:lnTo>
                    <a:pt x="293" y="616"/>
                  </a:lnTo>
                  <a:lnTo>
                    <a:pt x="278" y="609"/>
                  </a:lnTo>
                  <a:lnTo>
                    <a:pt x="275" y="605"/>
                  </a:lnTo>
                  <a:lnTo>
                    <a:pt x="270" y="601"/>
                  </a:lnTo>
                  <a:lnTo>
                    <a:pt x="261" y="599"/>
                  </a:lnTo>
                  <a:lnTo>
                    <a:pt x="222" y="595"/>
                  </a:lnTo>
                  <a:lnTo>
                    <a:pt x="179" y="596"/>
                  </a:lnTo>
                  <a:lnTo>
                    <a:pt x="148" y="594"/>
                  </a:lnTo>
                  <a:lnTo>
                    <a:pt x="145" y="595"/>
                  </a:lnTo>
                  <a:lnTo>
                    <a:pt x="140" y="59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22" name="Western Sahara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gray">
            <a:xfrm>
              <a:off x="4018329" y="3892436"/>
              <a:ext cx="215335" cy="187248"/>
            </a:xfrm>
            <a:custGeom>
              <a:avLst/>
              <a:gdLst/>
              <a:ahLst/>
              <a:cxnLst>
                <a:cxn ang="0">
                  <a:pos x="196" y="379"/>
                </a:cxn>
                <a:cxn ang="0">
                  <a:pos x="148" y="379"/>
                </a:cxn>
                <a:cxn ang="0">
                  <a:pos x="96" y="379"/>
                </a:cxn>
                <a:cxn ang="0">
                  <a:pos x="45" y="379"/>
                </a:cxn>
                <a:cxn ang="0">
                  <a:pos x="16" y="379"/>
                </a:cxn>
                <a:cxn ang="0">
                  <a:pos x="14" y="385"/>
                </a:cxn>
                <a:cxn ang="0">
                  <a:pos x="6" y="392"/>
                </a:cxn>
                <a:cxn ang="0">
                  <a:pos x="2" y="397"/>
                </a:cxn>
                <a:cxn ang="0">
                  <a:pos x="5" y="396"/>
                </a:cxn>
                <a:cxn ang="0">
                  <a:pos x="0" y="401"/>
                </a:cxn>
                <a:cxn ang="0">
                  <a:pos x="0" y="392"/>
                </a:cxn>
                <a:cxn ang="0">
                  <a:pos x="5" y="355"/>
                </a:cxn>
                <a:cxn ang="0">
                  <a:pos x="16" y="329"/>
                </a:cxn>
                <a:cxn ang="0">
                  <a:pos x="28" y="323"/>
                </a:cxn>
                <a:cxn ang="0">
                  <a:pos x="40" y="296"/>
                </a:cxn>
                <a:cxn ang="0">
                  <a:pos x="48" y="284"/>
                </a:cxn>
                <a:cxn ang="0">
                  <a:pos x="45" y="275"/>
                </a:cxn>
                <a:cxn ang="0">
                  <a:pos x="65" y="246"/>
                </a:cxn>
                <a:cxn ang="0">
                  <a:pos x="69" y="240"/>
                </a:cxn>
                <a:cxn ang="0">
                  <a:pos x="71" y="229"/>
                </a:cxn>
                <a:cxn ang="0">
                  <a:pos x="76" y="221"/>
                </a:cxn>
                <a:cxn ang="0">
                  <a:pos x="105" y="188"/>
                </a:cxn>
                <a:cxn ang="0">
                  <a:pos x="120" y="164"/>
                </a:cxn>
                <a:cxn ang="0">
                  <a:pos x="123" y="145"/>
                </a:cxn>
                <a:cxn ang="0">
                  <a:pos x="132" y="122"/>
                </a:cxn>
                <a:cxn ang="0">
                  <a:pos x="139" y="100"/>
                </a:cxn>
                <a:cxn ang="0">
                  <a:pos x="155" y="80"/>
                </a:cxn>
                <a:cxn ang="0">
                  <a:pos x="174" y="70"/>
                </a:cxn>
                <a:cxn ang="0">
                  <a:pos x="190" y="57"/>
                </a:cxn>
                <a:cxn ang="0">
                  <a:pos x="196" y="38"/>
                </a:cxn>
                <a:cxn ang="0">
                  <a:pos x="199" y="33"/>
                </a:cxn>
                <a:cxn ang="0">
                  <a:pos x="204" y="22"/>
                </a:cxn>
                <a:cxn ang="0">
                  <a:pos x="213" y="6"/>
                </a:cxn>
                <a:cxn ang="0">
                  <a:pos x="218" y="0"/>
                </a:cxn>
                <a:cxn ang="0">
                  <a:pos x="227" y="0"/>
                </a:cxn>
                <a:cxn ang="0">
                  <a:pos x="261" y="0"/>
                </a:cxn>
                <a:cxn ang="0">
                  <a:pos x="297" y="0"/>
                </a:cxn>
                <a:cxn ang="0">
                  <a:pos x="338" y="0"/>
                </a:cxn>
                <a:cxn ang="0">
                  <a:pos x="379" y="0"/>
                </a:cxn>
                <a:cxn ang="0">
                  <a:pos x="422" y="0"/>
                </a:cxn>
                <a:cxn ang="0">
                  <a:pos x="459" y="0"/>
                </a:cxn>
                <a:cxn ang="0">
                  <a:pos x="459" y="32"/>
                </a:cxn>
                <a:cxn ang="0">
                  <a:pos x="459" y="102"/>
                </a:cxn>
                <a:cxn ang="0">
                  <a:pos x="405" y="102"/>
                </a:cxn>
                <a:cxn ang="0">
                  <a:pos x="352" y="102"/>
                </a:cxn>
                <a:cxn ang="0">
                  <a:pos x="299" y="102"/>
                </a:cxn>
                <a:cxn ang="0">
                  <a:pos x="281" y="102"/>
                </a:cxn>
                <a:cxn ang="0">
                  <a:pos x="281" y="160"/>
                </a:cxn>
                <a:cxn ang="0">
                  <a:pos x="281" y="219"/>
                </a:cxn>
                <a:cxn ang="0">
                  <a:pos x="281" y="254"/>
                </a:cxn>
                <a:cxn ang="0">
                  <a:pos x="261" y="261"/>
                </a:cxn>
                <a:cxn ang="0">
                  <a:pos x="244" y="263"/>
                </a:cxn>
                <a:cxn ang="0">
                  <a:pos x="228" y="268"/>
                </a:cxn>
                <a:cxn ang="0">
                  <a:pos x="223" y="272"/>
                </a:cxn>
                <a:cxn ang="0">
                  <a:pos x="220" y="277"/>
                </a:cxn>
                <a:cxn ang="0">
                  <a:pos x="215" y="288"/>
                </a:cxn>
                <a:cxn ang="0">
                  <a:pos x="213" y="296"/>
                </a:cxn>
                <a:cxn ang="0">
                  <a:pos x="215" y="322"/>
                </a:cxn>
                <a:cxn ang="0">
                  <a:pos x="218" y="342"/>
                </a:cxn>
                <a:cxn ang="0">
                  <a:pos x="218" y="363"/>
                </a:cxn>
                <a:cxn ang="0">
                  <a:pos x="222" y="379"/>
                </a:cxn>
                <a:cxn ang="0">
                  <a:pos x="196" y="379"/>
                </a:cxn>
              </a:cxnLst>
              <a:rect l="0" t="0" r="r" b="b"/>
              <a:pathLst>
                <a:path w="459" h="401">
                  <a:moveTo>
                    <a:pt x="196" y="379"/>
                  </a:moveTo>
                  <a:lnTo>
                    <a:pt x="148" y="379"/>
                  </a:lnTo>
                  <a:lnTo>
                    <a:pt x="96" y="379"/>
                  </a:lnTo>
                  <a:lnTo>
                    <a:pt x="45" y="379"/>
                  </a:lnTo>
                  <a:lnTo>
                    <a:pt x="16" y="379"/>
                  </a:lnTo>
                  <a:lnTo>
                    <a:pt x="14" y="385"/>
                  </a:lnTo>
                  <a:lnTo>
                    <a:pt x="6" y="392"/>
                  </a:lnTo>
                  <a:lnTo>
                    <a:pt x="2" y="397"/>
                  </a:lnTo>
                  <a:lnTo>
                    <a:pt x="5" y="396"/>
                  </a:lnTo>
                  <a:lnTo>
                    <a:pt x="0" y="401"/>
                  </a:lnTo>
                  <a:lnTo>
                    <a:pt x="0" y="392"/>
                  </a:lnTo>
                  <a:lnTo>
                    <a:pt x="5" y="355"/>
                  </a:lnTo>
                  <a:lnTo>
                    <a:pt x="16" y="329"/>
                  </a:lnTo>
                  <a:lnTo>
                    <a:pt x="28" y="323"/>
                  </a:lnTo>
                  <a:lnTo>
                    <a:pt x="40" y="296"/>
                  </a:lnTo>
                  <a:lnTo>
                    <a:pt x="48" y="284"/>
                  </a:lnTo>
                  <a:lnTo>
                    <a:pt x="45" y="275"/>
                  </a:lnTo>
                  <a:lnTo>
                    <a:pt x="65" y="246"/>
                  </a:lnTo>
                  <a:lnTo>
                    <a:pt x="69" y="240"/>
                  </a:lnTo>
                  <a:lnTo>
                    <a:pt x="71" y="229"/>
                  </a:lnTo>
                  <a:lnTo>
                    <a:pt x="76" y="221"/>
                  </a:lnTo>
                  <a:lnTo>
                    <a:pt x="105" y="188"/>
                  </a:lnTo>
                  <a:lnTo>
                    <a:pt x="120" y="164"/>
                  </a:lnTo>
                  <a:lnTo>
                    <a:pt x="123" y="145"/>
                  </a:lnTo>
                  <a:lnTo>
                    <a:pt x="132" y="122"/>
                  </a:lnTo>
                  <a:lnTo>
                    <a:pt x="139" y="100"/>
                  </a:lnTo>
                  <a:lnTo>
                    <a:pt x="155" y="80"/>
                  </a:lnTo>
                  <a:lnTo>
                    <a:pt x="174" y="70"/>
                  </a:lnTo>
                  <a:lnTo>
                    <a:pt x="190" y="57"/>
                  </a:lnTo>
                  <a:lnTo>
                    <a:pt x="196" y="38"/>
                  </a:lnTo>
                  <a:lnTo>
                    <a:pt x="199" y="33"/>
                  </a:lnTo>
                  <a:lnTo>
                    <a:pt x="204" y="22"/>
                  </a:lnTo>
                  <a:lnTo>
                    <a:pt x="213" y="6"/>
                  </a:lnTo>
                  <a:lnTo>
                    <a:pt x="218" y="0"/>
                  </a:lnTo>
                  <a:lnTo>
                    <a:pt x="227" y="0"/>
                  </a:lnTo>
                  <a:lnTo>
                    <a:pt x="261" y="0"/>
                  </a:lnTo>
                  <a:lnTo>
                    <a:pt x="297" y="0"/>
                  </a:lnTo>
                  <a:lnTo>
                    <a:pt x="338" y="0"/>
                  </a:lnTo>
                  <a:lnTo>
                    <a:pt x="379" y="0"/>
                  </a:lnTo>
                  <a:lnTo>
                    <a:pt x="422" y="0"/>
                  </a:lnTo>
                  <a:lnTo>
                    <a:pt x="459" y="0"/>
                  </a:lnTo>
                  <a:lnTo>
                    <a:pt x="459" y="32"/>
                  </a:lnTo>
                  <a:lnTo>
                    <a:pt x="459" y="102"/>
                  </a:lnTo>
                  <a:lnTo>
                    <a:pt x="405" y="102"/>
                  </a:lnTo>
                  <a:lnTo>
                    <a:pt x="352" y="102"/>
                  </a:lnTo>
                  <a:lnTo>
                    <a:pt x="299" y="102"/>
                  </a:lnTo>
                  <a:lnTo>
                    <a:pt x="281" y="102"/>
                  </a:lnTo>
                  <a:lnTo>
                    <a:pt x="281" y="160"/>
                  </a:lnTo>
                  <a:lnTo>
                    <a:pt x="281" y="219"/>
                  </a:lnTo>
                  <a:lnTo>
                    <a:pt x="281" y="254"/>
                  </a:lnTo>
                  <a:lnTo>
                    <a:pt x="261" y="261"/>
                  </a:lnTo>
                  <a:lnTo>
                    <a:pt x="244" y="263"/>
                  </a:lnTo>
                  <a:lnTo>
                    <a:pt x="228" y="268"/>
                  </a:lnTo>
                  <a:lnTo>
                    <a:pt x="223" y="272"/>
                  </a:lnTo>
                  <a:lnTo>
                    <a:pt x="220" y="277"/>
                  </a:lnTo>
                  <a:lnTo>
                    <a:pt x="215" y="288"/>
                  </a:lnTo>
                  <a:lnTo>
                    <a:pt x="213" y="296"/>
                  </a:lnTo>
                  <a:lnTo>
                    <a:pt x="215" y="322"/>
                  </a:lnTo>
                  <a:lnTo>
                    <a:pt x="218" y="342"/>
                  </a:lnTo>
                  <a:lnTo>
                    <a:pt x="218" y="363"/>
                  </a:lnTo>
                  <a:lnTo>
                    <a:pt x="222" y="379"/>
                  </a:lnTo>
                  <a:lnTo>
                    <a:pt x="196" y="37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23" name="Swaziland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gray">
            <a:xfrm>
              <a:off x="5244804" y="5308499"/>
              <a:ext cx="30428" cy="42131"/>
            </a:xfrm>
            <a:custGeom>
              <a:avLst/>
              <a:gdLst/>
              <a:ahLst/>
              <a:cxnLst>
                <a:cxn ang="0">
                  <a:pos x="67" y="63"/>
                </a:cxn>
                <a:cxn ang="0">
                  <a:pos x="65" y="35"/>
                </a:cxn>
                <a:cxn ang="0">
                  <a:pos x="65" y="14"/>
                </a:cxn>
                <a:cxn ang="0">
                  <a:pos x="63" y="6"/>
                </a:cxn>
                <a:cxn ang="0">
                  <a:pos x="56" y="15"/>
                </a:cxn>
                <a:cxn ang="0">
                  <a:pos x="33" y="0"/>
                </a:cxn>
                <a:cxn ang="0">
                  <a:pos x="19" y="9"/>
                </a:cxn>
                <a:cxn ang="0">
                  <a:pos x="12" y="21"/>
                </a:cxn>
                <a:cxn ang="0">
                  <a:pos x="4" y="38"/>
                </a:cxn>
                <a:cxn ang="0">
                  <a:pos x="0" y="54"/>
                </a:cxn>
                <a:cxn ang="0">
                  <a:pos x="2" y="67"/>
                </a:cxn>
                <a:cxn ang="0">
                  <a:pos x="12" y="86"/>
                </a:cxn>
                <a:cxn ang="0">
                  <a:pos x="35" y="89"/>
                </a:cxn>
                <a:cxn ang="0">
                  <a:pos x="47" y="90"/>
                </a:cxn>
                <a:cxn ang="0">
                  <a:pos x="55" y="81"/>
                </a:cxn>
                <a:cxn ang="0">
                  <a:pos x="61" y="67"/>
                </a:cxn>
                <a:cxn ang="0">
                  <a:pos x="67" y="63"/>
                </a:cxn>
              </a:cxnLst>
              <a:rect l="0" t="0" r="r" b="b"/>
              <a:pathLst>
                <a:path w="67" h="90">
                  <a:moveTo>
                    <a:pt x="67" y="63"/>
                  </a:moveTo>
                  <a:lnTo>
                    <a:pt x="65" y="35"/>
                  </a:lnTo>
                  <a:lnTo>
                    <a:pt x="65" y="14"/>
                  </a:lnTo>
                  <a:lnTo>
                    <a:pt x="63" y="6"/>
                  </a:lnTo>
                  <a:lnTo>
                    <a:pt x="56" y="15"/>
                  </a:lnTo>
                  <a:lnTo>
                    <a:pt x="33" y="0"/>
                  </a:lnTo>
                  <a:lnTo>
                    <a:pt x="19" y="9"/>
                  </a:lnTo>
                  <a:lnTo>
                    <a:pt x="12" y="21"/>
                  </a:lnTo>
                  <a:lnTo>
                    <a:pt x="4" y="38"/>
                  </a:lnTo>
                  <a:lnTo>
                    <a:pt x="0" y="54"/>
                  </a:lnTo>
                  <a:lnTo>
                    <a:pt x="2" y="67"/>
                  </a:lnTo>
                  <a:lnTo>
                    <a:pt x="12" y="86"/>
                  </a:lnTo>
                  <a:lnTo>
                    <a:pt x="35" y="89"/>
                  </a:lnTo>
                  <a:lnTo>
                    <a:pt x="47" y="90"/>
                  </a:lnTo>
                  <a:lnTo>
                    <a:pt x="55" y="81"/>
                  </a:lnTo>
                  <a:lnTo>
                    <a:pt x="61" y="67"/>
                  </a:lnTo>
                  <a:lnTo>
                    <a:pt x="67" y="6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24" name="South African Republic"/>
            <p:cNvSpPr>
              <a:spLocks noChangeAspect="1"/>
            </p:cNvSpPr>
            <p:nvPr>
              <p:custDataLst>
                <p:tags r:id="rId24"/>
              </p:custDataLst>
            </p:nvPr>
          </p:nvSpPr>
          <p:spPr bwMode="gray">
            <a:xfrm>
              <a:off x="4874989" y="5205513"/>
              <a:ext cx="421308" cy="369815"/>
            </a:xfrm>
            <a:custGeom>
              <a:avLst/>
              <a:gdLst/>
              <a:ahLst/>
              <a:cxnLst>
                <a:cxn ang="0">
                  <a:pos x="188" y="334"/>
                </a:cxn>
                <a:cxn ang="0">
                  <a:pos x="157" y="406"/>
                </a:cxn>
                <a:cxn ang="0">
                  <a:pos x="101" y="418"/>
                </a:cxn>
                <a:cxn ang="0">
                  <a:pos x="59" y="396"/>
                </a:cxn>
                <a:cxn ang="0">
                  <a:pos x="8" y="398"/>
                </a:cxn>
                <a:cxn ang="0">
                  <a:pos x="1" y="411"/>
                </a:cxn>
                <a:cxn ang="0">
                  <a:pos x="37" y="491"/>
                </a:cxn>
                <a:cxn ang="0">
                  <a:pos x="70" y="562"/>
                </a:cxn>
                <a:cxn ang="0">
                  <a:pos x="90" y="665"/>
                </a:cxn>
                <a:cxn ang="0">
                  <a:pos x="77" y="678"/>
                </a:cxn>
                <a:cxn ang="0">
                  <a:pos x="88" y="701"/>
                </a:cxn>
                <a:cxn ang="0">
                  <a:pos x="108" y="734"/>
                </a:cxn>
                <a:cxn ang="0">
                  <a:pos x="109" y="770"/>
                </a:cxn>
                <a:cxn ang="0">
                  <a:pos x="112" y="750"/>
                </a:cxn>
                <a:cxn ang="0">
                  <a:pos x="128" y="769"/>
                </a:cxn>
                <a:cxn ang="0">
                  <a:pos x="155" y="782"/>
                </a:cxn>
                <a:cxn ang="0">
                  <a:pos x="195" y="791"/>
                </a:cxn>
                <a:cxn ang="0">
                  <a:pos x="236" y="771"/>
                </a:cxn>
                <a:cxn ang="0">
                  <a:pos x="287" y="771"/>
                </a:cxn>
                <a:cxn ang="0">
                  <a:pos x="311" y="753"/>
                </a:cxn>
                <a:cxn ang="0">
                  <a:pos x="365" y="753"/>
                </a:cxn>
                <a:cxn ang="0">
                  <a:pos x="408" y="746"/>
                </a:cxn>
                <a:cxn ang="0">
                  <a:pos x="479" y="743"/>
                </a:cxn>
                <a:cxn ang="0">
                  <a:pos x="505" y="733"/>
                </a:cxn>
                <a:cxn ang="0">
                  <a:pos x="553" y="727"/>
                </a:cxn>
                <a:cxn ang="0">
                  <a:pos x="633" y="679"/>
                </a:cxn>
                <a:cxn ang="0">
                  <a:pos x="705" y="600"/>
                </a:cxn>
                <a:cxn ang="0">
                  <a:pos x="765" y="533"/>
                </a:cxn>
                <a:cxn ang="0">
                  <a:pos x="804" y="465"/>
                </a:cxn>
                <a:cxn ang="0">
                  <a:pos x="836" y="420"/>
                </a:cxn>
                <a:cxn ang="0">
                  <a:pos x="881" y="357"/>
                </a:cxn>
                <a:cxn ang="0">
                  <a:pos x="894" y="305"/>
                </a:cxn>
                <a:cxn ang="0">
                  <a:pos x="856" y="281"/>
                </a:cxn>
                <a:cxn ang="0">
                  <a:pos x="824" y="307"/>
                </a:cxn>
                <a:cxn ang="0">
                  <a:pos x="793" y="256"/>
                </a:cxn>
                <a:cxn ang="0">
                  <a:pos x="845" y="233"/>
                </a:cxn>
                <a:cxn ang="0">
                  <a:pos x="830" y="55"/>
                </a:cxn>
                <a:cxn ang="0">
                  <a:pos x="807" y="17"/>
                </a:cxn>
                <a:cxn ang="0">
                  <a:pos x="749" y="9"/>
                </a:cxn>
                <a:cxn ang="0">
                  <a:pos x="704" y="8"/>
                </a:cxn>
                <a:cxn ang="0">
                  <a:pos x="625" y="57"/>
                </a:cxn>
                <a:cxn ang="0">
                  <a:pos x="558" y="129"/>
                </a:cxn>
                <a:cxn ang="0">
                  <a:pos x="496" y="207"/>
                </a:cxn>
                <a:cxn ang="0">
                  <a:pos x="437" y="217"/>
                </a:cxn>
                <a:cxn ang="0">
                  <a:pos x="376" y="201"/>
                </a:cxn>
                <a:cxn ang="0">
                  <a:pos x="339" y="248"/>
                </a:cxn>
                <a:cxn ang="0">
                  <a:pos x="277" y="286"/>
                </a:cxn>
                <a:cxn ang="0">
                  <a:pos x="230" y="271"/>
                </a:cxn>
                <a:cxn ang="0">
                  <a:pos x="238" y="213"/>
                </a:cxn>
                <a:cxn ang="0">
                  <a:pos x="200" y="170"/>
                </a:cxn>
              </a:cxnLst>
              <a:rect l="0" t="0" r="r" b="b"/>
              <a:pathLst>
                <a:path w="898" h="791">
                  <a:moveTo>
                    <a:pt x="188" y="161"/>
                  </a:moveTo>
                  <a:lnTo>
                    <a:pt x="188" y="216"/>
                  </a:lnTo>
                  <a:lnTo>
                    <a:pt x="188" y="275"/>
                  </a:lnTo>
                  <a:lnTo>
                    <a:pt x="188" y="334"/>
                  </a:lnTo>
                  <a:lnTo>
                    <a:pt x="188" y="390"/>
                  </a:lnTo>
                  <a:lnTo>
                    <a:pt x="182" y="394"/>
                  </a:lnTo>
                  <a:lnTo>
                    <a:pt x="171" y="396"/>
                  </a:lnTo>
                  <a:lnTo>
                    <a:pt x="157" y="406"/>
                  </a:lnTo>
                  <a:lnTo>
                    <a:pt x="141" y="421"/>
                  </a:lnTo>
                  <a:lnTo>
                    <a:pt x="129" y="421"/>
                  </a:lnTo>
                  <a:lnTo>
                    <a:pt x="120" y="418"/>
                  </a:lnTo>
                  <a:lnTo>
                    <a:pt x="101" y="418"/>
                  </a:lnTo>
                  <a:lnTo>
                    <a:pt x="86" y="423"/>
                  </a:lnTo>
                  <a:lnTo>
                    <a:pt x="70" y="421"/>
                  </a:lnTo>
                  <a:lnTo>
                    <a:pt x="59" y="409"/>
                  </a:lnTo>
                  <a:lnTo>
                    <a:pt x="59" y="396"/>
                  </a:lnTo>
                  <a:lnTo>
                    <a:pt x="33" y="378"/>
                  </a:lnTo>
                  <a:lnTo>
                    <a:pt x="21" y="379"/>
                  </a:lnTo>
                  <a:lnTo>
                    <a:pt x="15" y="390"/>
                  </a:lnTo>
                  <a:lnTo>
                    <a:pt x="8" y="398"/>
                  </a:lnTo>
                  <a:lnTo>
                    <a:pt x="5" y="400"/>
                  </a:lnTo>
                  <a:lnTo>
                    <a:pt x="0" y="401"/>
                  </a:lnTo>
                  <a:lnTo>
                    <a:pt x="2" y="405"/>
                  </a:lnTo>
                  <a:lnTo>
                    <a:pt x="1" y="411"/>
                  </a:lnTo>
                  <a:lnTo>
                    <a:pt x="5" y="416"/>
                  </a:lnTo>
                  <a:lnTo>
                    <a:pt x="13" y="426"/>
                  </a:lnTo>
                  <a:lnTo>
                    <a:pt x="28" y="464"/>
                  </a:lnTo>
                  <a:lnTo>
                    <a:pt x="37" y="491"/>
                  </a:lnTo>
                  <a:lnTo>
                    <a:pt x="51" y="528"/>
                  </a:lnTo>
                  <a:lnTo>
                    <a:pt x="59" y="536"/>
                  </a:lnTo>
                  <a:lnTo>
                    <a:pt x="64" y="552"/>
                  </a:lnTo>
                  <a:lnTo>
                    <a:pt x="70" y="562"/>
                  </a:lnTo>
                  <a:lnTo>
                    <a:pt x="91" y="595"/>
                  </a:lnTo>
                  <a:lnTo>
                    <a:pt x="97" y="608"/>
                  </a:lnTo>
                  <a:lnTo>
                    <a:pt x="99" y="648"/>
                  </a:lnTo>
                  <a:lnTo>
                    <a:pt x="90" y="665"/>
                  </a:lnTo>
                  <a:lnTo>
                    <a:pt x="78" y="660"/>
                  </a:lnTo>
                  <a:lnTo>
                    <a:pt x="76" y="667"/>
                  </a:lnTo>
                  <a:lnTo>
                    <a:pt x="75" y="678"/>
                  </a:lnTo>
                  <a:lnTo>
                    <a:pt x="77" y="678"/>
                  </a:lnTo>
                  <a:lnTo>
                    <a:pt x="85" y="683"/>
                  </a:lnTo>
                  <a:lnTo>
                    <a:pt x="87" y="690"/>
                  </a:lnTo>
                  <a:lnTo>
                    <a:pt x="83" y="691"/>
                  </a:lnTo>
                  <a:lnTo>
                    <a:pt x="88" y="701"/>
                  </a:lnTo>
                  <a:lnTo>
                    <a:pt x="93" y="705"/>
                  </a:lnTo>
                  <a:lnTo>
                    <a:pt x="99" y="716"/>
                  </a:lnTo>
                  <a:lnTo>
                    <a:pt x="107" y="726"/>
                  </a:lnTo>
                  <a:lnTo>
                    <a:pt x="108" y="734"/>
                  </a:lnTo>
                  <a:lnTo>
                    <a:pt x="103" y="742"/>
                  </a:lnTo>
                  <a:lnTo>
                    <a:pt x="103" y="749"/>
                  </a:lnTo>
                  <a:lnTo>
                    <a:pt x="103" y="760"/>
                  </a:lnTo>
                  <a:lnTo>
                    <a:pt x="109" y="770"/>
                  </a:lnTo>
                  <a:lnTo>
                    <a:pt x="110" y="769"/>
                  </a:lnTo>
                  <a:lnTo>
                    <a:pt x="109" y="761"/>
                  </a:lnTo>
                  <a:lnTo>
                    <a:pt x="109" y="754"/>
                  </a:lnTo>
                  <a:lnTo>
                    <a:pt x="112" y="750"/>
                  </a:lnTo>
                  <a:lnTo>
                    <a:pt x="119" y="749"/>
                  </a:lnTo>
                  <a:lnTo>
                    <a:pt x="128" y="750"/>
                  </a:lnTo>
                  <a:lnTo>
                    <a:pt x="129" y="762"/>
                  </a:lnTo>
                  <a:lnTo>
                    <a:pt x="128" y="769"/>
                  </a:lnTo>
                  <a:lnTo>
                    <a:pt x="133" y="771"/>
                  </a:lnTo>
                  <a:lnTo>
                    <a:pt x="151" y="770"/>
                  </a:lnTo>
                  <a:lnTo>
                    <a:pt x="156" y="775"/>
                  </a:lnTo>
                  <a:lnTo>
                    <a:pt x="155" y="782"/>
                  </a:lnTo>
                  <a:lnTo>
                    <a:pt x="166" y="788"/>
                  </a:lnTo>
                  <a:lnTo>
                    <a:pt x="174" y="788"/>
                  </a:lnTo>
                  <a:lnTo>
                    <a:pt x="183" y="791"/>
                  </a:lnTo>
                  <a:lnTo>
                    <a:pt x="195" y="791"/>
                  </a:lnTo>
                  <a:lnTo>
                    <a:pt x="204" y="788"/>
                  </a:lnTo>
                  <a:lnTo>
                    <a:pt x="214" y="776"/>
                  </a:lnTo>
                  <a:lnTo>
                    <a:pt x="232" y="775"/>
                  </a:lnTo>
                  <a:lnTo>
                    <a:pt x="236" y="771"/>
                  </a:lnTo>
                  <a:lnTo>
                    <a:pt x="244" y="770"/>
                  </a:lnTo>
                  <a:lnTo>
                    <a:pt x="264" y="772"/>
                  </a:lnTo>
                  <a:lnTo>
                    <a:pt x="266" y="769"/>
                  </a:lnTo>
                  <a:lnTo>
                    <a:pt x="287" y="771"/>
                  </a:lnTo>
                  <a:lnTo>
                    <a:pt x="293" y="769"/>
                  </a:lnTo>
                  <a:lnTo>
                    <a:pt x="296" y="761"/>
                  </a:lnTo>
                  <a:lnTo>
                    <a:pt x="305" y="758"/>
                  </a:lnTo>
                  <a:lnTo>
                    <a:pt x="311" y="753"/>
                  </a:lnTo>
                  <a:lnTo>
                    <a:pt x="316" y="748"/>
                  </a:lnTo>
                  <a:lnTo>
                    <a:pt x="333" y="745"/>
                  </a:lnTo>
                  <a:lnTo>
                    <a:pt x="341" y="746"/>
                  </a:lnTo>
                  <a:lnTo>
                    <a:pt x="365" y="753"/>
                  </a:lnTo>
                  <a:lnTo>
                    <a:pt x="372" y="753"/>
                  </a:lnTo>
                  <a:lnTo>
                    <a:pt x="381" y="745"/>
                  </a:lnTo>
                  <a:lnTo>
                    <a:pt x="394" y="744"/>
                  </a:lnTo>
                  <a:lnTo>
                    <a:pt x="408" y="746"/>
                  </a:lnTo>
                  <a:lnTo>
                    <a:pt x="446" y="758"/>
                  </a:lnTo>
                  <a:lnTo>
                    <a:pt x="459" y="758"/>
                  </a:lnTo>
                  <a:lnTo>
                    <a:pt x="467" y="744"/>
                  </a:lnTo>
                  <a:lnTo>
                    <a:pt x="479" y="743"/>
                  </a:lnTo>
                  <a:lnTo>
                    <a:pt x="491" y="748"/>
                  </a:lnTo>
                  <a:lnTo>
                    <a:pt x="507" y="749"/>
                  </a:lnTo>
                  <a:lnTo>
                    <a:pt x="508" y="743"/>
                  </a:lnTo>
                  <a:lnTo>
                    <a:pt x="505" y="733"/>
                  </a:lnTo>
                  <a:lnTo>
                    <a:pt x="512" y="728"/>
                  </a:lnTo>
                  <a:lnTo>
                    <a:pt x="519" y="727"/>
                  </a:lnTo>
                  <a:lnTo>
                    <a:pt x="532" y="726"/>
                  </a:lnTo>
                  <a:lnTo>
                    <a:pt x="553" y="727"/>
                  </a:lnTo>
                  <a:lnTo>
                    <a:pt x="564" y="726"/>
                  </a:lnTo>
                  <a:lnTo>
                    <a:pt x="586" y="715"/>
                  </a:lnTo>
                  <a:lnTo>
                    <a:pt x="623" y="689"/>
                  </a:lnTo>
                  <a:lnTo>
                    <a:pt x="633" y="679"/>
                  </a:lnTo>
                  <a:lnTo>
                    <a:pt x="642" y="668"/>
                  </a:lnTo>
                  <a:lnTo>
                    <a:pt x="663" y="652"/>
                  </a:lnTo>
                  <a:lnTo>
                    <a:pt x="689" y="624"/>
                  </a:lnTo>
                  <a:lnTo>
                    <a:pt x="705" y="600"/>
                  </a:lnTo>
                  <a:lnTo>
                    <a:pt x="714" y="589"/>
                  </a:lnTo>
                  <a:lnTo>
                    <a:pt x="723" y="582"/>
                  </a:lnTo>
                  <a:lnTo>
                    <a:pt x="747" y="561"/>
                  </a:lnTo>
                  <a:lnTo>
                    <a:pt x="765" y="533"/>
                  </a:lnTo>
                  <a:lnTo>
                    <a:pt x="774" y="520"/>
                  </a:lnTo>
                  <a:lnTo>
                    <a:pt x="796" y="480"/>
                  </a:lnTo>
                  <a:lnTo>
                    <a:pt x="800" y="473"/>
                  </a:lnTo>
                  <a:lnTo>
                    <a:pt x="804" y="465"/>
                  </a:lnTo>
                  <a:lnTo>
                    <a:pt x="808" y="454"/>
                  </a:lnTo>
                  <a:lnTo>
                    <a:pt x="819" y="437"/>
                  </a:lnTo>
                  <a:lnTo>
                    <a:pt x="828" y="426"/>
                  </a:lnTo>
                  <a:lnTo>
                    <a:pt x="836" y="420"/>
                  </a:lnTo>
                  <a:lnTo>
                    <a:pt x="846" y="417"/>
                  </a:lnTo>
                  <a:lnTo>
                    <a:pt x="866" y="401"/>
                  </a:lnTo>
                  <a:lnTo>
                    <a:pt x="875" y="388"/>
                  </a:lnTo>
                  <a:lnTo>
                    <a:pt x="881" y="357"/>
                  </a:lnTo>
                  <a:lnTo>
                    <a:pt x="886" y="345"/>
                  </a:lnTo>
                  <a:lnTo>
                    <a:pt x="888" y="331"/>
                  </a:lnTo>
                  <a:lnTo>
                    <a:pt x="888" y="318"/>
                  </a:lnTo>
                  <a:lnTo>
                    <a:pt x="894" y="305"/>
                  </a:lnTo>
                  <a:lnTo>
                    <a:pt x="897" y="294"/>
                  </a:lnTo>
                  <a:lnTo>
                    <a:pt x="898" y="282"/>
                  </a:lnTo>
                  <a:lnTo>
                    <a:pt x="892" y="281"/>
                  </a:lnTo>
                  <a:lnTo>
                    <a:pt x="856" y="281"/>
                  </a:lnTo>
                  <a:lnTo>
                    <a:pt x="850" y="285"/>
                  </a:lnTo>
                  <a:lnTo>
                    <a:pt x="844" y="299"/>
                  </a:lnTo>
                  <a:lnTo>
                    <a:pt x="836" y="308"/>
                  </a:lnTo>
                  <a:lnTo>
                    <a:pt x="824" y="307"/>
                  </a:lnTo>
                  <a:lnTo>
                    <a:pt x="801" y="304"/>
                  </a:lnTo>
                  <a:lnTo>
                    <a:pt x="791" y="285"/>
                  </a:lnTo>
                  <a:lnTo>
                    <a:pt x="789" y="272"/>
                  </a:lnTo>
                  <a:lnTo>
                    <a:pt x="793" y="256"/>
                  </a:lnTo>
                  <a:lnTo>
                    <a:pt x="801" y="239"/>
                  </a:lnTo>
                  <a:lnTo>
                    <a:pt x="808" y="227"/>
                  </a:lnTo>
                  <a:lnTo>
                    <a:pt x="822" y="218"/>
                  </a:lnTo>
                  <a:lnTo>
                    <a:pt x="845" y="233"/>
                  </a:lnTo>
                  <a:lnTo>
                    <a:pt x="852" y="224"/>
                  </a:lnTo>
                  <a:lnTo>
                    <a:pt x="849" y="131"/>
                  </a:lnTo>
                  <a:lnTo>
                    <a:pt x="836" y="87"/>
                  </a:lnTo>
                  <a:lnTo>
                    <a:pt x="830" y="55"/>
                  </a:lnTo>
                  <a:lnTo>
                    <a:pt x="828" y="34"/>
                  </a:lnTo>
                  <a:lnTo>
                    <a:pt x="827" y="33"/>
                  </a:lnTo>
                  <a:lnTo>
                    <a:pt x="822" y="32"/>
                  </a:lnTo>
                  <a:lnTo>
                    <a:pt x="807" y="17"/>
                  </a:lnTo>
                  <a:lnTo>
                    <a:pt x="786" y="11"/>
                  </a:lnTo>
                  <a:lnTo>
                    <a:pt x="774" y="9"/>
                  </a:lnTo>
                  <a:lnTo>
                    <a:pt x="761" y="12"/>
                  </a:lnTo>
                  <a:lnTo>
                    <a:pt x="749" y="9"/>
                  </a:lnTo>
                  <a:lnTo>
                    <a:pt x="726" y="2"/>
                  </a:lnTo>
                  <a:lnTo>
                    <a:pt x="717" y="0"/>
                  </a:lnTo>
                  <a:lnTo>
                    <a:pt x="705" y="5"/>
                  </a:lnTo>
                  <a:lnTo>
                    <a:pt x="704" y="8"/>
                  </a:lnTo>
                  <a:lnTo>
                    <a:pt x="693" y="13"/>
                  </a:lnTo>
                  <a:lnTo>
                    <a:pt x="679" y="22"/>
                  </a:lnTo>
                  <a:lnTo>
                    <a:pt x="641" y="40"/>
                  </a:lnTo>
                  <a:lnTo>
                    <a:pt x="625" y="57"/>
                  </a:lnTo>
                  <a:lnTo>
                    <a:pt x="605" y="70"/>
                  </a:lnTo>
                  <a:lnTo>
                    <a:pt x="586" y="88"/>
                  </a:lnTo>
                  <a:lnTo>
                    <a:pt x="575" y="104"/>
                  </a:lnTo>
                  <a:lnTo>
                    <a:pt x="558" y="129"/>
                  </a:lnTo>
                  <a:lnTo>
                    <a:pt x="531" y="148"/>
                  </a:lnTo>
                  <a:lnTo>
                    <a:pt x="516" y="167"/>
                  </a:lnTo>
                  <a:lnTo>
                    <a:pt x="501" y="201"/>
                  </a:lnTo>
                  <a:lnTo>
                    <a:pt x="496" y="207"/>
                  </a:lnTo>
                  <a:lnTo>
                    <a:pt x="488" y="211"/>
                  </a:lnTo>
                  <a:lnTo>
                    <a:pt x="477" y="212"/>
                  </a:lnTo>
                  <a:lnTo>
                    <a:pt x="452" y="218"/>
                  </a:lnTo>
                  <a:lnTo>
                    <a:pt x="437" y="217"/>
                  </a:lnTo>
                  <a:lnTo>
                    <a:pt x="414" y="204"/>
                  </a:lnTo>
                  <a:lnTo>
                    <a:pt x="402" y="199"/>
                  </a:lnTo>
                  <a:lnTo>
                    <a:pt x="388" y="197"/>
                  </a:lnTo>
                  <a:lnTo>
                    <a:pt x="376" y="201"/>
                  </a:lnTo>
                  <a:lnTo>
                    <a:pt x="357" y="221"/>
                  </a:lnTo>
                  <a:lnTo>
                    <a:pt x="351" y="229"/>
                  </a:lnTo>
                  <a:lnTo>
                    <a:pt x="348" y="237"/>
                  </a:lnTo>
                  <a:lnTo>
                    <a:pt x="339" y="248"/>
                  </a:lnTo>
                  <a:lnTo>
                    <a:pt x="327" y="255"/>
                  </a:lnTo>
                  <a:lnTo>
                    <a:pt x="322" y="260"/>
                  </a:lnTo>
                  <a:lnTo>
                    <a:pt x="312" y="277"/>
                  </a:lnTo>
                  <a:lnTo>
                    <a:pt x="277" y="286"/>
                  </a:lnTo>
                  <a:lnTo>
                    <a:pt x="259" y="285"/>
                  </a:lnTo>
                  <a:lnTo>
                    <a:pt x="243" y="282"/>
                  </a:lnTo>
                  <a:lnTo>
                    <a:pt x="233" y="280"/>
                  </a:lnTo>
                  <a:lnTo>
                    <a:pt x="230" y="271"/>
                  </a:lnTo>
                  <a:lnTo>
                    <a:pt x="237" y="250"/>
                  </a:lnTo>
                  <a:lnTo>
                    <a:pt x="239" y="237"/>
                  </a:lnTo>
                  <a:lnTo>
                    <a:pt x="239" y="231"/>
                  </a:lnTo>
                  <a:lnTo>
                    <a:pt x="238" y="213"/>
                  </a:lnTo>
                  <a:lnTo>
                    <a:pt x="231" y="201"/>
                  </a:lnTo>
                  <a:lnTo>
                    <a:pt x="217" y="190"/>
                  </a:lnTo>
                  <a:lnTo>
                    <a:pt x="212" y="181"/>
                  </a:lnTo>
                  <a:lnTo>
                    <a:pt x="200" y="170"/>
                  </a:lnTo>
                  <a:lnTo>
                    <a:pt x="198" y="167"/>
                  </a:lnTo>
                  <a:lnTo>
                    <a:pt x="192" y="161"/>
                  </a:lnTo>
                  <a:lnTo>
                    <a:pt x="188" y="16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25" name="Malawi"/>
            <p:cNvSpPr>
              <a:spLocks noChangeAspect="1"/>
            </p:cNvSpPr>
            <p:nvPr>
              <p:custDataLst>
                <p:tags r:id="rId25"/>
              </p:custDataLst>
            </p:nvPr>
          </p:nvSpPr>
          <p:spPr bwMode="gray">
            <a:xfrm>
              <a:off x="5293957" y="4868466"/>
              <a:ext cx="81921" cy="203632"/>
            </a:xfrm>
            <a:custGeom>
              <a:avLst/>
              <a:gdLst/>
              <a:ahLst/>
              <a:cxnLst>
                <a:cxn ang="0">
                  <a:pos x="61" y="11"/>
                </a:cxn>
                <a:cxn ang="0">
                  <a:pos x="42" y="14"/>
                </a:cxn>
                <a:cxn ang="0">
                  <a:pos x="25" y="8"/>
                </a:cxn>
                <a:cxn ang="0">
                  <a:pos x="13" y="8"/>
                </a:cxn>
                <a:cxn ang="0">
                  <a:pos x="25" y="15"/>
                </a:cxn>
                <a:cxn ang="0">
                  <a:pos x="37" y="40"/>
                </a:cxn>
                <a:cxn ang="0">
                  <a:pos x="50" y="65"/>
                </a:cxn>
                <a:cxn ang="0">
                  <a:pos x="42" y="80"/>
                </a:cxn>
                <a:cxn ang="0">
                  <a:pos x="35" y="94"/>
                </a:cxn>
                <a:cxn ang="0">
                  <a:pos x="31" y="127"/>
                </a:cxn>
                <a:cxn ang="0">
                  <a:pos x="31" y="159"/>
                </a:cxn>
                <a:cxn ang="0">
                  <a:pos x="41" y="172"/>
                </a:cxn>
                <a:cxn ang="0">
                  <a:pos x="24" y="181"/>
                </a:cxn>
                <a:cxn ang="0">
                  <a:pos x="14" y="198"/>
                </a:cxn>
                <a:cxn ang="0">
                  <a:pos x="2" y="235"/>
                </a:cxn>
                <a:cxn ang="0">
                  <a:pos x="8" y="248"/>
                </a:cxn>
                <a:cxn ang="0">
                  <a:pos x="23" y="257"/>
                </a:cxn>
                <a:cxn ang="0">
                  <a:pos x="30" y="263"/>
                </a:cxn>
                <a:cxn ang="0">
                  <a:pos x="51" y="289"/>
                </a:cxn>
                <a:cxn ang="0">
                  <a:pos x="93" y="284"/>
                </a:cxn>
                <a:cxn ang="0">
                  <a:pos x="101" y="310"/>
                </a:cxn>
                <a:cxn ang="0">
                  <a:pos x="94" y="343"/>
                </a:cxn>
                <a:cxn ang="0">
                  <a:pos x="86" y="365"/>
                </a:cxn>
                <a:cxn ang="0">
                  <a:pos x="97" y="388"/>
                </a:cxn>
                <a:cxn ang="0">
                  <a:pos x="112" y="404"/>
                </a:cxn>
                <a:cxn ang="0">
                  <a:pos x="128" y="414"/>
                </a:cxn>
                <a:cxn ang="0">
                  <a:pos x="127" y="429"/>
                </a:cxn>
                <a:cxn ang="0">
                  <a:pos x="142" y="430"/>
                </a:cxn>
                <a:cxn ang="0">
                  <a:pos x="139" y="409"/>
                </a:cxn>
                <a:cxn ang="0">
                  <a:pos x="139" y="392"/>
                </a:cxn>
                <a:cxn ang="0">
                  <a:pos x="153" y="377"/>
                </a:cxn>
                <a:cxn ang="0">
                  <a:pos x="169" y="368"/>
                </a:cxn>
                <a:cxn ang="0">
                  <a:pos x="169" y="325"/>
                </a:cxn>
                <a:cxn ang="0">
                  <a:pos x="172" y="295"/>
                </a:cxn>
                <a:cxn ang="0">
                  <a:pos x="148" y="266"/>
                </a:cxn>
                <a:cxn ang="0">
                  <a:pos x="116" y="230"/>
                </a:cxn>
                <a:cxn ang="0">
                  <a:pos x="116" y="242"/>
                </a:cxn>
                <a:cxn ang="0">
                  <a:pos x="126" y="250"/>
                </a:cxn>
                <a:cxn ang="0">
                  <a:pos x="134" y="282"/>
                </a:cxn>
                <a:cxn ang="0">
                  <a:pos x="121" y="269"/>
                </a:cxn>
                <a:cxn ang="0">
                  <a:pos x="115" y="262"/>
                </a:cxn>
                <a:cxn ang="0">
                  <a:pos x="102" y="272"/>
                </a:cxn>
                <a:cxn ang="0">
                  <a:pos x="97" y="261"/>
                </a:cxn>
                <a:cxn ang="0">
                  <a:pos x="100" y="245"/>
                </a:cxn>
                <a:cxn ang="0">
                  <a:pos x="89" y="231"/>
                </a:cxn>
                <a:cxn ang="0">
                  <a:pos x="85" y="208"/>
                </a:cxn>
                <a:cxn ang="0">
                  <a:pos x="68" y="159"/>
                </a:cxn>
                <a:cxn ang="0">
                  <a:pos x="79" y="140"/>
                </a:cxn>
                <a:cxn ang="0">
                  <a:pos x="79" y="70"/>
                </a:cxn>
                <a:cxn ang="0">
                  <a:pos x="78" y="51"/>
                </a:cxn>
                <a:cxn ang="0">
                  <a:pos x="63" y="32"/>
                </a:cxn>
                <a:cxn ang="0">
                  <a:pos x="69" y="10"/>
                </a:cxn>
              </a:cxnLst>
              <a:rect l="0" t="0" r="r" b="b"/>
              <a:pathLst>
                <a:path w="175" h="431">
                  <a:moveTo>
                    <a:pt x="64" y="18"/>
                  </a:moveTo>
                  <a:lnTo>
                    <a:pt x="62" y="14"/>
                  </a:lnTo>
                  <a:lnTo>
                    <a:pt x="61" y="11"/>
                  </a:lnTo>
                  <a:lnTo>
                    <a:pt x="58" y="10"/>
                  </a:lnTo>
                  <a:lnTo>
                    <a:pt x="53" y="10"/>
                  </a:lnTo>
                  <a:lnTo>
                    <a:pt x="42" y="14"/>
                  </a:lnTo>
                  <a:lnTo>
                    <a:pt x="40" y="13"/>
                  </a:lnTo>
                  <a:lnTo>
                    <a:pt x="35" y="6"/>
                  </a:lnTo>
                  <a:lnTo>
                    <a:pt x="25" y="8"/>
                  </a:lnTo>
                  <a:lnTo>
                    <a:pt x="14" y="0"/>
                  </a:lnTo>
                  <a:lnTo>
                    <a:pt x="13" y="3"/>
                  </a:lnTo>
                  <a:lnTo>
                    <a:pt x="13" y="8"/>
                  </a:lnTo>
                  <a:lnTo>
                    <a:pt x="14" y="9"/>
                  </a:lnTo>
                  <a:lnTo>
                    <a:pt x="16" y="15"/>
                  </a:lnTo>
                  <a:lnTo>
                    <a:pt x="25" y="15"/>
                  </a:lnTo>
                  <a:lnTo>
                    <a:pt x="32" y="24"/>
                  </a:lnTo>
                  <a:lnTo>
                    <a:pt x="34" y="29"/>
                  </a:lnTo>
                  <a:lnTo>
                    <a:pt x="37" y="40"/>
                  </a:lnTo>
                  <a:lnTo>
                    <a:pt x="43" y="45"/>
                  </a:lnTo>
                  <a:lnTo>
                    <a:pt x="46" y="63"/>
                  </a:lnTo>
                  <a:lnTo>
                    <a:pt x="50" y="65"/>
                  </a:lnTo>
                  <a:lnTo>
                    <a:pt x="51" y="72"/>
                  </a:lnTo>
                  <a:lnTo>
                    <a:pt x="51" y="75"/>
                  </a:lnTo>
                  <a:lnTo>
                    <a:pt x="42" y="80"/>
                  </a:lnTo>
                  <a:lnTo>
                    <a:pt x="40" y="81"/>
                  </a:lnTo>
                  <a:lnTo>
                    <a:pt x="36" y="84"/>
                  </a:lnTo>
                  <a:lnTo>
                    <a:pt x="35" y="94"/>
                  </a:lnTo>
                  <a:lnTo>
                    <a:pt x="36" y="102"/>
                  </a:lnTo>
                  <a:lnTo>
                    <a:pt x="30" y="119"/>
                  </a:lnTo>
                  <a:lnTo>
                    <a:pt x="31" y="127"/>
                  </a:lnTo>
                  <a:lnTo>
                    <a:pt x="32" y="142"/>
                  </a:lnTo>
                  <a:lnTo>
                    <a:pt x="30" y="156"/>
                  </a:lnTo>
                  <a:lnTo>
                    <a:pt x="31" y="159"/>
                  </a:lnTo>
                  <a:lnTo>
                    <a:pt x="35" y="164"/>
                  </a:lnTo>
                  <a:lnTo>
                    <a:pt x="40" y="166"/>
                  </a:lnTo>
                  <a:lnTo>
                    <a:pt x="41" y="172"/>
                  </a:lnTo>
                  <a:lnTo>
                    <a:pt x="38" y="175"/>
                  </a:lnTo>
                  <a:lnTo>
                    <a:pt x="30" y="176"/>
                  </a:lnTo>
                  <a:lnTo>
                    <a:pt x="24" y="181"/>
                  </a:lnTo>
                  <a:lnTo>
                    <a:pt x="19" y="182"/>
                  </a:lnTo>
                  <a:lnTo>
                    <a:pt x="18" y="183"/>
                  </a:lnTo>
                  <a:lnTo>
                    <a:pt x="14" y="198"/>
                  </a:lnTo>
                  <a:lnTo>
                    <a:pt x="14" y="213"/>
                  </a:lnTo>
                  <a:lnTo>
                    <a:pt x="9" y="228"/>
                  </a:lnTo>
                  <a:lnTo>
                    <a:pt x="2" y="235"/>
                  </a:lnTo>
                  <a:lnTo>
                    <a:pt x="0" y="239"/>
                  </a:lnTo>
                  <a:lnTo>
                    <a:pt x="3" y="247"/>
                  </a:lnTo>
                  <a:lnTo>
                    <a:pt x="8" y="248"/>
                  </a:lnTo>
                  <a:lnTo>
                    <a:pt x="11" y="256"/>
                  </a:lnTo>
                  <a:lnTo>
                    <a:pt x="19" y="255"/>
                  </a:lnTo>
                  <a:lnTo>
                    <a:pt x="23" y="257"/>
                  </a:lnTo>
                  <a:lnTo>
                    <a:pt x="23" y="258"/>
                  </a:lnTo>
                  <a:lnTo>
                    <a:pt x="24" y="261"/>
                  </a:lnTo>
                  <a:lnTo>
                    <a:pt x="30" y="263"/>
                  </a:lnTo>
                  <a:lnTo>
                    <a:pt x="37" y="279"/>
                  </a:lnTo>
                  <a:lnTo>
                    <a:pt x="47" y="289"/>
                  </a:lnTo>
                  <a:lnTo>
                    <a:pt x="51" y="289"/>
                  </a:lnTo>
                  <a:lnTo>
                    <a:pt x="59" y="287"/>
                  </a:lnTo>
                  <a:lnTo>
                    <a:pt x="89" y="283"/>
                  </a:lnTo>
                  <a:lnTo>
                    <a:pt x="93" y="284"/>
                  </a:lnTo>
                  <a:lnTo>
                    <a:pt x="96" y="289"/>
                  </a:lnTo>
                  <a:lnTo>
                    <a:pt x="100" y="302"/>
                  </a:lnTo>
                  <a:lnTo>
                    <a:pt x="101" y="310"/>
                  </a:lnTo>
                  <a:lnTo>
                    <a:pt x="102" y="328"/>
                  </a:lnTo>
                  <a:lnTo>
                    <a:pt x="100" y="336"/>
                  </a:lnTo>
                  <a:lnTo>
                    <a:pt x="94" y="343"/>
                  </a:lnTo>
                  <a:lnTo>
                    <a:pt x="95" y="349"/>
                  </a:lnTo>
                  <a:lnTo>
                    <a:pt x="89" y="354"/>
                  </a:lnTo>
                  <a:lnTo>
                    <a:pt x="86" y="365"/>
                  </a:lnTo>
                  <a:lnTo>
                    <a:pt x="89" y="369"/>
                  </a:lnTo>
                  <a:lnTo>
                    <a:pt x="94" y="385"/>
                  </a:lnTo>
                  <a:lnTo>
                    <a:pt x="97" y="388"/>
                  </a:lnTo>
                  <a:lnTo>
                    <a:pt x="101" y="390"/>
                  </a:lnTo>
                  <a:lnTo>
                    <a:pt x="104" y="395"/>
                  </a:lnTo>
                  <a:lnTo>
                    <a:pt x="112" y="404"/>
                  </a:lnTo>
                  <a:lnTo>
                    <a:pt x="117" y="411"/>
                  </a:lnTo>
                  <a:lnTo>
                    <a:pt x="121" y="413"/>
                  </a:lnTo>
                  <a:lnTo>
                    <a:pt x="128" y="414"/>
                  </a:lnTo>
                  <a:lnTo>
                    <a:pt x="132" y="419"/>
                  </a:lnTo>
                  <a:lnTo>
                    <a:pt x="132" y="423"/>
                  </a:lnTo>
                  <a:lnTo>
                    <a:pt x="127" y="429"/>
                  </a:lnTo>
                  <a:lnTo>
                    <a:pt x="128" y="431"/>
                  </a:lnTo>
                  <a:lnTo>
                    <a:pt x="140" y="431"/>
                  </a:lnTo>
                  <a:lnTo>
                    <a:pt x="142" y="430"/>
                  </a:lnTo>
                  <a:lnTo>
                    <a:pt x="140" y="420"/>
                  </a:lnTo>
                  <a:lnTo>
                    <a:pt x="142" y="414"/>
                  </a:lnTo>
                  <a:lnTo>
                    <a:pt x="139" y="409"/>
                  </a:lnTo>
                  <a:lnTo>
                    <a:pt x="136" y="406"/>
                  </a:lnTo>
                  <a:lnTo>
                    <a:pt x="136" y="400"/>
                  </a:lnTo>
                  <a:lnTo>
                    <a:pt x="139" y="392"/>
                  </a:lnTo>
                  <a:lnTo>
                    <a:pt x="139" y="388"/>
                  </a:lnTo>
                  <a:lnTo>
                    <a:pt x="140" y="385"/>
                  </a:lnTo>
                  <a:lnTo>
                    <a:pt x="153" y="377"/>
                  </a:lnTo>
                  <a:lnTo>
                    <a:pt x="159" y="376"/>
                  </a:lnTo>
                  <a:lnTo>
                    <a:pt x="165" y="374"/>
                  </a:lnTo>
                  <a:lnTo>
                    <a:pt x="169" y="368"/>
                  </a:lnTo>
                  <a:lnTo>
                    <a:pt x="170" y="347"/>
                  </a:lnTo>
                  <a:lnTo>
                    <a:pt x="172" y="339"/>
                  </a:lnTo>
                  <a:lnTo>
                    <a:pt x="169" y="325"/>
                  </a:lnTo>
                  <a:lnTo>
                    <a:pt x="172" y="315"/>
                  </a:lnTo>
                  <a:lnTo>
                    <a:pt x="175" y="307"/>
                  </a:lnTo>
                  <a:lnTo>
                    <a:pt x="172" y="295"/>
                  </a:lnTo>
                  <a:lnTo>
                    <a:pt x="167" y="288"/>
                  </a:lnTo>
                  <a:lnTo>
                    <a:pt x="154" y="275"/>
                  </a:lnTo>
                  <a:lnTo>
                    <a:pt x="148" y="266"/>
                  </a:lnTo>
                  <a:lnTo>
                    <a:pt x="133" y="247"/>
                  </a:lnTo>
                  <a:lnTo>
                    <a:pt x="123" y="240"/>
                  </a:lnTo>
                  <a:lnTo>
                    <a:pt x="116" y="230"/>
                  </a:lnTo>
                  <a:lnTo>
                    <a:pt x="115" y="231"/>
                  </a:lnTo>
                  <a:lnTo>
                    <a:pt x="115" y="239"/>
                  </a:lnTo>
                  <a:lnTo>
                    <a:pt x="116" y="242"/>
                  </a:lnTo>
                  <a:lnTo>
                    <a:pt x="117" y="245"/>
                  </a:lnTo>
                  <a:lnTo>
                    <a:pt x="122" y="246"/>
                  </a:lnTo>
                  <a:lnTo>
                    <a:pt x="126" y="250"/>
                  </a:lnTo>
                  <a:lnTo>
                    <a:pt x="136" y="274"/>
                  </a:lnTo>
                  <a:lnTo>
                    <a:pt x="136" y="280"/>
                  </a:lnTo>
                  <a:lnTo>
                    <a:pt x="134" y="282"/>
                  </a:lnTo>
                  <a:lnTo>
                    <a:pt x="132" y="280"/>
                  </a:lnTo>
                  <a:lnTo>
                    <a:pt x="126" y="272"/>
                  </a:lnTo>
                  <a:lnTo>
                    <a:pt x="121" y="269"/>
                  </a:lnTo>
                  <a:lnTo>
                    <a:pt x="117" y="262"/>
                  </a:lnTo>
                  <a:lnTo>
                    <a:pt x="116" y="262"/>
                  </a:lnTo>
                  <a:lnTo>
                    <a:pt x="115" y="262"/>
                  </a:lnTo>
                  <a:lnTo>
                    <a:pt x="111" y="271"/>
                  </a:lnTo>
                  <a:lnTo>
                    <a:pt x="109" y="272"/>
                  </a:lnTo>
                  <a:lnTo>
                    <a:pt x="102" y="272"/>
                  </a:lnTo>
                  <a:lnTo>
                    <a:pt x="101" y="269"/>
                  </a:lnTo>
                  <a:lnTo>
                    <a:pt x="99" y="266"/>
                  </a:lnTo>
                  <a:lnTo>
                    <a:pt x="97" y="261"/>
                  </a:lnTo>
                  <a:lnTo>
                    <a:pt x="97" y="256"/>
                  </a:lnTo>
                  <a:lnTo>
                    <a:pt x="100" y="247"/>
                  </a:lnTo>
                  <a:lnTo>
                    <a:pt x="100" y="245"/>
                  </a:lnTo>
                  <a:lnTo>
                    <a:pt x="97" y="241"/>
                  </a:lnTo>
                  <a:lnTo>
                    <a:pt x="91" y="235"/>
                  </a:lnTo>
                  <a:lnTo>
                    <a:pt x="89" y="231"/>
                  </a:lnTo>
                  <a:lnTo>
                    <a:pt x="86" y="223"/>
                  </a:lnTo>
                  <a:lnTo>
                    <a:pt x="86" y="209"/>
                  </a:lnTo>
                  <a:lnTo>
                    <a:pt x="85" y="208"/>
                  </a:lnTo>
                  <a:lnTo>
                    <a:pt x="80" y="187"/>
                  </a:lnTo>
                  <a:lnTo>
                    <a:pt x="68" y="164"/>
                  </a:lnTo>
                  <a:lnTo>
                    <a:pt x="68" y="159"/>
                  </a:lnTo>
                  <a:lnTo>
                    <a:pt x="68" y="154"/>
                  </a:lnTo>
                  <a:lnTo>
                    <a:pt x="73" y="145"/>
                  </a:lnTo>
                  <a:lnTo>
                    <a:pt x="79" y="140"/>
                  </a:lnTo>
                  <a:lnTo>
                    <a:pt x="83" y="128"/>
                  </a:lnTo>
                  <a:lnTo>
                    <a:pt x="81" y="94"/>
                  </a:lnTo>
                  <a:lnTo>
                    <a:pt x="79" y="70"/>
                  </a:lnTo>
                  <a:lnTo>
                    <a:pt x="81" y="63"/>
                  </a:lnTo>
                  <a:lnTo>
                    <a:pt x="81" y="57"/>
                  </a:lnTo>
                  <a:lnTo>
                    <a:pt x="78" y="51"/>
                  </a:lnTo>
                  <a:lnTo>
                    <a:pt x="72" y="48"/>
                  </a:lnTo>
                  <a:lnTo>
                    <a:pt x="69" y="46"/>
                  </a:lnTo>
                  <a:lnTo>
                    <a:pt x="63" y="32"/>
                  </a:lnTo>
                  <a:lnTo>
                    <a:pt x="62" y="26"/>
                  </a:lnTo>
                  <a:lnTo>
                    <a:pt x="64" y="18"/>
                  </a:lnTo>
                  <a:lnTo>
                    <a:pt x="69" y="10"/>
                  </a:lnTo>
                  <a:lnTo>
                    <a:pt x="64" y="1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26" name="Madagascar"/>
            <p:cNvSpPr>
              <a:spLocks noChangeAspect="1"/>
            </p:cNvSpPr>
            <p:nvPr>
              <p:custDataLst>
                <p:tags r:id="rId26"/>
              </p:custDataLst>
            </p:nvPr>
          </p:nvSpPr>
          <p:spPr bwMode="gray">
            <a:xfrm>
              <a:off x="5560785" y="4941025"/>
              <a:ext cx="182567" cy="365134"/>
            </a:xfrm>
            <a:custGeom>
              <a:avLst/>
              <a:gdLst/>
              <a:ahLst/>
              <a:cxnLst>
                <a:cxn ang="0">
                  <a:pos x="76" y="226"/>
                </a:cxn>
                <a:cxn ang="0">
                  <a:pos x="107" y="215"/>
                </a:cxn>
                <a:cxn ang="0">
                  <a:pos x="118" y="215"/>
                </a:cxn>
                <a:cxn ang="0">
                  <a:pos x="130" y="204"/>
                </a:cxn>
                <a:cxn ang="0">
                  <a:pos x="152" y="199"/>
                </a:cxn>
                <a:cxn ang="0">
                  <a:pos x="170" y="219"/>
                </a:cxn>
                <a:cxn ang="0">
                  <a:pos x="182" y="210"/>
                </a:cxn>
                <a:cxn ang="0">
                  <a:pos x="183" y="181"/>
                </a:cxn>
                <a:cxn ang="0">
                  <a:pos x="204" y="189"/>
                </a:cxn>
                <a:cxn ang="0">
                  <a:pos x="208" y="167"/>
                </a:cxn>
                <a:cxn ang="0">
                  <a:pos x="221" y="149"/>
                </a:cxn>
                <a:cxn ang="0">
                  <a:pos x="229" y="160"/>
                </a:cxn>
                <a:cxn ang="0">
                  <a:pos x="258" y="140"/>
                </a:cxn>
                <a:cxn ang="0">
                  <a:pos x="242" y="125"/>
                </a:cxn>
                <a:cxn ang="0">
                  <a:pos x="258" y="113"/>
                </a:cxn>
                <a:cxn ang="0">
                  <a:pos x="253" y="81"/>
                </a:cxn>
                <a:cxn ang="0">
                  <a:pos x="270" y="92"/>
                </a:cxn>
                <a:cxn ang="0">
                  <a:pos x="293" y="68"/>
                </a:cxn>
                <a:cxn ang="0">
                  <a:pos x="307" y="25"/>
                </a:cxn>
                <a:cxn ang="0">
                  <a:pos x="316" y="5"/>
                </a:cxn>
                <a:cxn ang="0">
                  <a:pos x="344" y="23"/>
                </a:cxn>
                <a:cxn ang="0">
                  <a:pos x="365" y="60"/>
                </a:cxn>
                <a:cxn ang="0">
                  <a:pos x="374" y="106"/>
                </a:cxn>
                <a:cxn ang="0">
                  <a:pos x="382" y="151"/>
                </a:cxn>
                <a:cxn ang="0">
                  <a:pos x="388" y="198"/>
                </a:cxn>
                <a:cxn ang="0">
                  <a:pos x="370" y="198"/>
                </a:cxn>
                <a:cxn ang="0">
                  <a:pos x="353" y="206"/>
                </a:cxn>
                <a:cxn ang="0">
                  <a:pos x="360" y="251"/>
                </a:cxn>
                <a:cxn ang="0">
                  <a:pos x="342" y="283"/>
                </a:cxn>
                <a:cxn ang="0">
                  <a:pos x="329" y="366"/>
                </a:cxn>
                <a:cxn ang="0">
                  <a:pos x="316" y="405"/>
                </a:cxn>
                <a:cxn ang="0">
                  <a:pos x="283" y="511"/>
                </a:cxn>
                <a:cxn ang="0">
                  <a:pos x="254" y="606"/>
                </a:cxn>
                <a:cxn ang="0">
                  <a:pos x="236" y="684"/>
                </a:cxn>
                <a:cxn ang="0">
                  <a:pos x="210" y="736"/>
                </a:cxn>
                <a:cxn ang="0">
                  <a:pos x="183" y="748"/>
                </a:cxn>
                <a:cxn ang="0">
                  <a:pos x="106" y="776"/>
                </a:cxn>
                <a:cxn ang="0">
                  <a:pos x="59" y="746"/>
                </a:cxn>
                <a:cxn ang="0">
                  <a:pos x="27" y="697"/>
                </a:cxn>
                <a:cxn ang="0">
                  <a:pos x="28" y="654"/>
                </a:cxn>
                <a:cxn ang="0">
                  <a:pos x="9" y="615"/>
                </a:cxn>
                <a:cxn ang="0">
                  <a:pos x="0" y="574"/>
                </a:cxn>
                <a:cxn ang="0">
                  <a:pos x="15" y="527"/>
                </a:cxn>
                <a:cxn ang="0">
                  <a:pos x="38" y="489"/>
                </a:cxn>
                <a:cxn ang="0">
                  <a:pos x="69" y="435"/>
                </a:cxn>
                <a:cxn ang="0">
                  <a:pos x="69" y="409"/>
                </a:cxn>
                <a:cxn ang="0">
                  <a:pos x="48" y="348"/>
                </a:cxn>
                <a:cxn ang="0">
                  <a:pos x="51" y="280"/>
                </a:cxn>
              </a:cxnLst>
              <a:rect l="0" t="0" r="r" b="b"/>
              <a:pathLst>
                <a:path w="391" h="776">
                  <a:moveTo>
                    <a:pt x="64" y="230"/>
                  </a:moveTo>
                  <a:lnTo>
                    <a:pt x="69" y="224"/>
                  </a:lnTo>
                  <a:lnTo>
                    <a:pt x="76" y="226"/>
                  </a:lnTo>
                  <a:lnTo>
                    <a:pt x="92" y="225"/>
                  </a:lnTo>
                  <a:lnTo>
                    <a:pt x="96" y="221"/>
                  </a:lnTo>
                  <a:lnTo>
                    <a:pt x="107" y="215"/>
                  </a:lnTo>
                  <a:lnTo>
                    <a:pt x="109" y="220"/>
                  </a:lnTo>
                  <a:lnTo>
                    <a:pt x="113" y="221"/>
                  </a:lnTo>
                  <a:lnTo>
                    <a:pt x="118" y="215"/>
                  </a:lnTo>
                  <a:lnTo>
                    <a:pt x="124" y="217"/>
                  </a:lnTo>
                  <a:lnTo>
                    <a:pt x="129" y="211"/>
                  </a:lnTo>
                  <a:lnTo>
                    <a:pt x="130" y="204"/>
                  </a:lnTo>
                  <a:lnTo>
                    <a:pt x="140" y="202"/>
                  </a:lnTo>
                  <a:lnTo>
                    <a:pt x="146" y="205"/>
                  </a:lnTo>
                  <a:lnTo>
                    <a:pt x="152" y="199"/>
                  </a:lnTo>
                  <a:lnTo>
                    <a:pt x="159" y="202"/>
                  </a:lnTo>
                  <a:lnTo>
                    <a:pt x="164" y="211"/>
                  </a:lnTo>
                  <a:lnTo>
                    <a:pt x="170" y="219"/>
                  </a:lnTo>
                  <a:lnTo>
                    <a:pt x="178" y="221"/>
                  </a:lnTo>
                  <a:lnTo>
                    <a:pt x="184" y="220"/>
                  </a:lnTo>
                  <a:lnTo>
                    <a:pt x="182" y="210"/>
                  </a:lnTo>
                  <a:lnTo>
                    <a:pt x="172" y="202"/>
                  </a:lnTo>
                  <a:lnTo>
                    <a:pt x="173" y="192"/>
                  </a:lnTo>
                  <a:lnTo>
                    <a:pt x="183" y="181"/>
                  </a:lnTo>
                  <a:lnTo>
                    <a:pt x="195" y="173"/>
                  </a:lnTo>
                  <a:lnTo>
                    <a:pt x="202" y="176"/>
                  </a:lnTo>
                  <a:lnTo>
                    <a:pt x="204" y="189"/>
                  </a:lnTo>
                  <a:lnTo>
                    <a:pt x="211" y="189"/>
                  </a:lnTo>
                  <a:lnTo>
                    <a:pt x="218" y="186"/>
                  </a:lnTo>
                  <a:lnTo>
                    <a:pt x="208" y="167"/>
                  </a:lnTo>
                  <a:lnTo>
                    <a:pt x="215" y="161"/>
                  </a:lnTo>
                  <a:lnTo>
                    <a:pt x="224" y="150"/>
                  </a:lnTo>
                  <a:lnTo>
                    <a:pt x="221" y="149"/>
                  </a:lnTo>
                  <a:lnTo>
                    <a:pt x="227" y="141"/>
                  </a:lnTo>
                  <a:lnTo>
                    <a:pt x="231" y="149"/>
                  </a:lnTo>
                  <a:lnTo>
                    <a:pt x="229" y="160"/>
                  </a:lnTo>
                  <a:lnTo>
                    <a:pt x="245" y="140"/>
                  </a:lnTo>
                  <a:lnTo>
                    <a:pt x="253" y="141"/>
                  </a:lnTo>
                  <a:lnTo>
                    <a:pt x="258" y="140"/>
                  </a:lnTo>
                  <a:lnTo>
                    <a:pt x="256" y="135"/>
                  </a:lnTo>
                  <a:lnTo>
                    <a:pt x="247" y="133"/>
                  </a:lnTo>
                  <a:lnTo>
                    <a:pt x="242" y="125"/>
                  </a:lnTo>
                  <a:lnTo>
                    <a:pt x="245" y="119"/>
                  </a:lnTo>
                  <a:lnTo>
                    <a:pt x="253" y="108"/>
                  </a:lnTo>
                  <a:lnTo>
                    <a:pt x="258" y="113"/>
                  </a:lnTo>
                  <a:lnTo>
                    <a:pt x="259" y="101"/>
                  </a:lnTo>
                  <a:lnTo>
                    <a:pt x="256" y="93"/>
                  </a:lnTo>
                  <a:lnTo>
                    <a:pt x="253" y="81"/>
                  </a:lnTo>
                  <a:lnTo>
                    <a:pt x="256" y="77"/>
                  </a:lnTo>
                  <a:lnTo>
                    <a:pt x="267" y="81"/>
                  </a:lnTo>
                  <a:lnTo>
                    <a:pt x="270" y="92"/>
                  </a:lnTo>
                  <a:lnTo>
                    <a:pt x="283" y="74"/>
                  </a:lnTo>
                  <a:lnTo>
                    <a:pt x="285" y="63"/>
                  </a:lnTo>
                  <a:lnTo>
                    <a:pt x="293" y="68"/>
                  </a:lnTo>
                  <a:lnTo>
                    <a:pt x="301" y="61"/>
                  </a:lnTo>
                  <a:lnTo>
                    <a:pt x="306" y="47"/>
                  </a:lnTo>
                  <a:lnTo>
                    <a:pt x="307" y="25"/>
                  </a:lnTo>
                  <a:lnTo>
                    <a:pt x="301" y="15"/>
                  </a:lnTo>
                  <a:lnTo>
                    <a:pt x="306" y="17"/>
                  </a:lnTo>
                  <a:lnTo>
                    <a:pt x="316" y="5"/>
                  </a:lnTo>
                  <a:lnTo>
                    <a:pt x="323" y="0"/>
                  </a:lnTo>
                  <a:lnTo>
                    <a:pt x="334" y="10"/>
                  </a:lnTo>
                  <a:lnTo>
                    <a:pt x="344" y="23"/>
                  </a:lnTo>
                  <a:lnTo>
                    <a:pt x="354" y="33"/>
                  </a:lnTo>
                  <a:lnTo>
                    <a:pt x="361" y="47"/>
                  </a:lnTo>
                  <a:lnTo>
                    <a:pt x="365" y="60"/>
                  </a:lnTo>
                  <a:lnTo>
                    <a:pt x="366" y="73"/>
                  </a:lnTo>
                  <a:lnTo>
                    <a:pt x="371" y="89"/>
                  </a:lnTo>
                  <a:lnTo>
                    <a:pt x="374" y="106"/>
                  </a:lnTo>
                  <a:lnTo>
                    <a:pt x="377" y="120"/>
                  </a:lnTo>
                  <a:lnTo>
                    <a:pt x="379" y="135"/>
                  </a:lnTo>
                  <a:lnTo>
                    <a:pt x="382" y="151"/>
                  </a:lnTo>
                  <a:lnTo>
                    <a:pt x="388" y="167"/>
                  </a:lnTo>
                  <a:lnTo>
                    <a:pt x="391" y="183"/>
                  </a:lnTo>
                  <a:lnTo>
                    <a:pt x="388" y="198"/>
                  </a:lnTo>
                  <a:lnTo>
                    <a:pt x="383" y="210"/>
                  </a:lnTo>
                  <a:lnTo>
                    <a:pt x="376" y="211"/>
                  </a:lnTo>
                  <a:lnTo>
                    <a:pt x="370" y="198"/>
                  </a:lnTo>
                  <a:lnTo>
                    <a:pt x="366" y="183"/>
                  </a:lnTo>
                  <a:lnTo>
                    <a:pt x="356" y="184"/>
                  </a:lnTo>
                  <a:lnTo>
                    <a:pt x="353" y="206"/>
                  </a:lnTo>
                  <a:lnTo>
                    <a:pt x="353" y="222"/>
                  </a:lnTo>
                  <a:lnTo>
                    <a:pt x="360" y="235"/>
                  </a:lnTo>
                  <a:lnTo>
                    <a:pt x="360" y="251"/>
                  </a:lnTo>
                  <a:lnTo>
                    <a:pt x="355" y="262"/>
                  </a:lnTo>
                  <a:lnTo>
                    <a:pt x="349" y="268"/>
                  </a:lnTo>
                  <a:lnTo>
                    <a:pt x="342" y="283"/>
                  </a:lnTo>
                  <a:lnTo>
                    <a:pt x="339" y="300"/>
                  </a:lnTo>
                  <a:lnTo>
                    <a:pt x="339" y="315"/>
                  </a:lnTo>
                  <a:lnTo>
                    <a:pt x="329" y="366"/>
                  </a:lnTo>
                  <a:lnTo>
                    <a:pt x="318" y="397"/>
                  </a:lnTo>
                  <a:lnTo>
                    <a:pt x="317" y="397"/>
                  </a:lnTo>
                  <a:lnTo>
                    <a:pt x="316" y="405"/>
                  </a:lnTo>
                  <a:lnTo>
                    <a:pt x="300" y="459"/>
                  </a:lnTo>
                  <a:lnTo>
                    <a:pt x="288" y="488"/>
                  </a:lnTo>
                  <a:lnTo>
                    <a:pt x="283" y="511"/>
                  </a:lnTo>
                  <a:lnTo>
                    <a:pt x="273" y="549"/>
                  </a:lnTo>
                  <a:lnTo>
                    <a:pt x="266" y="566"/>
                  </a:lnTo>
                  <a:lnTo>
                    <a:pt x="254" y="606"/>
                  </a:lnTo>
                  <a:lnTo>
                    <a:pt x="248" y="635"/>
                  </a:lnTo>
                  <a:lnTo>
                    <a:pt x="243" y="651"/>
                  </a:lnTo>
                  <a:lnTo>
                    <a:pt x="236" y="684"/>
                  </a:lnTo>
                  <a:lnTo>
                    <a:pt x="227" y="700"/>
                  </a:lnTo>
                  <a:lnTo>
                    <a:pt x="223" y="715"/>
                  </a:lnTo>
                  <a:lnTo>
                    <a:pt x="210" y="736"/>
                  </a:lnTo>
                  <a:lnTo>
                    <a:pt x="200" y="744"/>
                  </a:lnTo>
                  <a:lnTo>
                    <a:pt x="192" y="749"/>
                  </a:lnTo>
                  <a:lnTo>
                    <a:pt x="183" y="748"/>
                  </a:lnTo>
                  <a:lnTo>
                    <a:pt x="151" y="755"/>
                  </a:lnTo>
                  <a:lnTo>
                    <a:pt x="119" y="774"/>
                  </a:lnTo>
                  <a:lnTo>
                    <a:pt x="106" y="776"/>
                  </a:lnTo>
                  <a:lnTo>
                    <a:pt x="86" y="762"/>
                  </a:lnTo>
                  <a:lnTo>
                    <a:pt x="71" y="753"/>
                  </a:lnTo>
                  <a:lnTo>
                    <a:pt x="59" y="746"/>
                  </a:lnTo>
                  <a:lnTo>
                    <a:pt x="47" y="736"/>
                  </a:lnTo>
                  <a:lnTo>
                    <a:pt x="32" y="714"/>
                  </a:lnTo>
                  <a:lnTo>
                    <a:pt x="27" y="697"/>
                  </a:lnTo>
                  <a:lnTo>
                    <a:pt x="24" y="678"/>
                  </a:lnTo>
                  <a:lnTo>
                    <a:pt x="24" y="663"/>
                  </a:lnTo>
                  <a:lnTo>
                    <a:pt x="28" y="654"/>
                  </a:lnTo>
                  <a:lnTo>
                    <a:pt x="24" y="638"/>
                  </a:lnTo>
                  <a:lnTo>
                    <a:pt x="17" y="624"/>
                  </a:lnTo>
                  <a:lnTo>
                    <a:pt x="9" y="615"/>
                  </a:lnTo>
                  <a:lnTo>
                    <a:pt x="1" y="601"/>
                  </a:lnTo>
                  <a:lnTo>
                    <a:pt x="1" y="586"/>
                  </a:lnTo>
                  <a:lnTo>
                    <a:pt x="0" y="574"/>
                  </a:lnTo>
                  <a:lnTo>
                    <a:pt x="0" y="555"/>
                  </a:lnTo>
                  <a:lnTo>
                    <a:pt x="8" y="543"/>
                  </a:lnTo>
                  <a:lnTo>
                    <a:pt x="15" y="527"/>
                  </a:lnTo>
                  <a:lnTo>
                    <a:pt x="21" y="518"/>
                  </a:lnTo>
                  <a:lnTo>
                    <a:pt x="30" y="516"/>
                  </a:lnTo>
                  <a:lnTo>
                    <a:pt x="38" y="489"/>
                  </a:lnTo>
                  <a:lnTo>
                    <a:pt x="55" y="457"/>
                  </a:lnTo>
                  <a:lnTo>
                    <a:pt x="65" y="446"/>
                  </a:lnTo>
                  <a:lnTo>
                    <a:pt x="69" y="435"/>
                  </a:lnTo>
                  <a:lnTo>
                    <a:pt x="68" y="425"/>
                  </a:lnTo>
                  <a:lnTo>
                    <a:pt x="71" y="419"/>
                  </a:lnTo>
                  <a:lnTo>
                    <a:pt x="69" y="409"/>
                  </a:lnTo>
                  <a:lnTo>
                    <a:pt x="60" y="396"/>
                  </a:lnTo>
                  <a:lnTo>
                    <a:pt x="54" y="376"/>
                  </a:lnTo>
                  <a:lnTo>
                    <a:pt x="48" y="348"/>
                  </a:lnTo>
                  <a:lnTo>
                    <a:pt x="47" y="318"/>
                  </a:lnTo>
                  <a:lnTo>
                    <a:pt x="37" y="302"/>
                  </a:lnTo>
                  <a:lnTo>
                    <a:pt x="51" y="280"/>
                  </a:lnTo>
                  <a:lnTo>
                    <a:pt x="65" y="247"/>
                  </a:lnTo>
                  <a:lnTo>
                    <a:pt x="64" y="23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grpSp>
          <p:nvGrpSpPr>
            <p:cNvPr id="27" name="Angola"/>
            <p:cNvGrpSpPr>
              <a:grpSpLocks noChangeAspect="1"/>
            </p:cNvGrpSpPr>
            <p:nvPr/>
          </p:nvGrpSpPr>
          <p:grpSpPr bwMode="gray">
            <a:xfrm>
              <a:off x="4751033" y="4742125"/>
              <a:ext cx="323008" cy="353434"/>
              <a:chOff x="2643" y="2535"/>
              <a:chExt cx="138" cy="151"/>
            </a:xfrm>
            <a:grpFill/>
          </p:grpSpPr>
          <p:sp>
            <p:nvSpPr>
              <p:cNvPr id="347" name="Angola"/>
              <p:cNvSpPr>
                <a:spLocks noChangeAspect="1"/>
              </p:cNvSpPr>
              <p:nvPr>
                <p:custDataLst>
                  <p:tags r:id="rId324"/>
                </p:custDataLst>
              </p:nvPr>
            </p:nvSpPr>
            <p:spPr bwMode="gray">
              <a:xfrm>
                <a:off x="2643" y="2550"/>
                <a:ext cx="138" cy="136"/>
              </a:xfrm>
              <a:custGeom>
                <a:avLst/>
                <a:gdLst/>
                <a:ahLst/>
                <a:cxnLst>
                  <a:cxn ang="0">
                    <a:pos x="14" y="557"/>
                  </a:cxn>
                  <a:cxn ang="0">
                    <a:pos x="30" y="499"/>
                  </a:cxn>
                  <a:cxn ang="0">
                    <a:pos x="43" y="451"/>
                  </a:cxn>
                  <a:cxn ang="0">
                    <a:pos x="53" y="418"/>
                  </a:cxn>
                  <a:cxn ang="0">
                    <a:pos x="90" y="381"/>
                  </a:cxn>
                  <a:cxn ang="0">
                    <a:pos x="116" y="331"/>
                  </a:cxn>
                  <a:cxn ang="0">
                    <a:pos x="122" y="283"/>
                  </a:cxn>
                  <a:cxn ang="0">
                    <a:pos x="95" y="235"/>
                  </a:cxn>
                  <a:cxn ang="0">
                    <a:pos x="86" y="175"/>
                  </a:cxn>
                  <a:cxn ang="0">
                    <a:pos x="84" y="128"/>
                  </a:cxn>
                  <a:cxn ang="0">
                    <a:pos x="53" y="53"/>
                  </a:cxn>
                  <a:cxn ang="0">
                    <a:pos x="40" y="26"/>
                  </a:cxn>
                  <a:cxn ang="0">
                    <a:pos x="79" y="9"/>
                  </a:cxn>
                  <a:cxn ang="0">
                    <a:pos x="132" y="4"/>
                  </a:cxn>
                  <a:cxn ang="0">
                    <a:pos x="193" y="3"/>
                  </a:cxn>
                  <a:cxn ang="0">
                    <a:pos x="258" y="3"/>
                  </a:cxn>
                  <a:cxn ang="0">
                    <a:pos x="275" y="19"/>
                  </a:cxn>
                  <a:cxn ang="0">
                    <a:pos x="290" y="68"/>
                  </a:cxn>
                  <a:cxn ang="0">
                    <a:pos x="339" y="129"/>
                  </a:cxn>
                  <a:cxn ang="0">
                    <a:pos x="404" y="122"/>
                  </a:cxn>
                  <a:cxn ang="0">
                    <a:pos x="430" y="95"/>
                  </a:cxn>
                  <a:cxn ang="0">
                    <a:pos x="436" y="67"/>
                  </a:cxn>
                  <a:cxn ang="0">
                    <a:pos x="504" y="83"/>
                  </a:cxn>
                  <a:cxn ang="0">
                    <a:pos x="560" y="128"/>
                  </a:cxn>
                  <a:cxn ang="0">
                    <a:pos x="565" y="178"/>
                  </a:cxn>
                  <a:cxn ang="0">
                    <a:pos x="573" y="226"/>
                  </a:cxn>
                  <a:cxn ang="0">
                    <a:pos x="580" y="278"/>
                  </a:cxn>
                  <a:cxn ang="0">
                    <a:pos x="572" y="295"/>
                  </a:cxn>
                  <a:cxn ang="0">
                    <a:pos x="590" y="304"/>
                  </a:cxn>
                  <a:cxn ang="0">
                    <a:pos x="651" y="288"/>
                  </a:cxn>
                  <a:cxn ang="0">
                    <a:pos x="682" y="279"/>
                  </a:cxn>
                  <a:cxn ang="0">
                    <a:pos x="686" y="288"/>
                  </a:cxn>
                  <a:cxn ang="0">
                    <a:pos x="683" y="311"/>
                  </a:cxn>
                  <a:cxn ang="0">
                    <a:pos x="681" y="364"/>
                  </a:cxn>
                  <a:cxn ang="0">
                    <a:pos x="683" y="396"/>
                  </a:cxn>
                  <a:cxn ang="0">
                    <a:pos x="573" y="452"/>
                  </a:cxn>
                  <a:cxn ang="0">
                    <a:pos x="573" y="601"/>
                  </a:cxn>
                  <a:cxn ang="0">
                    <a:pos x="603" y="630"/>
                  </a:cxn>
                  <a:cxn ang="0">
                    <a:pos x="630" y="654"/>
                  </a:cxn>
                  <a:cxn ang="0">
                    <a:pos x="549" y="683"/>
                  </a:cxn>
                  <a:cxn ang="0">
                    <a:pos x="513" y="677"/>
                  </a:cxn>
                  <a:cxn ang="0">
                    <a:pos x="417" y="671"/>
                  </a:cxn>
                  <a:cxn ang="0">
                    <a:pos x="369" y="644"/>
                  </a:cxn>
                  <a:cxn ang="0">
                    <a:pos x="201" y="644"/>
                  </a:cxn>
                  <a:cxn ang="0">
                    <a:pos x="112" y="633"/>
                  </a:cxn>
                  <a:cxn ang="0">
                    <a:pos x="62" y="618"/>
                  </a:cxn>
                  <a:cxn ang="0">
                    <a:pos x="26" y="629"/>
                  </a:cxn>
                  <a:cxn ang="0">
                    <a:pos x="0" y="617"/>
                  </a:cxn>
                </a:cxnLst>
                <a:rect l="0" t="0" r="r" b="b"/>
                <a:pathLst>
                  <a:path w="692" h="684">
                    <a:moveTo>
                      <a:pt x="5" y="597"/>
                    </a:moveTo>
                    <a:lnTo>
                      <a:pt x="5" y="576"/>
                    </a:lnTo>
                    <a:lnTo>
                      <a:pt x="6" y="565"/>
                    </a:lnTo>
                    <a:lnTo>
                      <a:pt x="14" y="557"/>
                    </a:lnTo>
                    <a:lnTo>
                      <a:pt x="21" y="532"/>
                    </a:lnTo>
                    <a:lnTo>
                      <a:pt x="25" y="522"/>
                    </a:lnTo>
                    <a:lnTo>
                      <a:pt x="26" y="508"/>
                    </a:lnTo>
                    <a:lnTo>
                      <a:pt x="30" y="499"/>
                    </a:lnTo>
                    <a:lnTo>
                      <a:pt x="31" y="487"/>
                    </a:lnTo>
                    <a:lnTo>
                      <a:pt x="33" y="481"/>
                    </a:lnTo>
                    <a:lnTo>
                      <a:pt x="36" y="470"/>
                    </a:lnTo>
                    <a:lnTo>
                      <a:pt x="43" y="451"/>
                    </a:lnTo>
                    <a:lnTo>
                      <a:pt x="43" y="444"/>
                    </a:lnTo>
                    <a:lnTo>
                      <a:pt x="47" y="439"/>
                    </a:lnTo>
                    <a:lnTo>
                      <a:pt x="47" y="433"/>
                    </a:lnTo>
                    <a:lnTo>
                      <a:pt x="53" y="418"/>
                    </a:lnTo>
                    <a:lnTo>
                      <a:pt x="63" y="411"/>
                    </a:lnTo>
                    <a:lnTo>
                      <a:pt x="69" y="403"/>
                    </a:lnTo>
                    <a:lnTo>
                      <a:pt x="70" y="391"/>
                    </a:lnTo>
                    <a:lnTo>
                      <a:pt x="90" y="381"/>
                    </a:lnTo>
                    <a:lnTo>
                      <a:pt x="103" y="366"/>
                    </a:lnTo>
                    <a:lnTo>
                      <a:pt x="108" y="358"/>
                    </a:lnTo>
                    <a:lnTo>
                      <a:pt x="113" y="347"/>
                    </a:lnTo>
                    <a:lnTo>
                      <a:pt x="116" y="331"/>
                    </a:lnTo>
                    <a:lnTo>
                      <a:pt x="116" y="315"/>
                    </a:lnTo>
                    <a:lnTo>
                      <a:pt x="118" y="306"/>
                    </a:lnTo>
                    <a:lnTo>
                      <a:pt x="117" y="290"/>
                    </a:lnTo>
                    <a:lnTo>
                      <a:pt x="122" y="283"/>
                    </a:lnTo>
                    <a:lnTo>
                      <a:pt x="117" y="264"/>
                    </a:lnTo>
                    <a:lnTo>
                      <a:pt x="105" y="253"/>
                    </a:lnTo>
                    <a:lnTo>
                      <a:pt x="100" y="242"/>
                    </a:lnTo>
                    <a:lnTo>
                      <a:pt x="95" y="235"/>
                    </a:lnTo>
                    <a:lnTo>
                      <a:pt x="89" y="219"/>
                    </a:lnTo>
                    <a:lnTo>
                      <a:pt x="81" y="188"/>
                    </a:lnTo>
                    <a:lnTo>
                      <a:pt x="81" y="182"/>
                    </a:lnTo>
                    <a:lnTo>
                      <a:pt x="86" y="175"/>
                    </a:lnTo>
                    <a:lnTo>
                      <a:pt x="94" y="169"/>
                    </a:lnTo>
                    <a:lnTo>
                      <a:pt x="94" y="151"/>
                    </a:lnTo>
                    <a:lnTo>
                      <a:pt x="90" y="137"/>
                    </a:lnTo>
                    <a:lnTo>
                      <a:pt x="84" y="128"/>
                    </a:lnTo>
                    <a:lnTo>
                      <a:pt x="73" y="91"/>
                    </a:lnTo>
                    <a:lnTo>
                      <a:pt x="70" y="79"/>
                    </a:lnTo>
                    <a:lnTo>
                      <a:pt x="67" y="70"/>
                    </a:lnTo>
                    <a:lnTo>
                      <a:pt x="53" y="53"/>
                    </a:lnTo>
                    <a:lnTo>
                      <a:pt x="48" y="45"/>
                    </a:lnTo>
                    <a:lnTo>
                      <a:pt x="43" y="36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41" y="24"/>
                    </a:lnTo>
                    <a:lnTo>
                      <a:pt x="47" y="21"/>
                    </a:lnTo>
                    <a:lnTo>
                      <a:pt x="65" y="16"/>
                    </a:lnTo>
                    <a:lnTo>
                      <a:pt x="79" y="9"/>
                    </a:lnTo>
                    <a:lnTo>
                      <a:pt x="92" y="4"/>
                    </a:lnTo>
                    <a:lnTo>
                      <a:pt x="101" y="4"/>
                    </a:lnTo>
                    <a:lnTo>
                      <a:pt x="108" y="3"/>
                    </a:lnTo>
                    <a:lnTo>
                      <a:pt x="132" y="4"/>
                    </a:lnTo>
                    <a:lnTo>
                      <a:pt x="154" y="2"/>
                    </a:lnTo>
                    <a:lnTo>
                      <a:pt x="161" y="4"/>
                    </a:lnTo>
                    <a:lnTo>
                      <a:pt x="180" y="5"/>
                    </a:lnTo>
                    <a:lnTo>
                      <a:pt x="193" y="3"/>
                    </a:lnTo>
                    <a:lnTo>
                      <a:pt x="207" y="3"/>
                    </a:lnTo>
                    <a:lnTo>
                      <a:pt x="240" y="0"/>
                    </a:lnTo>
                    <a:lnTo>
                      <a:pt x="256" y="2"/>
                    </a:lnTo>
                    <a:lnTo>
                      <a:pt x="258" y="3"/>
                    </a:lnTo>
                    <a:lnTo>
                      <a:pt x="263" y="10"/>
                    </a:lnTo>
                    <a:lnTo>
                      <a:pt x="267" y="11"/>
                    </a:lnTo>
                    <a:lnTo>
                      <a:pt x="271" y="10"/>
                    </a:lnTo>
                    <a:lnTo>
                      <a:pt x="275" y="19"/>
                    </a:lnTo>
                    <a:lnTo>
                      <a:pt x="280" y="37"/>
                    </a:lnTo>
                    <a:lnTo>
                      <a:pt x="282" y="51"/>
                    </a:lnTo>
                    <a:lnTo>
                      <a:pt x="283" y="56"/>
                    </a:lnTo>
                    <a:lnTo>
                      <a:pt x="290" y="68"/>
                    </a:lnTo>
                    <a:lnTo>
                      <a:pt x="294" y="84"/>
                    </a:lnTo>
                    <a:lnTo>
                      <a:pt x="306" y="97"/>
                    </a:lnTo>
                    <a:lnTo>
                      <a:pt x="327" y="124"/>
                    </a:lnTo>
                    <a:lnTo>
                      <a:pt x="339" y="129"/>
                    </a:lnTo>
                    <a:lnTo>
                      <a:pt x="353" y="129"/>
                    </a:lnTo>
                    <a:lnTo>
                      <a:pt x="374" y="122"/>
                    </a:lnTo>
                    <a:lnTo>
                      <a:pt x="387" y="119"/>
                    </a:lnTo>
                    <a:lnTo>
                      <a:pt x="404" y="122"/>
                    </a:lnTo>
                    <a:lnTo>
                      <a:pt x="424" y="122"/>
                    </a:lnTo>
                    <a:lnTo>
                      <a:pt x="427" y="107"/>
                    </a:lnTo>
                    <a:lnTo>
                      <a:pt x="428" y="100"/>
                    </a:lnTo>
                    <a:lnTo>
                      <a:pt x="430" y="95"/>
                    </a:lnTo>
                    <a:lnTo>
                      <a:pt x="431" y="91"/>
                    </a:lnTo>
                    <a:lnTo>
                      <a:pt x="433" y="86"/>
                    </a:lnTo>
                    <a:lnTo>
                      <a:pt x="434" y="75"/>
                    </a:lnTo>
                    <a:lnTo>
                      <a:pt x="436" y="67"/>
                    </a:lnTo>
                    <a:lnTo>
                      <a:pt x="479" y="67"/>
                    </a:lnTo>
                    <a:lnTo>
                      <a:pt x="482" y="61"/>
                    </a:lnTo>
                    <a:lnTo>
                      <a:pt x="505" y="61"/>
                    </a:lnTo>
                    <a:lnTo>
                      <a:pt x="504" y="83"/>
                    </a:lnTo>
                    <a:lnTo>
                      <a:pt x="552" y="84"/>
                    </a:lnTo>
                    <a:lnTo>
                      <a:pt x="556" y="88"/>
                    </a:lnTo>
                    <a:lnTo>
                      <a:pt x="558" y="96"/>
                    </a:lnTo>
                    <a:lnTo>
                      <a:pt x="560" y="128"/>
                    </a:lnTo>
                    <a:lnTo>
                      <a:pt x="563" y="140"/>
                    </a:lnTo>
                    <a:lnTo>
                      <a:pt x="563" y="156"/>
                    </a:lnTo>
                    <a:lnTo>
                      <a:pt x="565" y="172"/>
                    </a:lnTo>
                    <a:lnTo>
                      <a:pt x="565" y="178"/>
                    </a:lnTo>
                    <a:lnTo>
                      <a:pt x="562" y="189"/>
                    </a:lnTo>
                    <a:lnTo>
                      <a:pt x="562" y="203"/>
                    </a:lnTo>
                    <a:lnTo>
                      <a:pt x="564" y="212"/>
                    </a:lnTo>
                    <a:lnTo>
                      <a:pt x="573" y="226"/>
                    </a:lnTo>
                    <a:lnTo>
                      <a:pt x="579" y="247"/>
                    </a:lnTo>
                    <a:lnTo>
                      <a:pt x="585" y="263"/>
                    </a:lnTo>
                    <a:lnTo>
                      <a:pt x="585" y="271"/>
                    </a:lnTo>
                    <a:lnTo>
                      <a:pt x="580" y="278"/>
                    </a:lnTo>
                    <a:lnTo>
                      <a:pt x="569" y="289"/>
                    </a:lnTo>
                    <a:lnTo>
                      <a:pt x="569" y="291"/>
                    </a:lnTo>
                    <a:lnTo>
                      <a:pt x="570" y="294"/>
                    </a:lnTo>
                    <a:lnTo>
                      <a:pt x="572" y="295"/>
                    </a:lnTo>
                    <a:lnTo>
                      <a:pt x="575" y="296"/>
                    </a:lnTo>
                    <a:lnTo>
                      <a:pt x="581" y="304"/>
                    </a:lnTo>
                    <a:lnTo>
                      <a:pt x="587" y="305"/>
                    </a:lnTo>
                    <a:lnTo>
                      <a:pt x="590" y="304"/>
                    </a:lnTo>
                    <a:lnTo>
                      <a:pt x="592" y="298"/>
                    </a:lnTo>
                    <a:lnTo>
                      <a:pt x="595" y="290"/>
                    </a:lnTo>
                    <a:lnTo>
                      <a:pt x="600" y="288"/>
                    </a:lnTo>
                    <a:lnTo>
                      <a:pt x="651" y="288"/>
                    </a:lnTo>
                    <a:lnTo>
                      <a:pt x="661" y="284"/>
                    </a:lnTo>
                    <a:lnTo>
                      <a:pt x="670" y="287"/>
                    </a:lnTo>
                    <a:lnTo>
                      <a:pt x="672" y="287"/>
                    </a:lnTo>
                    <a:lnTo>
                      <a:pt x="682" y="279"/>
                    </a:lnTo>
                    <a:lnTo>
                      <a:pt x="683" y="279"/>
                    </a:lnTo>
                    <a:lnTo>
                      <a:pt x="687" y="283"/>
                    </a:lnTo>
                    <a:lnTo>
                      <a:pt x="687" y="287"/>
                    </a:lnTo>
                    <a:lnTo>
                      <a:pt x="686" y="288"/>
                    </a:lnTo>
                    <a:lnTo>
                      <a:pt x="685" y="290"/>
                    </a:lnTo>
                    <a:lnTo>
                      <a:pt x="686" y="300"/>
                    </a:lnTo>
                    <a:lnTo>
                      <a:pt x="686" y="305"/>
                    </a:lnTo>
                    <a:lnTo>
                      <a:pt x="683" y="311"/>
                    </a:lnTo>
                    <a:lnTo>
                      <a:pt x="683" y="323"/>
                    </a:lnTo>
                    <a:lnTo>
                      <a:pt x="681" y="336"/>
                    </a:lnTo>
                    <a:lnTo>
                      <a:pt x="682" y="350"/>
                    </a:lnTo>
                    <a:lnTo>
                      <a:pt x="681" y="364"/>
                    </a:lnTo>
                    <a:lnTo>
                      <a:pt x="678" y="373"/>
                    </a:lnTo>
                    <a:lnTo>
                      <a:pt x="678" y="388"/>
                    </a:lnTo>
                    <a:lnTo>
                      <a:pt x="680" y="392"/>
                    </a:lnTo>
                    <a:lnTo>
                      <a:pt x="683" y="396"/>
                    </a:lnTo>
                    <a:lnTo>
                      <a:pt x="692" y="398"/>
                    </a:lnTo>
                    <a:lnTo>
                      <a:pt x="633" y="398"/>
                    </a:lnTo>
                    <a:lnTo>
                      <a:pt x="573" y="398"/>
                    </a:lnTo>
                    <a:lnTo>
                      <a:pt x="573" y="452"/>
                    </a:lnTo>
                    <a:lnTo>
                      <a:pt x="573" y="508"/>
                    </a:lnTo>
                    <a:lnTo>
                      <a:pt x="573" y="562"/>
                    </a:lnTo>
                    <a:lnTo>
                      <a:pt x="573" y="600"/>
                    </a:lnTo>
                    <a:lnTo>
                      <a:pt x="573" y="601"/>
                    </a:lnTo>
                    <a:lnTo>
                      <a:pt x="580" y="607"/>
                    </a:lnTo>
                    <a:lnTo>
                      <a:pt x="584" y="614"/>
                    </a:lnTo>
                    <a:lnTo>
                      <a:pt x="597" y="623"/>
                    </a:lnTo>
                    <a:lnTo>
                      <a:pt x="603" y="630"/>
                    </a:lnTo>
                    <a:lnTo>
                      <a:pt x="613" y="639"/>
                    </a:lnTo>
                    <a:lnTo>
                      <a:pt x="617" y="644"/>
                    </a:lnTo>
                    <a:lnTo>
                      <a:pt x="626" y="648"/>
                    </a:lnTo>
                    <a:lnTo>
                      <a:pt x="630" y="654"/>
                    </a:lnTo>
                    <a:lnTo>
                      <a:pt x="638" y="659"/>
                    </a:lnTo>
                    <a:lnTo>
                      <a:pt x="635" y="661"/>
                    </a:lnTo>
                    <a:lnTo>
                      <a:pt x="624" y="664"/>
                    </a:lnTo>
                    <a:lnTo>
                      <a:pt x="549" y="683"/>
                    </a:lnTo>
                    <a:lnTo>
                      <a:pt x="541" y="684"/>
                    </a:lnTo>
                    <a:lnTo>
                      <a:pt x="537" y="682"/>
                    </a:lnTo>
                    <a:lnTo>
                      <a:pt x="525" y="681"/>
                    </a:lnTo>
                    <a:lnTo>
                      <a:pt x="513" y="677"/>
                    </a:lnTo>
                    <a:lnTo>
                      <a:pt x="497" y="676"/>
                    </a:lnTo>
                    <a:lnTo>
                      <a:pt x="463" y="669"/>
                    </a:lnTo>
                    <a:lnTo>
                      <a:pt x="436" y="669"/>
                    </a:lnTo>
                    <a:lnTo>
                      <a:pt x="417" y="671"/>
                    </a:lnTo>
                    <a:lnTo>
                      <a:pt x="408" y="671"/>
                    </a:lnTo>
                    <a:lnTo>
                      <a:pt x="391" y="665"/>
                    </a:lnTo>
                    <a:lnTo>
                      <a:pt x="385" y="655"/>
                    </a:lnTo>
                    <a:lnTo>
                      <a:pt x="369" y="644"/>
                    </a:lnTo>
                    <a:lnTo>
                      <a:pt x="349" y="644"/>
                    </a:lnTo>
                    <a:lnTo>
                      <a:pt x="302" y="644"/>
                    </a:lnTo>
                    <a:lnTo>
                      <a:pt x="255" y="644"/>
                    </a:lnTo>
                    <a:lnTo>
                      <a:pt x="201" y="644"/>
                    </a:lnTo>
                    <a:lnTo>
                      <a:pt x="151" y="644"/>
                    </a:lnTo>
                    <a:lnTo>
                      <a:pt x="133" y="644"/>
                    </a:lnTo>
                    <a:lnTo>
                      <a:pt x="126" y="646"/>
                    </a:lnTo>
                    <a:lnTo>
                      <a:pt x="112" y="633"/>
                    </a:lnTo>
                    <a:lnTo>
                      <a:pt x="99" y="628"/>
                    </a:lnTo>
                    <a:lnTo>
                      <a:pt x="94" y="619"/>
                    </a:lnTo>
                    <a:lnTo>
                      <a:pt x="84" y="618"/>
                    </a:lnTo>
                    <a:lnTo>
                      <a:pt x="62" y="618"/>
                    </a:lnTo>
                    <a:lnTo>
                      <a:pt x="52" y="622"/>
                    </a:lnTo>
                    <a:lnTo>
                      <a:pt x="42" y="632"/>
                    </a:lnTo>
                    <a:lnTo>
                      <a:pt x="36" y="635"/>
                    </a:lnTo>
                    <a:lnTo>
                      <a:pt x="26" y="629"/>
                    </a:lnTo>
                    <a:lnTo>
                      <a:pt x="15" y="638"/>
                    </a:lnTo>
                    <a:lnTo>
                      <a:pt x="4" y="644"/>
                    </a:lnTo>
                    <a:lnTo>
                      <a:pt x="4" y="638"/>
                    </a:lnTo>
                    <a:lnTo>
                      <a:pt x="0" y="617"/>
                    </a:lnTo>
                    <a:lnTo>
                      <a:pt x="0" y="606"/>
                    </a:lnTo>
                    <a:lnTo>
                      <a:pt x="5" y="608"/>
                    </a:lnTo>
                    <a:lnTo>
                      <a:pt x="5" y="59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8" name="Angola"/>
              <p:cNvSpPr>
                <a:spLocks noChangeAspect="1"/>
              </p:cNvSpPr>
              <p:nvPr>
                <p:custDataLst>
                  <p:tags r:id="rId325"/>
                </p:custDataLst>
              </p:nvPr>
            </p:nvSpPr>
            <p:spPr bwMode="gray">
              <a:xfrm>
                <a:off x="2647" y="2535"/>
                <a:ext cx="11" cy="16"/>
              </a:xfrm>
              <a:custGeom>
                <a:avLst/>
                <a:gdLst/>
                <a:ahLst/>
                <a:cxnLst>
                  <a:cxn ang="0">
                    <a:pos x="56" y="14"/>
                  </a:cxn>
                  <a:cxn ang="0">
                    <a:pos x="51" y="3"/>
                  </a:cxn>
                  <a:cxn ang="0">
                    <a:pos x="41" y="0"/>
                  </a:cxn>
                  <a:cxn ang="0">
                    <a:pos x="31" y="5"/>
                  </a:cxn>
                  <a:cxn ang="0">
                    <a:pos x="24" y="19"/>
                  </a:cxn>
                  <a:cxn ang="0">
                    <a:pos x="14" y="25"/>
                  </a:cxn>
                  <a:cxn ang="0">
                    <a:pos x="0" y="35"/>
                  </a:cxn>
                  <a:cxn ang="0">
                    <a:pos x="5" y="40"/>
                  </a:cxn>
                  <a:cxn ang="0">
                    <a:pos x="8" y="55"/>
                  </a:cxn>
                  <a:cxn ang="0">
                    <a:pos x="8" y="64"/>
                  </a:cxn>
                  <a:cxn ang="0">
                    <a:pos x="9" y="71"/>
                  </a:cxn>
                  <a:cxn ang="0">
                    <a:pos x="18" y="78"/>
                  </a:cxn>
                  <a:cxn ang="0">
                    <a:pos x="26" y="73"/>
                  </a:cxn>
                  <a:cxn ang="0">
                    <a:pos x="27" y="61"/>
                  </a:cxn>
                  <a:cxn ang="0">
                    <a:pos x="30" y="46"/>
                  </a:cxn>
                  <a:cxn ang="0">
                    <a:pos x="34" y="30"/>
                  </a:cxn>
                  <a:cxn ang="0">
                    <a:pos x="43" y="22"/>
                  </a:cxn>
                  <a:cxn ang="0">
                    <a:pos x="52" y="16"/>
                  </a:cxn>
                  <a:cxn ang="0">
                    <a:pos x="56" y="14"/>
                  </a:cxn>
                </a:cxnLst>
                <a:rect l="0" t="0" r="r" b="b"/>
                <a:pathLst>
                  <a:path w="56" h="78">
                    <a:moveTo>
                      <a:pt x="56" y="14"/>
                    </a:moveTo>
                    <a:lnTo>
                      <a:pt x="51" y="3"/>
                    </a:lnTo>
                    <a:lnTo>
                      <a:pt x="41" y="0"/>
                    </a:lnTo>
                    <a:lnTo>
                      <a:pt x="31" y="5"/>
                    </a:lnTo>
                    <a:lnTo>
                      <a:pt x="24" y="19"/>
                    </a:lnTo>
                    <a:lnTo>
                      <a:pt x="14" y="25"/>
                    </a:lnTo>
                    <a:lnTo>
                      <a:pt x="0" y="35"/>
                    </a:lnTo>
                    <a:lnTo>
                      <a:pt x="5" y="40"/>
                    </a:lnTo>
                    <a:lnTo>
                      <a:pt x="8" y="55"/>
                    </a:lnTo>
                    <a:lnTo>
                      <a:pt x="8" y="64"/>
                    </a:lnTo>
                    <a:lnTo>
                      <a:pt x="9" y="71"/>
                    </a:lnTo>
                    <a:lnTo>
                      <a:pt x="18" y="78"/>
                    </a:lnTo>
                    <a:lnTo>
                      <a:pt x="26" y="73"/>
                    </a:lnTo>
                    <a:lnTo>
                      <a:pt x="27" y="61"/>
                    </a:lnTo>
                    <a:lnTo>
                      <a:pt x="30" y="46"/>
                    </a:lnTo>
                    <a:lnTo>
                      <a:pt x="34" y="30"/>
                    </a:lnTo>
                    <a:lnTo>
                      <a:pt x="43" y="22"/>
                    </a:lnTo>
                    <a:lnTo>
                      <a:pt x="52" y="16"/>
                    </a:lnTo>
                    <a:lnTo>
                      <a:pt x="56" y="1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8" name="Lesotho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gray">
            <a:xfrm>
              <a:off x="5148839" y="5388080"/>
              <a:ext cx="58515" cy="60856"/>
            </a:xfrm>
            <a:custGeom>
              <a:avLst/>
              <a:gdLst/>
              <a:ahLst/>
              <a:cxnLst>
                <a:cxn ang="0">
                  <a:pos x="125" y="52"/>
                </a:cxn>
                <a:cxn ang="0">
                  <a:pos x="127" y="49"/>
                </a:cxn>
                <a:cxn ang="0">
                  <a:pos x="126" y="58"/>
                </a:cxn>
                <a:cxn ang="0">
                  <a:pos x="103" y="98"/>
                </a:cxn>
                <a:cxn ang="0">
                  <a:pos x="73" y="109"/>
                </a:cxn>
                <a:cxn ang="0">
                  <a:pos x="63" y="125"/>
                </a:cxn>
                <a:cxn ang="0">
                  <a:pos x="55" y="129"/>
                </a:cxn>
                <a:cxn ang="0">
                  <a:pos x="43" y="131"/>
                </a:cxn>
                <a:cxn ang="0">
                  <a:pos x="23" y="113"/>
                </a:cxn>
                <a:cxn ang="0">
                  <a:pos x="11" y="100"/>
                </a:cxn>
                <a:cxn ang="0">
                  <a:pos x="5" y="88"/>
                </a:cxn>
                <a:cxn ang="0">
                  <a:pos x="0" y="74"/>
                </a:cxn>
                <a:cxn ang="0">
                  <a:pos x="2" y="61"/>
                </a:cxn>
                <a:cxn ang="0">
                  <a:pos x="28" y="27"/>
                </a:cxn>
                <a:cxn ang="0">
                  <a:pos x="40" y="16"/>
                </a:cxn>
                <a:cxn ang="0">
                  <a:pos x="68" y="1"/>
                </a:cxn>
                <a:cxn ang="0">
                  <a:pos x="83" y="0"/>
                </a:cxn>
                <a:cxn ang="0">
                  <a:pos x="95" y="6"/>
                </a:cxn>
                <a:cxn ang="0">
                  <a:pos x="105" y="18"/>
                </a:cxn>
                <a:cxn ang="0">
                  <a:pos x="113" y="29"/>
                </a:cxn>
                <a:cxn ang="0">
                  <a:pos x="121" y="42"/>
                </a:cxn>
                <a:cxn ang="0">
                  <a:pos x="125" y="52"/>
                </a:cxn>
              </a:cxnLst>
              <a:rect l="0" t="0" r="r" b="b"/>
              <a:pathLst>
                <a:path w="127" h="131">
                  <a:moveTo>
                    <a:pt x="125" y="52"/>
                  </a:moveTo>
                  <a:lnTo>
                    <a:pt x="127" y="49"/>
                  </a:lnTo>
                  <a:lnTo>
                    <a:pt x="126" y="58"/>
                  </a:lnTo>
                  <a:lnTo>
                    <a:pt x="103" y="98"/>
                  </a:lnTo>
                  <a:lnTo>
                    <a:pt x="73" y="109"/>
                  </a:lnTo>
                  <a:lnTo>
                    <a:pt x="63" y="125"/>
                  </a:lnTo>
                  <a:lnTo>
                    <a:pt x="55" y="129"/>
                  </a:lnTo>
                  <a:lnTo>
                    <a:pt x="43" y="131"/>
                  </a:lnTo>
                  <a:lnTo>
                    <a:pt x="23" y="113"/>
                  </a:lnTo>
                  <a:lnTo>
                    <a:pt x="11" y="100"/>
                  </a:lnTo>
                  <a:lnTo>
                    <a:pt x="5" y="88"/>
                  </a:lnTo>
                  <a:lnTo>
                    <a:pt x="0" y="74"/>
                  </a:lnTo>
                  <a:lnTo>
                    <a:pt x="2" y="61"/>
                  </a:lnTo>
                  <a:lnTo>
                    <a:pt x="28" y="27"/>
                  </a:lnTo>
                  <a:lnTo>
                    <a:pt x="40" y="16"/>
                  </a:lnTo>
                  <a:lnTo>
                    <a:pt x="68" y="1"/>
                  </a:lnTo>
                  <a:lnTo>
                    <a:pt x="83" y="0"/>
                  </a:lnTo>
                  <a:lnTo>
                    <a:pt x="95" y="6"/>
                  </a:lnTo>
                  <a:lnTo>
                    <a:pt x="105" y="18"/>
                  </a:lnTo>
                  <a:lnTo>
                    <a:pt x="113" y="29"/>
                  </a:lnTo>
                  <a:lnTo>
                    <a:pt x="121" y="42"/>
                  </a:lnTo>
                  <a:lnTo>
                    <a:pt x="125" y="5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29" name="Zambia"/>
            <p:cNvSpPr>
              <a:spLocks noChangeAspect="1"/>
            </p:cNvSpPr>
            <p:nvPr>
              <p:custDataLst>
                <p:tags r:id="rId28"/>
              </p:custDataLst>
            </p:nvPr>
          </p:nvSpPr>
          <p:spPr bwMode="gray">
            <a:xfrm>
              <a:off x="5017766" y="4838039"/>
              <a:ext cx="299597" cy="257466"/>
            </a:xfrm>
            <a:custGeom>
              <a:avLst/>
              <a:gdLst/>
              <a:ahLst/>
              <a:cxnLst>
                <a:cxn ang="0">
                  <a:pos x="0" y="320"/>
                </a:cxn>
                <a:cxn ang="0">
                  <a:pos x="110" y="264"/>
                </a:cxn>
                <a:cxn ang="0">
                  <a:pos x="108" y="232"/>
                </a:cxn>
                <a:cxn ang="0">
                  <a:pos x="110" y="179"/>
                </a:cxn>
                <a:cxn ang="0">
                  <a:pos x="113" y="156"/>
                </a:cxn>
                <a:cxn ang="0">
                  <a:pos x="120" y="145"/>
                </a:cxn>
                <a:cxn ang="0">
                  <a:pos x="132" y="168"/>
                </a:cxn>
                <a:cxn ang="0">
                  <a:pos x="156" y="166"/>
                </a:cxn>
                <a:cxn ang="0">
                  <a:pos x="183" y="178"/>
                </a:cxn>
                <a:cxn ang="0">
                  <a:pos x="231" y="205"/>
                </a:cxn>
                <a:cxn ang="0">
                  <a:pos x="274" y="196"/>
                </a:cxn>
                <a:cxn ang="0">
                  <a:pos x="323" y="226"/>
                </a:cxn>
                <a:cxn ang="0">
                  <a:pos x="350" y="252"/>
                </a:cxn>
                <a:cxn ang="0">
                  <a:pos x="397" y="277"/>
                </a:cxn>
                <a:cxn ang="0">
                  <a:pos x="411" y="275"/>
                </a:cxn>
                <a:cxn ang="0">
                  <a:pos x="426" y="281"/>
                </a:cxn>
                <a:cxn ang="0">
                  <a:pos x="421" y="223"/>
                </a:cxn>
                <a:cxn ang="0">
                  <a:pos x="383" y="225"/>
                </a:cxn>
                <a:cxn ang="0">
                  <a:pos x="358" y="199"/>
                </a:cxn>
                <a:cxn ang="0">
                  <a:pos x="377" y="131"/>
                </a:cxn>
                <a:cxn ang="0">
                  <a:pos x="370" y="66"/>
                </a:cxn>
                <a:cxn ang="0">
                  <a:pos x="379" y="37"/>
                </a:cxn>
                <a:cxn ang="0">
                  <a:pos x="397" y="17"/>
                </a:cxn>
                <a:cxn ang="0">
                  <a:pos x="470" y="13"/>
                </a:cxn>
                <a:cxn ang="0">
                  <a:pos x="494" y="33"/>
                </a:cxn>
                <a:cxn ang="0">
                  <a:pos x="526" y="32"/>
                </a:cxn>
                <a:cxn ang="0">
                  <a:pos x="575" y="57"/>
                </a:cxn>
                <a:cxn ang="0">
                  <a:pos x="603" y="67"/>
                </a:cxn>
                <a:cxn ang="0">
                  <a:pos x="605" y="82"/>
                </a:cxn>
                <a:cxn ang="0">
                  <a:pos x="626" y="107"/>
                </a:cxn>
                <a:cxn ang="0">
                  <a:pos x="640" y="139"/>
                </a:cxn>
                <a:cxn ang="0">
                  <a:pos x="625" y="151"/>
                </a:cxn>
                <a:cxn ang="0">
                  <a:pos x="620" y="194"/>
                </a:cxn>
                <a:cxn ang="0">
                  <a:pos x="624" y="231"/>
                </a:cxn>
                <a:cxn ang="0">
                  <a:pos x="619" y="243"/>
                </a:cxn>
                <a:cxn ang="0">
                  <a:pos x="603" y="265"/>
                </a:cxn>
                <a:cxn ang="0">
                  <a:pos x="589" y="306"/>
                </a:cxn>
                <a:cxn ang="0">
                  <a:pos x="608" y="322"/>
                </a:cxn>
                <a:cxn ang="0">
                  <a:pos x="438" y="383"/>
                </a:cxn>
                <a:cxn ang="0">
                  <a:pos x="452" y="416"/>
                </a:cxn>
                <a:cxn ang="0">
                  <a:pos x="424" y="414"/>
                </a:cxn>
                <a:cxn ang="0">
                  <a:pos x="385" y="425"/>
                </a:cxn>
                <a:cxn ang="0">
                  <a:pos x="365" y="442"/>
                </a:cxn>
                <a:cxn ang="0">
                  <a:pos x="363" y="464"/>
                </a:cxn>
                <a:cxn ang="0">
                  <a:pos x="336" y="469"/>
                </a:cxn>
                <a:cxn ang="0">
                  <a:pos x="315" y="481"/>
                </a:cxn>
                <a:cxn ang="0">
                  <a:pos x="303" y="491"/>
                </a:cxn>
                <a:cxn ang="0">
                  <a:pos x="285" y="524"/>
                </a:cxn>
                <a:cxn ang="0">
                  <a:pos x="264" y="549"/>
                </a:cxn>
                <a:cxn ang="0">
                  <a:pos x="245" y="546"/>
                </a:cxn>
                <a:cxn ang="0">
                  <a:pos x="211" y="546"/>
                </a:cxn>
                <a:cxn ang="0">
                  <a:pos x="172" y="539"/>
                </a:cxn>
                <a:cxn ang="0">
                  <a:pos x="139" y="518"/>
                </a:cxn>
                <a:cxn ang="0">
                  <a:pos x="65" y="527"/>
                </a:cxn>
                <a:cxn ang="0">
                  <a:pos x="40" y="507"/>
                </a:cxn>
                <a:cxn ang="0">
                  <a:pos x="7" y="475"/>
                </a:cxn>
              </a:cxnLst>
              <a:rect l="0" t="0" r="r" b="b"/>
              <a:pathLst>
                <a:path w="640" h="552">
                  <a:moveTo>
                    <a:pt x="0" y="468"/>
                  </a:moveTo>
                  <a:lnTo>
                    <a:pt x="0" y="430"/>
                  </a:lnTo>
                  <a:lnTo>
                    <a:pt x="0" y="376"/>
                  </a:lnTo>
                  <a:lnTo>
                    <a:pt x="0" y="320"/>
                  </a:lnTo>
                  <a:lnTo>
                    <a:pt x="0" y="266"/>
                  </a:lnTo>
                  <a:lnTo>
                    <a:pt x="60" y="266"/>
                  </a:lnTo>
                  <a:lnTo>
                    <a:pt x="119" y="266"/>
                  </a:lnTo>
                  <a:lnTo>
                    <a:pt x="110" y="264"/>
                  </a:lnTo>
                  <a:lnTo>
                    <a:pt x="107" y="260"/>
                  </a:lnTo>
                  <a:lnTo>
                    <a:pt x="105" y="256"/>
                  </a:lnTo>
                  <a:lnTo>
                    <a:pt x="105" y="241"/>
                  </a:lnTo>
                  <a:lnTo>
                    <a:pt x="108" y="232"/>
                  </a:lnTo>
                  <a:lnTo>
                    <a:pt x="109" y="218"/>
                  </a:lnTo>
                  <a:lnTo>
                    <a:pt x="108" y="204"/>
                  </a:lnTo>
                  <a:lnTo>
                    <a:pt x="110" y="191"/>
                  </a:lnTo>
                  <a:lnTo>
                    <a:pt x="110" y="179"/>
                  </a:lnTo>
                  <a:lnTo>
                    <a:pt x="113" y="173"/>
                  </a:lnTo>
                  <a:lnTo>
                    <a:pt x="113" y="168"/>
                  </a:lnTo>
                  <a:lnTo>
                    <a:pt x="112" y="158"/>
                  </a:lnTo>
                  <a:lnTo>
                    <a:pt x="113" y="156"/>
                  </a:lnTo>
                  <a:lnTo>
                    <a:pt x="114" y="155"/>
                  </a:lnTo>
                  <a:lnTo>
                    <a:pt x="114" y="151"/>
                  </a:lnTo>
                  <a:lnTo>
                    <a:pt x="110" y="147"/>
                  </a:lnTo>
                  <a:lnTo>
                    <a:pt x="120" y="145"/>
                  </a:lnTo>
                  <a:lnTo>
                    <a:pt x="124" y="145"/>
                  </a:lnTo>
                  <a:lnTo>
                    <a:pt x="126" y="14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4" y="173"/>
                  </a:lnTo>
                  <a:lnTo>
                    <a:pt x="137" y="173"/>
                  </a:lnTo>
                  <a:lnTo>
                    <a:pt x="151" y="167"/>
                  </a:lnTo>
                  <a:lnTo>
                    <a:pt x="156" y="166"/>
                  </a:lnTo>
                  <a:lnTo>
                    <a:pt x="162" y="166"/>
                  </a:lnTo>
                  <a:lnTo>
                    <a:pt x="173" y="161"/>
                  </a:lnTo>
                  <a:lnTo>
                    <a:pt x="179" y="169"/>
                  </a:lnTo>
                  <a:lnTo>
                    <a:pt x="183" y="178"/>
                  </a:lnTo>
                  <a:lnTo>
                    <a:pt x="188" y="184"/>
                  </a:lnTo>
                  <a:lnTo>
                    <a:pt x="201" y="190"/>
                  </a:lnTo>
                  <a:lnTo>
                    <a:pt x="213" y="198"/>
                  </a:lnTo>
                  <a:lnTo>
                    <a:pt x="231" y="205"/>
                  </a:lnTo>
                  <a:lnTo>
                    <a:pt x="243" y="206"/>
                  </a:lnTo>
                  <a:lnTo>
                    <a:pt x="252" y="204"/>
                  </a:lnTo>
                  <a:lnTo>
                    <a:pt x="264" y="199"/>
                  </a:lnTo>
                  <a:lnTo>
                    <a:pt x="274" y="196"/>
                  </a:lnTo>
                  <a:lnTo>
                    <a:pt x="279" y="198"/>
                  </a:lnTo>
                  <a:lnTo>
                    <a:pt x="298" y="216"/>
                  </a:lnTo>
                  <a:lnTo>
                    <a:pt x="312" y="222"/>
                  </a:lnTo>
                  <a:lnTo>
                    <a:pt x="323" y="226"/>
                  </a:lnTo>
                  <a:lnTo>
                    <a:pt x="334" y="227"/>
                  </a:lnTo>
                  <a:lnTo>
                    <a:pt x="341" y="233"/>
                  </a:lnTo>
                  <a:lnTo>
                    <a:pt x="346" y="245"/>
                  </a:lnTo>
                  <a:lnTo>
                    <a:pt x="350" y="252"/>
                  </a:lnTo>
                  <a:lnTo>
                    <a:pt x="363" y="264"/>
                  </a:lnTo>
                  <a:lnTo>
                    <a:pt x="377" y="272"/>
                  </a:lnTo>
                  <a:lnTo>
                    <a:pt x="387" y="276"/>
                  </a:lnTo>
                  <a:lnTo>
                    <a:pt x="397" y="277"/>
                  </a:lnTo>
                  <a:lnTo>
                    <a:pt x="400" y="277"/>
                  </a:lnTo>
                  <a:lnTo>
                    <a:pt x="406" y="275"/>
                  </a:lnTo>
                  <a:lnTo>
                    <a:pt x="410" y="274"/>
                  </a:lnTo>
                  <a:lnTo>
                    <a:pt x="411" y="275"/>
                  </a:lnTo>
                  <a:lnTo>
                    <a:pt x="416" y="282"/>
                  </a:lnTo>
                  <a:lnTo>
                    <a:pt x="420" y="283"/>
                  </a:lnTo>
                  <a:lnTo>
                    <a:pt x="424" y="283"/>
                  </a:lnTo>
                  <a:lnTo>
                    <a:pt x="426" y="281"/>
                  </a:lnTo>
                  <a:lnTo>
                    <a:pt x="426" y="274"/>
                  </a:lnTo>
                  <a:lnTo>
                    <a:pt x="425" y="266"/>
                  </a:lnTo>
                  <a:lnTo>
                    <a:pt x="424" y="231"/>
                  </a:lnTo>
                  <a:lnTo>
                    <a:pt x="421" y="223"/>
                  </a:lnTo>
                  <a:lnTo>
                    <a:pt x="415" y="222"/>
                  </a:lnTo>
                  <a:lnTo>
                    <a:pt x="406" y="227"/>
                  </a:lnTo>
                  <a:lnTo>
                    <a:pt x="395" y="225"/>
                  </a:lnTo>
                  <a:lnTo>
                    <a:pt x="383" y="225"/>
                  </a:lnTo>
                  <a:lnTo>
                    <a:pt x="376" y="220"/>
                  </a:lnTo>
                  <a:lnTo>
                    <a:pt x="366" y="207"/>
                  </a:lnTo>
                  <a:lnTo>
                    <a:pt x="360" y="201"/>
                  </a:lnTo>
                  <a:lnTo>
                    <a:pt x="358" y="199"/>
                  </a:lnTo>
                  <a:lnTo>
                    <a:pt x="357" y="189"/>
                  </a:lnTo>
                  <a:lnTo>
                    <a:pt x="360" y="182"/>
                  </a:lnTo>
                  <a:lnTo>
                    <a:pt x="362" y="170"/>
                  </a:lnTo>
                  <a:lnTo>
                    <a:pt x="377" y="131"/>
                  </a:lnTo>
                  <a:lnTo>
                    <a:pt x="378" y="124"/>
                  </a:lnTo>
                  <a:lnTo>
                    <a:pt x="379" y="99"/>
                  </a:lnTo>
                  <a:lnTo>
                    <a:pt x="377" y="85"/>
                  </a:lnTo>
                  <a:lnTo>
                    <a:pt x="370" y="66"/>
                  </a:lnTo>
                  <a:lnTo>
                    <a:pt x="370" y="56"/>
                  </a:lnTo>
                  <a:lnTo>
                    <a:pt x="372" y="53"/>
                  </a:lnTo>
                  <a:lnTo>
                    <a:pt x="374" y="44"/>
                  </a:lnTo>
                  <a:lnTo>
                    <a:pt x="379" y="37"/>
                  </a:lnTo>
                  <a:lnTo>
                    <a:pt x="387" y="23"/>
                  </a:lnTo>
                  <a:lnTo>
                    <a:pt x="389" y="21"/>
                  </a:lnTo>
                  <a:lnTo>
                    <a:pt x="394" y="17"/>
                  </a:lnTo>
                  <a:lnTo>
                    <a:pt x="397" y="17"/>
                  </a:lnTo>
                  <a:lnTo>
                    <a:pt x="406" y="13"/>
                  </a:lnTo>
                  <a:lnTo>
                    <a:pt x="468" y="0"/>
                  </a:lnTo>
                  <a:lnTo>
                    <a:pt x="471" y="6"/>
                  </a:lnTo>
                  <a:lnTo>
                    <a:pt x="470" y="13"/>
                  </a:lnTo>
                  <a:lnTo>
                    <a:pt x="471" y="22"/>
                  </a:lnTo>
                  <a:lnTo>
                    <a:pt x="475" y="23"/>
                  </a:lnTo>
                  <a:lnTo>
                    <a:pt x="483" y="24"/>
                  </a:lnTo>
                  <a:lnTo>
                    <a:pt x="494" y="33"/>
                  </a:lnTo>
                  <a:lnTo>
                    <a:pt x="502" y="22"/>
                  </a:lnTo>
                  <a:lnTo>
                    <a:pt x="508" y="21"/>
                  </a:lnTo>
                  <a:lnTo>
                    <a:pt x="516" y="23"/>
                  </a:lnTo>
                  <a:lnTo>
                    <a:pt x="526" y="32"/>
                  </a:lnTo>
                  <a:lnTo>
                    <a:pt x="530" y="39"/>
                  </a:lnTo>
                  <a:lnTo>
                    <a:pt x="538" y="43"/>
                  </a:lnTo>
                  <a:lnTo>
                    <a:pt x="546" y="45"/>
                  </a:lnTo>
                  <a:lnTo>
                    <a:pt x="575" y="57"/>
                  </a:lnTo>
                  <a:lnTo>
                    <a:pt x="586" y="61"/>
                  </a:lnTo>
                  <a:lnTo>
                    <a:pt x="597" y="61"/>
                  </a:lnTo>
                  <a:lnTo>
                    <a:pt x="599" y="64"/>
                  </a:lnTo>
                  <a:lnTo>
                    <a:pt x="603" y="67"/>
                  </a:lnTo>
                  <a:lnTo>
                    <a:pt x="602" y="70"/>
                  </a:lnTo>
                  <a:lnTo>
                    <a:pt x="602" y="75"/>
                  </a:lnTo>
                  <a:lnTo>
                    <a:pt x="603" y="76"/>
                  </a:lnTo>
                  <a:lnTo>
                    <a:pt x="605" y="82"/>
                  </a:lnTo>
                  <a:lnTo>
                    <a:pt x="614" y="82"/>
                  </a:lnTo>
                  <a:lnTo>
                    <a:pt x="621" y="91"/>
                  </a:lnTo>
                  <a:lnTo>
                    <a:pt x="623" y="96"/>
                  </a:lnTo>
                  <a:lnTo>
                    <a:pt x="626" y="107"/>
                  </a:lnTo>
                  <a:lnTo>
                    <a:pt x="632" y="112"/>
                  </a:lnTo>
                  <a:lnTo>
                    <a:pt x="635" y="130"/>
                  </a:lnTo>
                  <a:lnTo>
                    <a:pt x="639" y="132"/>
                  </a:lnTo>
                  <a:lnTo>
                    <a:pt x="640" y="139"/>
                  </a:lnTo>
                  <a:lnTo>
                    <a:pt x="640" y="142"/>
                  </a:lnTo>
                  <a:lnTo>
                    <a:pt x="631" y="147"/>
                  </a:lnTo>
                  <a:lnTo>
                    <a:pt x="629" y="148"/>
                  </a:lnTo>
                  <a:lnTo>
                    <a:pt x="625" y="151"/>
                  </a:lnTo>
                  <a:lnTo>
                    <a:pt x="624" y="161"/>
                  </a:lnTo>
                  <a:lnTo>
                    <a:pt x="625" y="169"/>
                  </a:lnTo>
                  <a:lnTo>
                    <a:pt x="619" y="186"/>
                  </a:lnTo>
                  <a:lnTo>
                    <a:pt x="620" y="194"/>
                  </a:lnTo>
                  <a:lnTo>
                    <a:pt x="621" y="209"/>
                  </a:lnTo>
                  <a:lnTo>
                    <a:pt x="619" y="223"/>
                  </a:lnTo>
                  <a:lnTo>
                    <a:pt x="620" y="226"/>
                  </a:lnTo>
                  <a:lnTo>
                    <a:pt x="624" y="231"/>
                  </a:lnTo>
                  <a:lnTo>
                    <a:pt x="629" y="233"/>
                  </a:lnTo>
                  <a:lnTo>
                    <a:pt x="630" y="239"/>
                  </a:lnTo>
                  <a:lnTo>
                    <a:pt x="627" y="242"/>
                  </a:lnTo>
                  <a:lnTo>
                    <a:pt x="619" y="243"/>
                  </a:lnTo>
                  <a:lnTo>
                    <a:pt x="613" y="248"/>
                  </a:lnTo>
                  <a:lnTo>
                    <a:pt x="608" y="249"/>
                  </a:lnTo>
                  <a:lnTo>
                    <a:pt x="607" y="250"/>
                  </a:lnTo>
                  <a:lnTo>
                    <a:pt x="603" y="265"/>
                  </a:lnTo>
                  <a:lnTo>
                    <a:pt x="603" y="280"/>
                  </a:lnTo>
                  <a:lnTo>
                    <a:pt x="598" y="295"/>
                  </a:lnTo>
                  <a:lnTo>
                    <a:pt x="591" y="302"/>
                  </a:lnTo>
                  <a:lnTo>
                    <a:pt x="589" y="306"/>
                  </a:lnTo>
                  <a:lnTo>
                    <a:pt x="592" y="314"/>
                  </a:lnTo>
                  <a:lnTo>
                    <a:pt x="597" y="315"/>
                  </a:lnTo>
                  <a:lnTo>
                    <a:pt x="600" y="323"/>
                  </a:lnTo>
                  <a:lnTo>
                    <a:pt x="608" y="322"/>
                  </a:lnTo>
                  <a:lnTo>
                    <a:pt x="612" y="324"/>
                  </a:lnTo>
                  <a:lnTo>
                    <a:pt x="612" y="325"/>
                  </a:lnTo>
                  <a:lnTo>
                    <a:pt x="603" y="326"/>
                  </a:lnTo>
                  <a:lnTo>
                    <a:pt x="438" y="383"/>
                  </a:lnTo>
                  <a:lnTo>
                    <a:pt x="446" y="399"/>
                  </a:lnTo>
                  <a:lnTo>
                    <a:pt x="448" y="411"/>
                  </a:lnTo>
                  <a:lnTo>
                    <a:pt x="453" y="414"/>
                  </a:lnTo>
                  <a:lnTo>
                    <a:pt x="452" y="416"/>
                  </a:lnTo>
                  <a:lnTo>
                    <a:pt x="444" y="415"/>
                  </a:lnTo>
                  <a:lnTo>
                    <a:pt x="436" y="417"/>
                  </a:lnTo>
                  <a:lnTo>
                    <a:pt x="430" y="416"/>
                  </a:lnTo>
                  <a:lnTo>
                    <a:pt x="424" y="414"/>
                  </a:lnTo>
                  <a:lnTo>
                    <a:pt x="420" y="414"/>
                  </a:lnTo>
                  <a:lnTo>
                    <a:pt x="408" y="420"/>
                  </a:lnTo>
                  <a:lnTo>
                    <a:pt x="392" y="421"/>
                  </a:lnTo>
                  <a:lnTo>
                    <a:pt x="385" y="425"/>
                  </a:lnTo>
                  <a:lnTo>
                    <a:pt x="378" y="432"/>
                  </a:lnTo>
                  <a:lnTo>
                    <a:pt x="372" y="432"/>
                  </a:lnTo>
                  <a:lnTo>
                    <a:pt x="366" y="435"/>
                  </a:lnTo>
                  <a:lnTo>
                    <a:pt x="365" y="442"/>
                  </a:lnTo>
                  <a:lnTo>
                    <a:pt x="365" y="451"/>
                  </a:lnTo>
                  <a:lnTo>
                    <a:pt x="366" y="455"/>
                  </a:lnTo>
                  <a:lnTo>
                    <a:pt x="365" y="459"/>
                  </a:lnTo>
                  <a:lnTo>
                    <a:pt x="363" y="464"/>
                  </a:lnTo>
                  <a:lnTo>
                    <a:pt x="362" y="468"/>
                  </a:lnTo>
                  <a:lnTo>
                    <a:pt x="354" y="468"/>
                  </a:lnTo>
                  <a:lnTo>
                    <a:pt x="342" y="467"/>
                  </a:lnTo>
                  <a:lnTo>
                    <a:pt x="336" y="469"/>
                  </a:lnTo>
                  <a:lnTo>
                    <a:pt x="334" y="473"/>
                  </a:lnTo>
                  <a:lnTo>
                    <a:pt x="331" y="473"/>
                  </a:lnTo>
                  <a:lnTo>
                    <a:pt x="324" y="482"/>
                  </a:lnTo>
                  <a:lnTo>
                    <a:pt x="315" y="481"/>
                  </a:lnTo>
                  <a:lnTo>
                    <a:pt x="312" y="482"/>
                  </a:lnTo>
                  <a:lnTo>
                    <a:pt x="309" y="485"/>
                  </a:lnTo>
                  <a:lnTo>
                    <a:pt x="307" y="490"/>
                  </a:lnTo>
                  <a:lnTo>
                    <a:pt x="303" y="491"/>
                  </a:lnTo>
                  <a:lnTo>
                    <a:pt x="297" y="503"/>
                  </a:lnTo>
                  <a:lnTo>
                    <a:pt x="287" y="513"/>
                  </a:lnTo>
                  <a:lnTo>
                    <a:pt x="285" y="518"/>
                  </a:lnTo>
                  <a:lnTo>
                    <a:pt x="285" y="524"/>
                  </a:lnTo>
                  <a:lnTo>
                    <a:pt x="280" y="529"/>
                  </a:lnTo>
                  <a:lnTo>
                    <a:pt x="276" y="532"/>
                  </a:lnTo>
                  <a:lnTo>
                    <a:pt x="270" y="541"/>
                  </a:lnTo>
                  <a:lnTo>
                    <a:pt x="264" y="549"/>
                  </a:lnTo>
                  <a:lnTo>
                    <a:pt x="259" y="549"/>
                  </a:lnTo>
                  <a:lnTo>
                    <a:pt x="252" y="552"/>
                  </a:lnTo>
                  <a:lnTo>
                    <a:pt x="247" y="551"/>
                  </a:lnTo>
                  <a:lnTo>
                    <a:pt x="245" y="546"/>
                  </a:lnTo>
                  <a:lnTo>
                    <a:pt x="241" y="544"/>
                  </a:lnTo>
                  <a:lnTo>
                    <a:pt x="233" y="545"/>
                  </a:lnTo>
                  <a:lnTo>
                    <a:pt x="228" y="544"/>
                  </a:lnTo>
                  <a:lnTo>
                    <a:pt x="211" y="546"/>
                  </a:lnTo>
                  <a:lnTo>
                    <a:pt x="198" y="541"/>
                  </a:lnTo>
                  <a:lnTo>
                    <a:pt x="179" y="543"/>
                  </a:lnTo>
                  <a:lnTo>
                    <a:pt x="174" y="543"/>
                  </a:lnTo>
                  <a:lnTo>
                    <a:pt x="172" y="539"/>
                  </a:lnTo>
                  <a:lnTo>
                    <a:pt x="164" y="537"/>
                  </a:lnTo>
                  <a:lnTo>
                    <a:pt x="157" y="524"/>
                  </a:lnTo>
                  <a:lnTo>
                    <a:pt x="153" y="521"/>
                  </a:lnTo>
                  <a:lnTo>
                    <a:pt x="139" y="518"/>
                  </a:lnTo>
                  <a:lnTo>
                    <a:pt x="118" y="518"/>
                  </a:lnTo>
                  <a:lnTo>
                    <a:pt x="115" y="514"/>
                  </a:lnTo>
                  <a:lnTo>
                    <a:pt x="72" y="525"/>
                  </a:lnTo>
                  <a:lnTo>
                    <a:pt x="65" y="527"/>
                  </a:lnTo>
                  <a:lnTo>
                    <a:pt x="57" y="522"/>
                  </a:lnTo>
                  <a:lnTo>
                    <a:pt x="53" y="516"/>
                  </a:lnTo>
                  <a:lnTo>
                    <a:pt x="44" y="512"/>
                  </a:lnTo>
                  <a:lnTo>
                    <a:pt x="40" y="507"/>
                  </a:lnTo>
                  <a:lnTo>
                    <a:pt x="30" y="498"/>
                  </a:lnTo>
                  <a:lnTo>
                    <a:pt x="24" y="491"/>
                  </a:lnTo>
                  <a:lnTo>
                    <a:pt x="11" y="482"/>
                  </a:lnTo>
                  <a:lnTo>
                    <a:pt x="7" y="475"/>
                  </a:lnTo>
                  <a:lnTo>
                    <a:pt x="0" y="469"/>
                  </a:lnTo>
                  <a:lnTo>
                    <a:pt x="0" y="46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30" name="Zimbabwe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gray">
            <a:xfrm>
              <a:off x="5099687" y="5032308"/>
              <a:ext cx="198951" cy="189589"/>
            </a:xfrm>
            <a:custGeom>
              <a:avLst/>
              <a:gdLst/>
              <a:ahLst/>
              <a:cxnLst>
                <a:cxn ang="0">
                  <a:pos x="202" y="60"/>
                </a:cxn>
                <a:cxn ang="0">
                  <a:pos x="198" y="66"/>
                </a:cxn>
                <a:cxn ang="0">
                  <a:pos x="193" y="70"/>
                </a:cxn>
                <a:cxn ang="0">
                  <a:pos x="179" y="66"/>
                </a:cxn>
                <a:cxn ang="0">
                  <a:pos x="175" y="71"/>
                </a:cxn>
                <a:cxn ang="0">
                  <a:pos x="169" y="70"/>
                </a:cxn>
                <a:cxn ang="0">
                  <a:pos x="164" y="72"/>
                </a:cxn>
                <a:cxn ang="0">
                  <a:pos x="156" y="78"/>
                </a:cxn>
                <a:cxn ang="0">
                  <a:pos x="156" y="83"/>
                </a:cxn>
                <a:cxn ang="0">
                  <a:pos x="153" y="86"/>
                </a:cxn>
                <a:cxn ang="0">
                  <a:pos x="143" y="87"/>
                </a:cxn>
                <a:cxn ang="0">
                  <a:pos x="140" y="93"/>
                </a:cxn>
                <a:cxn ang="0">
                  <a:pos x="130" y="100"/>
                </a:cxn>
                <a:cxn ang="0">
                  <a:pos x="121" y="110"/>
                </a:cxn>
                <a:cxn ang="0">
                  <a:pos x="115" y="115"/>
                </a:cxn>
                <a:cxn ang="0">
                  <a:pos x="103" y="129"/>
                </a:cxn>
                <a:cxn ang="0">
                  <a:pos x="92" y="135"/>
                </a:cxn>
                <a:cxn ang="0">
                  <a:pos x="80" y="138"/>
                </a:cxn>
                <a:cxn ang="0">
                  <a:pos x="73" y="132"/>
                </a:cxn>
                <a:cxn ang="0">
                  <a:pos x="61" y="131"/>
                </a:cxn>
                <a:cxn ang="0">
                  <a:pos x="39" y="132"/>
                </a:cxn>
                <a:cxn ang="0">
                  <a:pos x="7" y="129"/>
                </a:cxn>
                <a:cxn ang="0">
                  <a:pos x="0" y="125"/>
                </a:cxn>
                <a:cxn ang="0">
                  <a:pos x="3" y="140"/>
                </a:cxn>
                <a:cxn ang="0">
                  <a:pos x="27" y="172"/>
                </a:cxn>
                <a:cxn ang="0">
                  <a:pos x="35" y="197"/>
                </a:cxn>
                <a:cxn ang="0">
                  <a:pos x="77" y="247"/>
                </a:cxn>
                <a:cxn ang="0">
                  <a:pos x="107" y="260"/>
                </a:cxn>
                <a:cxn ang="0">
                  <a:pos x="129" y="279"/>
                </a:cxn>
                <a:cxn ang="0">
                  <a:pos x="140" y="308"/>
                </a:cxn>
                <a:cxn ang="0">
                  <a:pos x="150" y="341"/>
                </a:cxn>
                <a:cxn ang="0">
                  <a:pos x="167" y="355"/>
                </a:cxn>
                <a:cxn ang="0">
                  <a:pos x="193" y="357"/>
                </a:cxn>
                <a:cxn ang="0">
                  <a:pos x="216" y="367"/>
                </a:cxn>
                <a:cxn ang="0">
                  <a:pos x="239" y="371"/>
                </a:cxn>
                <a:cxn ang="0">
                  <a:pos x="271" y="380"/>
                </a:cxn>
                <a:cxn ang="0">
                  <a:pos x="296" y="380"/>
                </a:cxn>
                <a:cxn ang="0">
                  <a:pos x="329" y="388"/>
                </a:cxn>
                <a:cxn ang="0">
                  <a:pos x="349" y="404"/>
                </a:cxn>
                <a:cxn ang="0">
                  <a:pos x="351" y="404"/>
                </a:cxn>
                <a:cxn ang="0">
                  <a:pos x="355" y="377"/>
                </a:cxn>
                <a:cxn ang="0">
                  <a:pos x="372" y="360"/>
                </a:cxn>
                <a:cxn ang="0">
                  <a:pos x="398" y="318"/>
                </a:cxn>
                <a:cxn ang="0">
                  <a:pos x="422" y="251"/>
                </a:cxn>
                <a:cxn ang="0">
                  <a:pos x="414" y="211"/>
                </a:cxn>
                <a:cxn ang="0">
                  <a:pos x="422" y="175"/>
                </a:cxn>
                <a:cxn ang="0">
                  <a:pos x="428" y="151"/>
                </a:cxn>
                <a:cxn ang="0">
                  <a:pos x="428" y="105"/>
                </a:cxn>
                <a:cxn ang="0">
                  <a:pos x="420" y="73"/>
                </a:cxn>
                <a:cxn ang="0">
                  <a:pos x="410" y="50"/>
                </a:cxn>
                <a:cxn ang="0">
                  <a:pos x="351" y="27"/>
                </a:cxn>
                <a:cxn ang="0">
                  <a:pos x="322" y="19"/>
                </a:cxn>
                <a:cxn ang="0">
                  <a:pos x="281" y="19"/>
                </a:cxn>
                <a:cxn ang="0">
                  <a:pos x="280" y="2"/>
                </a:cxn>
                <a:cxn ang="0">
                  <a:pos x="264" y="3"/>
                </a:cxn>
                <a:cxn ang="0">
                  <a:pos x="252" y="0"/>
                </a:cxn>
                <a:cxn ang="0">
                  <a:pos x="236" y="6"/>
                </a:cxn>
                <a:cxn ang="0">
                  <a:pos x="213" y="11"/>
                </a:cxn>
                <a:cxn ang="0">
                  <a:pos x="200" y="18"/>
                </a:cxn>
                <a:cxn ang="0">
                  <a:pos x="193" y="28"/>
                </a:cxn>
                <a:cxn ang="0">
                  <a:pos x="194" y="41"/>
                </a:cxn>
                <a:cxn ang="0">
                  <a:pos x="191" y="50"/>
                </a:cxn>
              </a:cxnLst>
              <a:rect l="0" t="0" r="r" b="b"/>
              <a:pathLst>
                <a:path w="428" h="405">
                  <a:moveTo>
                    <a:pt x="190" y="54"/>
                  </a:moveTo>
                  <a:lnTo>
                    <a:pt x="202" y="60"/>
                  </a:lnTo>
                  <a:lnTo>
                    <a:pt x="202" y="64"/>
                  </a:lnTo>
                  <a:lnTo>
                    <a:pt x="198" y="66"/>
                  </a:lnTo>
                  <a:lnTo>
                    <a:pt x="195" y="70"/>
                  </a:lnTo>
                  <a:lnTo>
                    <a:pt x="193" y="70"/>
                  </a:lnTo>
                  <a:lnTo>
                    <a:pt x="184" y="66"/>
                  </a:lnTo>
                  <a:lnTo>
                    <a:pt x="179" y="66"/>
                  </a:lnTo>
                  <a:lnTo>
                    <a:pt x="177" y="67"/>
                  </a:lnTo>
                  <a:lnTo>
                    <a:pt x="175" y="71"/>
                  </a:lnTo>
                  <a:lnTo>
                    <a:pt x="172" y="72"/>
                  </a:lnTo>
                  <a:lnTo>
                    <a:pt x="169" y="70"/>
                  </a:lnTo>
                  <a:lnTo>
                    <a:pt x="167" y="70"/>
                  </a:lnTo>
                  <a:lnTo>
                    <a:pt x="164" y="72"/>
                  </a:lnTo>
                  <a:lnTo>
                    <a:pt x="159" y="75"/>
                  </a:lnTo>
                  <a:lnTo>
                    <a:pt x="156" y="78"/>
                  </a:lnTo>
                  <a:lnTo>
                    <a:pt x="155" y="81"/>
                  </a:lnTo>
                  <a:lnTo>
                    <a:pt x="156" y="83"/>
                  </a:lnTo>
                  <a:lnTo>
                    <a:pt x="155" y="84"/>
                  </a:lnTo>
                  <a:lnTo>
                    <a:pt x="153" y="86"/>
                  </a:lnTo>
                  <a:lnTo>
                    <a:pt x="151" y="83"/>
                  </a:lnTo>
                  <a:lnTo>
                    <a:pt x="143" y="87"/>
                  </a:lnTo>
                  <a:lnTo>
                    <a:pt x="140" y="91"/>
                  </a:lnTo>
                  <a:lnTo>
                    <a:pt x="140" y="93"/>
                  </a:lnTo>
                  <a:lnTo>
                    <a:pt x="135" y="96"/>
                  </a:lnTo>
                  <a:lnTo>
                    <a:pt x="130" y="100"/>
                  </a:lnTo>
                  <a:lnTo>
                    <a:pt x="126" y="107"/>
                  </a:lnTo>
                  <a:lnTo>
                    <a:pt x="121" y="110"/>
                  </a:lnTo>
                  <a:lnTo>
                    <a:pt x="121" y="113"/>
                  </a:lnTo>
                  <a:lnTo>
                    <a:pt x="115" y="115"/>
                  </a:lnTo>
                  <a:lnTo>
                    <a:pt x="110" y="123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92" y="135"/>
                  </a:lnTo>
                  <a:lnTo>
                    <a:pt x="87" y="135"/>
                  </a:lnTo>
                  <a:lnTo>
                    <a:pt x="80" y="138"/>
                  </a:lnTo>
                  <a:lnTo>
                    <a:pt x="75" y="137"/>
                  </a:lnTo>
                  <a:lnTo>
                    <a:pt x="73" y="132"/>
                  </a:lnTo>
                  <a:lnTo>
                    <a:pt x="69" y="130"/>
                  </a:lnTo>
                  <a:lnTo>
                    <a:pt x="61" y="131"/>
                  </a:lnTo>
                  <a:lnTo>
                    <a:pt x="56" y="130"/>
                  </a:lnTo>
                  <a:lnTo>
                    <a:pt x="39" y="132"/>
                  </a:lnTo>
                  <a:lnTo>
                    <a:pt x="26" y="127"/>
                  </a:lnTo>
                  <a:lnTo>
                    <a:pt x="7" y="129"/>
                  </a:lnTo>
                  <a:lnTo>
                    <a:pt x="2" y="129"/>
                  </a:lnTo>
                  <a:lnTo>
                    <a:pt x="0" y="125"/>
                  </a:lnTo>
                  <a:lnTo>
                    <a:pt x="0" y="134"/>
                  </a:lnTo>
                  <a:lnTo>
                    <a:pt x="3" y="140"/>
                  </a:lnTo>
                  <a:lnTo>
                    <a:pt x="16" y="162"/>
                  </a:lnTo>
                  <a:lnTo>
                    <a:pt x="27" y="172"/>
                  </a:lnTo>
                  <a:lnTo>
                    <a:pt x="28" y="183"/>
                  </a:lnTo>
                  <a:lnTo>
                    <a:pt x="35" y="197"/>
                  </a:lnTo>
                  <a:lnTo>
                    <a:pt x="48" y="216"/>
                  </a:lnTo>
                  <a:lnTo>
                    <a:pt x="77" y="247"/>
                  </a:lnTo>
                  <a:lnTo>
                    <a:pt x="94" y="250"/>
                  </a:lnTo>
                  <a:lnTo>
                    <a:pt x="107" y="260"/>
                  </a:lnTo>
                  <a:lnTo>
                    <a:pt x="116" y="274"/>
                  </a:lnTo>
                  <a:lnTo>
                    <a:pt x="129" y="279"/>
                  </a:lnTo>
                  <a:lnTo>
                    <a:pt x="140" y="287"/>
                  </a:lnTo>
                  <a:lnTo>
                    <a:pt x="140" y="308"/>
                  </a:lnTo>
                  <a:lnTo>
                    <a:pt x="143" y="328"/>
                  </a:lnTo>
                  <a:lnTo>
                    <a:pt x="150" y="341"/>
                  </a:lnTo>
                  <a:lnTo>
                    <a:pt x="158" y="350"/>
                  </a:lnTo>
                  <a:lnTo>
                    <a:pt x="167" y="355"/>
                  </a:lnTo>
                  <a:lnTo>
                    <a:pt x="180" y="357"/>
                  </a:lnTo>
                  <a:lnTo>
                    <a:pt x="193" y="357"/>
                  </a:lnTo>
                  <a:lnTo>
                    <a:pt x="206" y="363"/>
                  </a:lnTo>
                  <a:lnTo>
                    <a:pt x="216" y="367"/>
                  </a:lnTo>
                  <a:lnTo>
                    <a:pt x="227" y="376"/>
                  </a:lnTo>
                  <a:lnTo>
                    <a:pt x="239" y="371"/>
                  </a:lnTo>
                  <a:lnTo>
                    <a:pt x="248" y="373"/>
                  </a:lnTo>
                  <a:lnTo>
                    <a:pt x="271" y="380"/>
                  </a:lnTo>
                  <a:lnTo>
                    <a:pt x="283" y="383"/>
                  </a:lnTo>
                  <a:lnTo>
                    <a:pt x="296" y="380"/>
                  </a:lnTo>
                  <a:lnTo>
                    <a:pt x="308" y="382"/>
                  </a:lnTo>
                  <a:lnTo>
                    <a:pt x="329" y="388"/>
                  </a:lnTo>
                  <a:lnTo>
                    <a:pt x="344" y="403"/>
                  </a:lnTo>
                  <a:lnTo>
                    <a:pt x="349" y="404"/>
                  </a:lnTo>
                  <a:lnTo>
                    <a:pt x="350" y="405"/>
                  </a:lnTo>
                  <a:lnTo>
                    <a:pt x="351" y="404"/>
                  </a:lnTo>
                  <a:lnTo>
                    <a:pt x="351" y="389"/>
                  </a:lnTo>
                  <a:lnTo>
                    <a:pt x="355" y="377"/>
                  </a:lnTo>
                  <a:lnTo>
                    <a:pt x="361" y="367"/>
                  </a:lnTo>
                  <a:lnTo>
                    <a:pt x="372" y="360"/>
                  </a:lnTo>
                  <a:lnTo>
                    <a:pt x="379" y="352"/>
                  </a:lnTo>
                  <a:lnTo>
                    <a:pt x="398" y="318"/>
                  </a:lnTo>
                  <a:lnTo>
                    <a:pt x="405" y="287"/>
                  </a:lnTo>
                  <a:lnTo>
                    <a:pt x="422" y="251"/>
                  </a:lnTo>
                  <a:lnTo>
                    <a:pt x="419" y="224"/>
                  </a:lnTo>
                  <a:lnTo>
                    <a:pt x="414" y="211"/>
                  </a:lnTo>
                  <a:lnTo>
                    <a:pt x="412" y="194"/>
                  </a:lnTo>
                  <a:lnTo>
                    <a:pt x="422" y="175"/>
                  </a:lnTo>
                  <a:lnTo>
                    <a:pt x="424" y="167"/>
                  </a:lnTo>
                  <a:lnTo>
                    <a:pt x="428" y="151"/>
                  </a:lnTo>
                  <a:lnTo>
                    <a:pt x="427" y="140"/>
                  </a:lnTo>
                  <a:lnTo>
                    <a:pt x="428" y="105"/>
                  </a:lnTo>
                  <a:lnTo>
                    <a:pt x="424" y="83"/>
                  </a:lnTo>
                  <a:lnTo>
                    <a:pt x="420" y="73"/>
                  </a:lnTo>
                  <a:lnTo>
                    <a:pt x="419" y="60"/>
                  </a:lnTo>
                  <a:lnTo>
                    <a:pt x="410" y="50"/>
                  </a:lnTo>
                  <a:lnTo>
                    <a:pt x="379" y="39"/>
                  </a:lnTo>
                  <a:lnTo>
                    <a:pt x="351" y="27"/>
                  </a:lnTo>
                  <a:lnTo>
                    <a:pt x="336" y="23"/>
                  </a:lnTo>
                  <a:lnTo>
                    <a:pt x="322" y="19"/>
                  </a:lnTo>
                  <a:lnTo>
                    <a:pt x="299" y="21"/>
                  </a:lnTo>
                  <a:lnTo>
                    <a:pt x="281" y="19"/>
                  </a:lnTo>
                  <a:lnTo>
                    <a:pt x="281" y="0"/>
                  </a:lnTo>
                  <a:lnTo>
                    <a:pt x="280" y="2"/>
                  </a:lnTo>
                  <a:lnTo>
                    <a:pt x="272" y="1"/>
                  </a:lnTo>
                  <a:lnTo>
                    <a:pt x="264" y="3"/>
                  </a:lnTo>
                  <a:lnTo>
                    <a:pt x="258" y="2"/>
                  </a:lnTo>
                  <a:lnTo>
                    <a:pt x="252" y="0"/>
                  </a:lnTo>
                  <a:lnTo>
                    <a:pt x="248" y="0"/>
                  </a:lnTo>
                  <a:lnTo>
                    <a:pt x="236" y="6"/>
                  </a:lnTo>
                  <a:lnTo>
                    <a:pt x="220" y="7"/>
                  </a:lnTo>
                  <a:lnTo>
                    <a:pt x="213" y="11"/>
                  </a:lnTo>
                  <a:lnTo>
                    <a:pt x="206" y="18"/>
                  </a:lnTo>
                  <a:lnTo>
                    <a:pt x="200" y="18"/>
                  </a:lnTo>
                  <a:lnTo>
                    <a:pt x="194" y="21"/>
                  </a:lnTo>
                  <a:lnTo>
                    <a:pt x="193" y="28"/>
                  </a:lnTo>
                  <a:lnTo>
                    <a:pt x="193" y="37"/>
                  </a:lnTo>
                  <a:lnTo>
                    <a:pt x="194" y="41"/>
                  </a:lnTo>
                  <a:lnTo>
                    <a:pt x="193" y="45"/>
                  </a:lnTo>
                  <a:lnTo>
                    <a:pt x="191" y="50"/>
                  </a:lnTo>
                  <a:lnTo>
                    <a:pt x="190" y="5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31" name="Namibia"/>
            <p:cNvSpPr>
              <a:spLocks noChangeAspect="1"/>
            </p:cNvSpPr>
            <p:nvPr>
              <p:custDataLst>
                <p:tags r:id="rId30"/>
              </p:custDataLst>
            </p:nvPr>
          </p:nvSpPr>
          <p:spPr bwMode="gray">
            <a:xfrm>
              <a:off x="4750937" y="5065077"/>
              <a:ext cx="344068" cy="339387"/>
            </a:xfrm>
            <a:custGeom>
              <a:avLst/>
              <a:gdLst/>
              <a:ahLst/>
              <a:cxnLst>
                <a:cxn ang="0">
                  <a:pos x="252" y="26"/>
                </a:cxn>
                <a:cxn ang="0">
                  <a:pos x="130" y="26"/>
                </a:cxn>
                <a:cxn ang="0">
                  <a:pos x="96" y="10"/>
                </a:cxn>
                <a:cxn ang="0">
                  <a:pos x="59" y="0"/>
                </a:cxn>
                <a:cxn ang="0">
                  <a:pos x="33" y="17"/>
                </a:cxn>
                <a:cxn ang="0">
                  <a:pos x="1" y="26"/>
                </a:cxn>
                <a:cxn ang="0">
                  <a:pos x="3" y="64"/>
                </a:cxn>
                <a:cxn ang="0">
                  <a:pos x="17" y="100"/>
                </a:cxn>
                <a:cxn ang="0">
                  <a:pos x="34" y="117"/>
                </a:cxn>
                <a:cxn ang="0">
                  <a:pos x="46" y="139"/>
                </a:cxn>
                <a:cxn ang="0">
                  <a:pos x="62" y="168"/>
                </a:cxn>
                <a:cxn ang="0">
                  <a:pos x="82" y="209"/>
                </a:cxn>
                <a:cxn ang="0">
                  <a:pos x="96" y="238"/>
                </a:cxn>
                <a:cxn ang="0">
                  <a:pos x="118" y="278"/>
                </a:cxn>
                <a:cxn ang="0">
                  <a:pos x="150" y="331"/>
                </a:cxn>
                <a:cxn ang="0">
                  <a:pos x="151" y="369"/>
                </a:cxn>
                <a:cxn ang="0">
                  <a:pos x="153" y="435"/>
                </a:cxn>
                <a:cxn ang="0">
                  <a:pos x="172" y="477"/>
                </a:cxn>
                <a:cxn ang="0">
                  <a:pos x="172" y="521"/>
                </a:cxn>
                <a:cxn ang="0">
                  <a:pos x="179" y="555"/>
                </a:cxn>
                <a:cxn ang="0">
                  <a:pos x="188" y="589"/>
                </a:cxn>
                <a:cxn ang="0">
                  <a:pos x="214" y="646"/>
                </a:cxn>
                <a:cxn ang="0">
                  <a:pos x="243" y="683"/>
                </a:cxn>
                <a:cxn ang="0">
                  <a:pos x="264" y="700"/>
                </a:cxn>
                <a:cxn ang="0">
                  <a:pos x="279" y="689"/>
                </a:cxn>
                <a:cxn ang="0">
                  <a:pos x="323" y="695"/>
                </a:cxn>
                <a:cxn ang="0">
                  <a:pos x="350" y="722"/>
                </a:cxn>
                <a:cxn ang="0">
                  <a:pos x="393" y="720"/>
                </a:cxn>
                <a:cxn ang="0">
                  <a:pos x="435" y="695"/>
                </a:cxn>
                <a:cxn ang="0">
                  <a:pos x="452" y="633"/>
                </a:cxn>
                <a:cxn ang="0">
                  <a:pos x="452" y="460"/>
                </a:cxn>
                <a:cxn ang="0">
                  <a:pos x="452" y="295"/>
                </a:cxn>
                <a:cxn ang="0">
                  <a:pos x="507" y="200"/>
                </a:cxn>
                <a:cxn ang="0">
                  <a:pos x="512" y="86"/>
                </a:cxn>
                <a:cxn ang="0">
                  <a:pos x="615" y="68"/>
                </a:cxn>
                <a:cxn ang="0">
                  <a:pos x="650" y="85"/>
                </a:cxn>
                <a:cxn ang="0">
                  <a:pos x="668" y="81"/>
                </a:cxn>
                <a:cxn ang="0">
                  <a:pos x="716" y="57"/>
                </a:cxn>
                <a:cxn ang="0">
                  <a:pos x="727" y="38"/>
                </a:cxn>
                <a:cxn ang="0">
                  <a:pos x="688" y="32"/>
                </a:cxn>
                <a:cxn ang="0">
                  <a:pos x="635" y="41"/>
                </a:cxn>
                <a:cxn ang="0">
                  <a:pos x="546" y="65"/>
                </a:cxn>
                <a:cxn ang="0">
                  <a:pos x="522" y="63"/>
                </a:cxn>
                <a:cxn ang="0">
                  <a:pos x="460" y="51"/>
                </a:cxn>
                <a:cxn ang="0">
                  <a:pos x="405" y="53"/>
                </a:cxn>
                <a:cxn ang="0">
                  <a:pos x="366" y="26"/>
                </a:cxn>
              </a:cxnLst>
              <a:rect l="0" t="0" r="r" b="b"/>
              <a:pathLst>
                <a:path w="734" h="722">
                  <a:moveTo>
                    <a:pt x="346" y="26"/>
                  </a:moveTo>
                  <a:lnTo>
                    <a:pt x="299" y="26"/>
                  </a:lnTo>
                  <a:lnTo>
                    <a:pt x="252" y="26"/>
                  </a:lnTo>
                  <a:lnTo>
                    <a:pt x="198" y="26"/>
                  </a:lnTo>
                  <a:lnTo>
                    <a:pt x="148" y="26"/>
                  </a:lnTo>
                  <a:lnTo>
                    <a:pt x="130" y="26"/>
                  </a:lnTo>
                  <a:lnTo>
                    <a:pt x="123" y="28"/>
                  </a:lnTo>
                  <a:lnTo>
                    <a:pt x="109" y="15"/>
                  </a:lnTo>
                  <a:lnTo>
                    <a:pt x="96" y="10"/>
                  </a:lnTo>
                  <a:lnTo>
                    <a:pt x="91" y="1"/>
                  </a:lnTo>
                  <a:lnTo>
                    <a:pt x="81" y="0"/>
                  </a:lnTo>
                  <a:lnTo>
                    <a:pt x="59" y="0"/>
                  </a:lnTo>
                  <a:lnTo>
                    <a:pt x="49" y="4"/>
                  </a:lnTo>
                  <a:lnTo>
                    <a:pt x="39" y="14"/>
                  </a:lnTo>
                  <a:lnTo>
                    <a:pt x="33" y="17"/>
                  </a:lnTo>
                  <a:lnTo>
                    <a:pt x="23" y="11"/>
                  </a:lnTo>
                  <a:lnTo>
                    <a:pt x="12" y="20"/>
                  </a:lnTo>
                  <a:lnTo>
                    <a:pt x="1" y="26"/>
                  </a:lnTo>
                  <a:lnTo>
                    <a:pt x="0" y="49"/>
                  </a:lnTo>
                  <a:lnTo>
                    <a:pt x="0" y="55"/>
                  </a:lnTo>
                  <a:lnTo>
                    <a:pt x="3" y="64"/>
                  </a:lnTo>
                  <a:lnTo>
                    <a:pt x="3" y="74"/>
                  </a:lnTo>
                  <a:lnTo>
                    <a:pt x="12" y="92"/>
                  </a:lnTo>
                  <a:lnTo>
                    <a:pt x="17" y="100"/>
                  </a:lnTo>
                  <a:lnTo>
                    <a:pt x="19" y="102"/>
                  </a:lnTo>
                  <a:lnTo>
                    <a:pt x="28" y="108"/>
                  </a:lnTo>
                  <a:lnTo>
                    <a:pt x="34" y="117"/>
                  </a:lnTo>
                  <a:lnTo>
                    <a:pt x="38" y="127"/>
                  </a:lnTo>
                  <a:lnTo>
                    <a:pt x="44" y="134"/>
                  </a:lnTo>
                  <a:lnTo>
                    <a:pt x="46" y="139"/>
                  </a:lnTo>
                  <a:lnTo>
                    <a:pt x="55" y="150"/>
                  </a:lnTo>
                  <a:lnTo>
                    <a:pt x="56" y="157"/>
                  </a:lnTo>
                  <a:lnTo>
                    <a:pt x="62" y="168"/>
                  </a:lnTo>
                  <a:lnTo>
                    <a:pt x="65" y="176"/>
                  </a:lnTo>
                  <a:lnTo>
                    <a:pt x="81" y="202"/>
                  </a:lnTo>
                  <a:lnTo>
                    <a:pt x="82" y="209"/>
                  </a:lnTo>
                  <a:lnTo>
                    <a:pt x="86" y="215"/>
                  </a:lnTo>
                  <a:lnTo>
                    <a:pt x="88" y="224"/>
                  </a:lnTo>
                  <a:lnTo>
                    <a:pt x="96" y="238"/>
                  </a:lnTo>
                  <a:lnTo>
                    <a:pt x="110" y="263"/>
                  </a:lnTo>
                  <a:lnTo>
                    <a:pt x="116" y="273"/>
                  </a:lnTo>
                  <a:lnTo>
                    <a:pt x="118" y="278"/>
                  </a:lnTo>
                  <a:lnTo>
                    <a:pt x="121" y="288"/>
                  </a:lnTo>
                  <a:lnTo>
                    <a:pt x="141" y="312"/>
                  </a:lnTo>
                  <a:lnTo>
                    <a:pt x="150" y="331"/>
                  </a:lnTo>
                  <a:lnTo>
                    <a:pt x="151" y="334"/>
                  </a:lnTo>
                  <a:lnTo>
                    <a:pt x="152" y="350"/>
                  </a:lnTo>
                  <a:lnTo>
                    <a:pt x="151" y="369"/>
                  </a:lnTo>
                  <a:lnTo>
                    <a:pt x="152" y="406"/>
                  </a:lnTo>
                  <a:lnTo>
                    <a:pt x="151" y="424"/>
                  </a:lnTo>
                  <a:lnTo>
                    <a:pt x="153" y="435"/>
                  </a:lnTo>
                  <a:lnTo>
                    <a:pt x="157" y="445"/>
                  </a:lnTo>
                  <a:lnTo>
                    <a:pt x="162" y="458"/>
                  </a:lnTo>
                  <a:lnTo>
                    <a:pt x="172" y="477"/>
                  </a:lnTo>
                  <a:lnTo>
                    <a:pt x="173" y="484"/>
                  </a:lnTo>
                  <a:lnTo>
                    <a:pt x="171" y="498"/>
                  </a:lnTo>
                  <a:lnTo>
                    <a:pt x="172" y="521"/>
                  </a:lnTo>
                  <a:lnTo>
                    <a:pt x="174" y="531"/>
                  </a:lnTo>
                  <a:lnTo>
                    <a:pt x="182" y="546"/>
                  </a:lnTo>
                  <a:lnTo>
                    <a:pt x="179" y="555"/>
                  </a:lnTo>
                  <a:lnTo>
                    <a:pt x="182" y="559"/>
                  </a:lnTo>
                  <a:lnTo>
                    <a:pt x="185" y="569"/>
                  </a:lnTo>
                  <a:lnTo>
                    <a:pt x="188" y="589"/>
                  </a:lnTo>
                  <a:lnTo>
                    <a:pt x="191" y="600"/>
                  </a:lnTo>
                  <a:lnTo>
                    <a:pt x="194" y="622"/>
                  </a:lnTo>
                  <a:lnTo>
                    <a:pt x="214" y="646"/>
                  </a:lnTo>
                  <a:lnTo>
                    <a:pt x="222" y="665"/>
                  </a:lnTo>
                  <a:lnTo>
                    <a:pt x="233" y="676"/>
                  </a:lnTo>
                  <a:lnTo>
                    <a:pt x="243" y="683"/>
                  </a:lnTo>
                  <a:lnTo>
                    <a:pt x="256" y="698"/>
                  </a:lnTo>
                  <a:lnTo>
                    <a:pt x="261" y="698"/>
                  </a:lnTo>
                  <a:lnTo>
                    <a:pt x="264" y="700"/>
                  </a:lnTo>
                  <a:lnTo>
                    <a:pt x="269" y="699"/>
                  </a:lnTo>
                  <a:lnTo>
                    <a:pt x="272" y="697"/>
                  </a:lnTo>
                  <a:lnTo>
                    <a:pt x="279" y="689"/>
                  </a:lnTo>
                  <a:lnTo>
                    <a:pt x="285" y="678"/>
                  </a:lnTo>
                  <a:lnTo>
                    <a:pt x="297" y="677"/>
                  </a:lnTo>
                  <a:lnTo>
                    <a:pt x="323" y="695"/>
                  </a:lnTo>
                  <a:lnTo>
                    <a:pt x="323" y="708"/>
                  </a:lnTo>
                  <a:lnTo>
                    <a:pt x="334" y="720"/>
                  </a:lnTo>
                  <a:lnTo>
                    <a:pt x="350" y="722"/>
                  </a:lnTo>
                  <a:lnTo>
                    <a:pt x="365" y="717"/>
                  </a:lnTo>
                  <a:lnTo>
                    <a:pt x="384" y="717"/>
                  </a:lnTo>
                  <a:lnTo>
                    <a:pt x="393" y="720"/>
                  </a:lnTo>
                  <a:lnTo>
                    <a:pt x="405" y="720"/>
                  </a:lnTo>
                  <a:lnTo>
                    <a:pt x="421" y="705"/>
                  </a:lnTo>
                  <a:lnTo>
                    <a:pt x="435" y="695"/>
                  </a:lnTo>
                  <a:lnTo>
                    <a:pt x="446" y="693"/>
                  </a:lnTo>
                  <a:lnTo>
                    <a:pt x="452" y="689"/>
                  </a:lnTo>
                  <a:lnTo>
                    <a:pt x="452" y="633"/>
                  </a:lnTo>
                  <a:lnTo>
                    <a:pt x="452" y="574"/>
                  </a:lnTo>
                  <a:lnTo>
                    <a:pt x="452" y="515"/>
                  </a:lnTo>
                  <a:lnTo>
                    <a:pt x="452" y="460"/>
                  </a:lnTo>
                  <a:lnTo>
                    <a:pt x="452" y="407"/>
                  </a:lnTo>
                  <a:lnTo>
                    <a:pt x="452" y="349"/>
                  </a:lnTo>
                  <a:lnTo>
                    <a:pt x="452" y="295"/>
                  </a:lnTo>
                  <a:lnTo>
                    <a:pt x="507" y="295"/>
                  </a:lnTo>
                  <a:lnTo>
                    <a:pt x="507" y="257"/>
                  </a:lnTo>
                  <a:lnTo>
                    <a:pt x="507" y="200"/>
                  </a:lnTo>
                  <a:lnTo>
                    <a:pt x="507" y="144"/>
                  </a:lnTo>
                  <a:lnTo>
                    <a:pt x="507" y="91"/>
                  </a:lnTo>
                  <a:lnTo>
                    <a:pt x="512" y="86"/>
                  </a:lnTo>
                  <a:lnTo>
                    <a:pt x="592" y="71"/>
                  </a:lnTo>
                  <a:lnTo>
                    <a:pt x="609" y="68"/>
                  </a:lnTo>
                  <a:lnTo>
                    <a:pt x="615" y="68"/>
                  </a:lnTo>
                  <a:lnTo>
                    <a:pt x="632" y="69"/>
                  </a:lnTo>
                  <a:lnTo>
                    <a:pt x="643" y="73"/>
                  </a:lnTo>
                  <a:lnTo>
                    <a:pt x="650" y="85"/>
                  </a:lnTo>
                  <a:lnTo>
                    <a:pt x="653" y="100"/>
                  </a:lnTo>
                  <a:lnTo>
                    <a:pt x="659" y="92"/>
                  </a:lnTo>
                  <a:lnTo>
                    <a:pt x="668" y="81"/>
                  </a:lnTo>
                  <a:lnTo>
                    <a:pt x="684" y="69"/>
                  </a:lnTo>
                  <a:lnTo>
                    <a:pt x="711" y="63"/>
                  </a:lnTo>
                  <a:lnTo>
                    <a:pt x="716" y="57"/>
                  </a:lnTo>
                  <a:lnTo>
                    <a:pt x="723" y="52"/>
                  </a:lnTo>
                  <a:lnTo>
                    <a:pt x="734" y="51"/>
                  </a:lnTo>
                  <a:lnTo>
                    <a:pt x="727" y="38"/>
                  </a:lnTo>
                  <a:lnTo>
                    <a:pt x="723" y="35"/>
                  </a:lnTo>
                  <a:lnTo>
                    <a:pt x="709" y="32"/>
                  </a:lnTo>
                  <a:lnTo>
                    <a:pt x="688" y="32"/>
                  </a:lnTo>
                  <a:lnTo>
                    <a:pt x="685" y="28"/>
                  </a:lnTo>
                  <a:lnTo>
                    <a:pt x="642" y="39"/>
                  </a:lnTo>
                  <a:lnTo>
                    <a:pt x="635" y="41"/>
                  </a:lnTo>
                  <a:lnTo>
                    <a:pt x="632" y="43"/>
                  </a:lnTo>
                  <a:lnTo>
                    <a:pt x="621" y="46"/>
                  </a:lnTo>
                  <a:lnTo>
                    <a:pt x="546" y="65"/>
                  </a:lnTo>
                  <a:lnTo>
                    <a:pt x="538" y="66"/>
                  </a:lnTo>
                  <a:lnTo>
                    <a:pt x="534" y="64"/>
                  </a:lnTo>
                  <a:lnTo>
                    <a:pt x="522" y="63"/>
                  </a:lnTo>
                  <a:lnTo>
                    <a:pt x="510" y="59"/>
                  </a:lnTo>
                  <a:lnTo>
                    <a:pt x="494" y="58"/>
                  </a:lnTo>
                  <a:lnTo>
                    <a:pt x="460" y="51"/>
                  </a:lnTo>
                  <a:lnTo>
                    <a:pt x="433" y="51"/>
                  </a:lnTo>
                  <a:lnTo>
                    <a:pt x="414" y="53"/>
                  </a:lnTo>
                  <a:lnTo>
                    <a:pt x="405" y="53"/>
                  </a:lnTo>
                  <a:lnTo>
                    <a:pt x="388" y="47"/>
                  </a:lnTo>
                  <a:lnTo>
                    <a:pt x="382" y="37"/>
                  </a:lnTo>
                  <a:lnTo>
                    <a:pt x="366" y="26"/>
                  </a:lnTo>
                  <a:lnTo>
                    <a:pt x="346" y="2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32" name="Mozambique"/>
            <p:cNvSpPr>
              <a:spLocks noChangeAspect="1"/>
            </p:cNvSpPr>
            <p:nvPr>
              <p:custDataLst>
                <p:tags r:id="rId31"/>
              </p:custDataLst>
            </p:nvPr>
          </p:nvSpPr>
          <p:spPr bwMode="gray">
            <a:xfrm>
              <a:off x="5223739" y="4898894"/>
              <a:ext cx="273850" cy="437692"/>
            </a:xfrm>
            <a:custGeom>
              <a:avLst/>
              <a:gdLst/>
              <a:ahLst/>
              <a:cxnLst>
                <a:cxn ang="0">
                  <a:pos x="584" y="10"/>
                </a:cxn>
                <a:cxn ang="0">
                  <a:pos x="570" y="56"/>
                </a:cxn>
                <a:cxn ang="0">
                  <a:pos x="572" y="128"/>
                </a:cxn>
                <a:cxn ang="0">
                  <a:pos x="569" y="176"/>
                </a:cxn>
                <a:cxn ang="0">
                  <a:pos x="578" y="205"/>
                </a:cxn>
                <a:cxn ang="0">
                  <a:pos x="585" y="224"/>
                </a:cxn>
                <a:cxn ang="0">
                  <a:pos x="568" y="263"/>
                </a:cxn>
                <a:cxn ang="0">
                  <a:pos x="564" y="285"/>
                </a:cxn>
                <a:cxn ang="0">
                  <a:pos x="532" y="328"/>
                </a:cxn>
                <a:cxn ang="0">
                  <a:pos x="497" y="355"/>
                </a:cxn>
                <a:cxn ang="0">
                  <a:pos x="447" y="378"/>
                </a:cxn>
                <a:cxn ang="0">
                  <a:pos x="368" y="434"/>
                </a:cxn>
                <a:cxn ang="0">
                  <a:pos x="345" y="462"/>
                </a:cxn>
                <a:cxn ang="0">
                  <a:pos x="323" y="477"/>
                </a:cxn>
                <a:cxn ang="0">
                  <a:pos x="273" y="521"/>
                </a:cxn>
                <a:cxn ang="0">
                  <a:pos x="253" y="572"/>
                </a:cxn>
                <a:cxn ang="0">
                  <a:pos x="273" y="598"/>
                </a:cxn>
                <a:cxn ang="0">
                  <a:pos x="289" y="667"/>
                </a:cxn>
                <a:cxn ang="0">
                  <a:pos x="295" y="725"/>
                </a:cxn>
                <a:cxn ang="0">
                  <a:pos x="295" y="764"/>
                </a:cxn>
                <a:cxn ang="0">
                  <a:pos x="273" y="811"/>
                </a:cxn>
                <a:cxn ang="0">
                  <a:pos x="192" y="843"/>
                </a:cxn>
                <a:cxn ang="0">
                  <a:pos x="156" y="863"/>
                </a:cxn>
                <a:cxn ang="0">
                  <a:pos x="134" y="893"/>
                </a:cxn>
                <a:cxn ang="0">
                  <a:pos x="158" y="899"/>
                </a:cxn>
                <a:cxn ang="0">
                  <a:pos x="110" y="908"/>
                </a:cxn>
                <a:cxn ang="0">
                  <a:pos x="92" y="742"/>
                </a:cxn>
                <a:cxn ang="0">
                  <a:pos x="85" y="673"/>
                </a:cxn>
                <a:cxn ang="0">
                  <a:pos x="113" y="636"/>
                </a:cxn>
                <a:cxn ang="0">
                  <a:pos x="153" y="508"/>
                </a:cxn>
                <a:cxn ang="0">
                  <a:pos x="158" y="451"/>
                </a:cxn>
                <a:cxn ang="0">
                  <a:pos x="158" y="367"/>
                </a:cxn>
                <a:cxn ang="0">
                  <a:pos x="113" y="323"/>
                </a:cxn>
                <a:cxn ang="0">
                  <a:pos x="33" y="305"/>
                </a:cxn>
                <a:cxn ang="0">
                  <a:pos x="8" y="269"/>
                </a:cxn>
                <a:cxn ang="0">
                  <a:pos x="175" y="198"/>
                </a:cxn>
                <a:cxn ang="0">
                  <a:pos x="202" y="226"/>
                </a:cxn>
                <a:cxn ang="0">
                  <a:pos x="247" y="226"/>
                </a:cxn>
                <a:cxn ang="0">
                  <a:pos x="251" y="273"/>
                </a:cxn>
                <a:cxn ang="0">
                  <a:pos x="236" y="302"/>
                </a:cxn>
                <a:cxn ang="0">
                  <a:pos x="252" y="327"/>
                </a:cxn>
                <a:cxn ang="0">
                  <a:pos x="272" y="350"/>
                </a:cxn>
                <a:cxn ang="0">
                  <a:pos x="278" y="366"/>
                </a:cxn>
                <a:cxn ang="0">
                  <a:pos x="291" y="357"/>
                </a:cxn>
                <a:cxn ang="0">
                  <a:pos x="287" y="337"/>
                </a:cxn>
                <a:cxn ang="0">
                  <a:pos x="304" y="314"/>
                </a:cxn>
                <a:cxn ang="0">
                  <a:pos x="321" y="284"/>
                </a:cxn>
                <a:cxn ang="0">
                  <a:pos x="326" y="244"/>
                </a:cxn>
                <a:cxn ang="0">
                  <a:pos x="299" y="203"/>
                </a:cxn>
                <a:cxn ang="0">
                  <a:pos x="266" y="167"/>
                </a:cxn>
                <a:cxn ang="0">
                  <a:pos x="262" y="123"/>
                </a:cxn>
                <a:cxn ang="0">
                  <a:pos x="269" y="76"/>
                </a:cxn>
                <a:cxn ang="0">
                  <a:pos x="323" y="53"/>
                </a:cxn>
                <a:cxn ang="0">
                  <a:pos x="349" y="65"/>
                </a:cxn>
                <a:cxn ang="0">
                  <a:pos x="381" y="56"/>
                </a:cxn>
                <a:cxn ang="0">
                  <a:pos x="436" y="43"/>
                </a:cxn>
                <a:cxn ang="0">
                  <a:pos x="482" y="45"/>
                </a:cxn>
                <a:cxn ang="0">
                  <a:pos x="547" y="25"/>
                </a:cxn>
              </a:cxnLst>
              <a:rect l="0" t="0" r="r" b="b"/>
              <a:pathLst>
                <a:path w="586" h="937">
                  <a:moveTo>
                    <a:pt x="580" y="0"/>
                  </a:moveTo>
                  <a:lnTo>
                    <a:pt x="584" y="2"/>
                  </a:lnTo>
                  <a:lnTo>
                    <a:pt x="586" y="7"/>
                  </a:lnTo>
                  <a:lnTo>
                    <a:pt x="584" y="10"/>
                  </a:lnTo>
                  <a:lnTo>
                    <a:pt x="585" y="27"/>
                  </a:lnTo>
                  <a:lnTo>
                    <a:pt x="583" y="33"/>
                  </a:lnTo>
                  <a:lnTo>
                    <a:pt x="578" y="42"/>
                  </a:lnTo>
                  <a:lnTo>
                    <a:pt x="570" y="56"/>
                  </a:lnTo>
                  <a:lnTo>
                    <a:pt x="567" y="70"/>
                  </a:lnTo>
                  <a:lnTo>
                    <a:pt x="568" y="95"/>
                  </a:lnTo>
                  <a:lnTo>
                    <a:pt x="570" y="113"/>
                  </a:lnTo>
                  <a:lnTo>
                    <a:pt x="572" y="128"/>
                  </a:lnTo>
                  <a:lnTo>
                    <a:pt x="565" y="133"/>
                  </a:lnTo>
                  <a:lnTo>
                    <a:pt x="568" y="142"/>
                  </a:lnTo>
                  <a:lnTo>
                    <a:pt x="570" y="142"/>
                  </a:lnTo>
                  <a:lnTo>
                    <a:pt x="569" y="176"/>
                  </a:lnTo>
                  <a:lnTo>
                    <a:pt x="572" y="196"/>
                  </a:lnTo>
                  <a:lnTo>
                    <a:pt x="570" y="205"/>
                  </a:lnTo>
                  <a:lnTo>
                    <a:pt x="574" y="208"/>
                  </a:lnTo>
                  <a:lnTo>
                    <a:pt x="578" y="205"/>
                  </a:lnTo>
                  <a:lnTo>
                    <a:pt x="581" y="212"/>
                  </a:lnTo>
                  <a:lnTo>
                    <a:pt x="575" y="220"/>
                  </a:lnTo>
                  <a:lnTo>
                    <a:pt x="580" y="220"/>
                  </a:lnTo>
                  <a:lnTo>
                    <a:pt x="585" y="224"/>
                  </a:lnTo>
                  <a:lnTo>
                    <a:pt x="585" y="232"/>
                  </a:lnTo>
                  <a:lnTo>
                    <a:pt x="580" y="242"/>
                  </a:lnTo>
                  <a:lnTo>
                    <a:pt x="576" y="253"/>
                  </a:lnTo>
                  <a:lnTo>
                    <a:pt x="568" y="263"/>
                  </a:lnTo>
                  <a:lnTo>
                    <a:pt x="575" y="265"/>
                  </a:lnTo>
                  <a:lnTo>
                    <a:pt x="574" y="274"/>
                  </a:lnTo>
                  <a:lnTo>
                    <a:pt x="573" y="280"/>
                  </a:lnTo>
                  <a:lnTo>
                    <a:pt x="564" y="285"/>
                  </a:lnTo>
                  <a:lnTo>
                    <a:pt x="547" y="305"/>
                  </a:lnTo>
                  <a:lnTo>
                    <a:pt x="543" y="313"/>
                  </a:lnTo>
                  <a:lnTo>
                    <a:pt x="526" y="323"/>
                  </a:lnTo>
                  <a:lnTo>
                    <a:pt x="532" y="328"/>
                  </a:lnTo>
                  <a:lnTo>
                    <a:pt x="527" y="337"/>
                  </a:lnTo>
                  <a:lnTo>
                    <a:pt x="517" y="344"/>
                  </a:lnTo>
                  <a:lnTo>
                    <a:pt x="505" y="351"/>
                  </a:lnTo>
                  <a:lnTo>
                    <a:pt x="497" y="355"/>
                  </a:lnTo>
                  <a:lnTo>
                    <a:pt x="490" y="366"/>
                  </a:lnTo>
                  <a:lnTo>
                    <a:pt x="477" y="373"/>
                  </a:lnTo>
                  <a:lnTo>
                    <a:pt x="460" y="373"/>
                  </a:lnTo>
                  <a:lnTo>
                    <a:pt x="447" y="378"/>
                  </a:lnTo>
                  <a:lnTo>
                    <a:pt x="403" y="398"/>
                  </a:lnTo>
                  <a:lnTo>
                    <a:pt x="375" y="420"/>
                  </a:lnTo>
                  <a:lnTo>
                    <a:pt x="373" y="430"/>
                  </a:lnTo>
                  <a:lnTo>
                    <a:pt x="368" y="434"/>
                  </a:lnTo>
                  <a:lnTo>
                    <a:pt x="360" y="435"/>
                  </a:lnTo>
                  <a:lnTo>
                    <a:pt x="355" y="436"/>
                  </a:lnTo>
                  <a:lnTo>
                    <a:pt x="361" y="442"/>
                  </a:lnTo>
                  <a:lnTo>
                    <a:pt x="345" y="462"/>
                  </a:lnTo>
                  <a:lnTo>
                    <a:pt x="338" y="473"/>
                  </a:lnTo>
                  <a:lnTo>
                    <a:pt x="333" y="470"/>
                  </a:lnTo>
                  <a:lnTo>
                    <a:pt x="330" y="461"/>
                  </a:lnTo>
                  <a:lnTo>
                    <a:pt x="323" y="477"/>
                  </a:lnTo>
                  <a:lnTo>
                    <a:pt x="315" y="480"/>
                  </a:lnTo>
                  <a:lnTo>
                    <a:pt x="305" y="493"/>
                  </a:lnTo>
                  <a:lnTo>
                    <a:pt x="287" y="512"/>
                  </a:lnTo>
                  <a:lnTo>
                    <a:pt x="273" y="521"/>
                  </a:lnTo>
                  <a:lnTo>
                    <a:pt x="266" y="529"/>
                  </a:lnTo>
                  <a:lnTo>
                    <a:pt x="255" y="533"/>
                  </a:lnTo>
                  <a:lnTo>
                    <a:pt x="252" y="563"/>
                  </a:lnTo>
                  <a:lnTo>
                    <a:pt x="253" y="572"/>
                  </a:lnTo>
                  <a:lnTo>
                    <a:pt x="267" y="582"/>
                  </a:lnTo>
                  <a:lnTo>
                    <a:pt x="271" y="588"/>
                  </a:lnTo>
                  <a:lnTo>
                    <a:pt x="272" y="597"/>
                  </a:lnTo>
                  <a:lnTo>
                    <a:pt x="273" y="598"/>
                  </a:lnTo>
                  <a:lnTo>
                    <a:pt x="274" y="608"/>
                  </a:lnTo>
                  <a:lnTo>
                    <a:pt x="287" y="642"/>
                  </a:lnTo>
                  <a:lnTo>
                    <a:pt x="288" y="662"/>
                  </a:lnTo>
                  <a:lnTo>
                    <a:pt x="289" y="667"/>
                  </a:lnTo>
                  <a:lnTo>
                    <a:pt x="295" y="662"/>
                  </a:lnTo>
                  <a:lnTo>
                    <a:pt x="299" y="666"/>
                  </a:lnTo>
                  <a:lnTo>
                    <a:pt x="299" y="688"/>
                  </a:lnTo>
                  <a:lnTo>
                    <a:pt x="295" y="725"/>
                  </a:lnTo>
                  <a:lnTo>
                    <a:pt x="283" y="771"/>
                  </a:lnTo>
                  <a:lnTo>
                    <a:pt x="285" y="782"/>
                  </a:lnTo>
                  <a:lnTo>
                    <a:pt x="289" y="774"/>
                  </a:lnTo>
                  <a:lnTo>
                    <a:pt x="295" y="764"/>
                  </a:lnTo>
                  <a:lnTo>
                    <a:pt x="295" y="768"/>
                  </a:lnTo>
                  <a:lnTo>
                    <a:pt x="293" y="781"/>
                  </a:lnTo>
                  <a:lnTo>
                    <a:pt x="288" y="792"/>
                  </a:lnTo>
                  <a:lnTo>
                    <a:pt x="273" y="811"/>
                  </a:lnTo>
                  <a:lnTo>
                    <a:pt x="258" y="822"/>
                  </a:lnTo>
                  <a:lnTo>
                    <a:pt x="240" y="829"/>
                  </a:lnTo>
                  <a:lnTo>
                    <a:pt x="228" y="830"/>
                  </a:lnTo>
                  <a:lnTo>
                    <a:pt x="192" y="843"/>
                  </a:lnTo>
                  <a:lnTo>
                    <a:pt x="183" y="849"/>
                  </a:lnTo>
                  <a:lnTo>
                    <a:pt x="176" y="855"/>
                  </a:lnTo>
                  <a:lnTo>
                    <a:pt x="166" y="861"/>
                  </a:lnTo>
                  <a:lnTo>
                    <a:pt x="156" y="863"/>
                  </a:lnTo>
                  <a:lnTo>
                    <a:pt x="151" y="868"/>
                  </a:lnTo>
                  <a:lnTo>
                    <a:pt x="144" y="881"/>
                  </a:lnTo>
                  <a:lnTo>
                    <a:pt x="135" y="893"/>
                  </a:lnTo>
                  <a:lnTo>
                    <a:pt x="134" y="893"/>
                  </a:lnTo>
                  <a:lnTo>
                    <a:pt x="142" y="900"/>
                  </a:lnTo>
                  <a:lnTo>
                    <a:pt x="148" y="910"/>
                  </a:lnTo>
                  <a:lnTo>
                    <a:pt x="154" y="905"/>
                  </a:lnTo>
                  <a:lnTo>
                    <a:pt x="158" y="899"/>
                  </a:lnTo>
                  <a:lnTo>
                    <a:pt x="154" y="937"/>
                  </a:lnTo>
                  <a:lnTo>
                    <a:pt x="148" y="936"/>
                  </a:lnTo>
                  <a:lnTo>
                    <a:pt x="112" y="936"/>
                  </a:lnTo>
                  <a:lnTo>
                    <a:pt x="110" y="908"/>
                  </a:lnTo>
                  <a:lnTo>
                    <a:pt x="110" y="887"/>
                  </a:lnTo>
                  <a:lnTo>
                    <a:pt x="108" y="879"/>
                  </a:lnTo>
                  <a:lnTo>
                    <a:pt x="105" y="786"/>
                  </a:lnTo>
                  <a:lnTo>
                    <a:pt x="92" y="742"/>
                  </a:lnTo>
                  <a:lnTo>
                    <a:pt x="86" y="710"/>
                  </a:lnTo>
                  <a:lnTo>
                    <a:pt x="84" y="689"/>
                  </a:lnTo>
                  <a:lnTo>
                    <a:pt x="85" y="688"/>
                  </a:lnTo>
                  <a:lnTo>
                    <a:pt x="85" y="673"/>
                  </a:lnTo>
                  <a:lnTo>
                    <a:pt x="89" y="661"/>
                  </a:lnTo>
                  <a:lnTo>
                    <a:pt x="95" y="651"/>
                  </a:lnTo>
                  <a:lnTo>
                    <a:pt x="106" y="644"/>
                  </a:lnTo>
                  <a:lnTo>
                    <a:pt x="113" y="636"/>
                  </a:lnTo>
                  <a:lnTo>
                    <a:pt x="132" y="602"/>
                  </a:lnTo>
                  <a:lnTo>
                    <a:pt x="139" y="571"/>
                  </a:lnTo>
                  <a:lnTo>
                    <a:pt x="156" y="535"/>
                  </a:lnTo>
                  <a:lnTo>
                    <a:pt x="153" y="508"/>
                  </a:lnTo>
                  <a:lnTo>
                    <a:pt x="148" y="495"/>
                  </a:lnTo>
                  <a:lnTo>
                    <a:pt x="146" y="478"/>
                  </a:lnTo>
                  <a:lnTo>
                    <a:pt x="156" y="459"/>
                  </a:lnTo>
                  <a:lnTo>
                    <a:pt x="158" y="451"/>
                  </a:lnTo>
                  <a:lnTo>
                    <a:pt x="162" y="435"/>
                  </a:lnTo>
                  <a:lnTo>
                    <a:pt x="161" y="424"/>
                  </a:lnTo>
                  <a:lnTo>
                    <a:pt x="162" y="389"/>
                  </a:lnTo>
                  <a:lnTo>
                    <a:pt x="158" y="367"/>
                  </a:lnTo>
                  <a:lnTo>
                    <a:pt x="154" y="357"/>
                  </a:lnTo>
                  <a:lnTo>
                    <a:pt x="153" y="344"/>
                  </a:lnTo>
                  <a:lnTo>
                    <a:pt x="144" y="334"/>
                  </a:lnTo>
                  <a:lnTo>
                    <a:pt x="113" y="323"/>
                  </a:lnTo>
                  <a:lnTo>
                    <a:pt x="85" y="311"/>
                  </a:lnTo>
                  <a:lnTo>
                    <a:pt x="70" y="307"/>
                  </a:lnTo>
                  <a:lnTo>
                    <a:pt x="56" y="303"/>
                  </a:lnTo>
                  <a:lnTo>
                    <a:pt x="33" y="305"/>
                  </a:lnTo>
                  <a:lnTo>
                    <a:pt x="15" y="303"/>
                  </a:lnTo>
                  <a:lnTo>
                    <a:pt x="15" y="284"/>
                  </a:lnTo>
                  <a:lnTo>
                    <a:pt x="10" y="281"/>
                  </a:lnTo>
                  <a:lnTo>
                    <a:pt x="8" y="269"/>
                  </a:lnTo>
                  <a:lnTo>
                    <a:pt x="0" y="253"/>
                  </a:lnTo>
                  <a:lnTo>
                    <a:pt x="165" y="196"/>
                  </a:lnTo>
                  <a:lnTo>
                    <a:pt x="174" y="195"/>
                  </a:lnTo>
                  <a:lnTo>
                    <a:pt x="175" y="198"/>
                  </a:lnTo>
                  <a:lnTo>
                    <a:pt x="181" y="200"/>
                  </a:lnTo>
                  <a:lnTo>
                    <a:pt x="188" y="216"/>
                  </a:lnTo>
                  <a:lnTo>
                    <a:pt x="198" y="226"/>
                  </a:lnTo>
                  <a:lnTo>
                    <a:pt x="202" y="226"/>
                  </a:lnTo>
                  <a:lnTo>
                    <a:pt x="210" y="224"/>
                  </a:lnTo>
                  <a:lnTo>
                    <a:pt x="240" y="220"/>
                  </a:lnTo>
                  <a:lnTo>
                    <a:pt x="244" y="221"/>
                  </a:lnTo>
                  <a:lnTo>
                    <a:pt x="247" y="226"/>
                  </a:lnTo>
                  <a:lnTo>
                    <a:pt x="251" y="239"/>
                  </a:lnTo>
                  <a:lnTo>
                    <a:pt x="252" y="247"/>
                  </a:lnTo>
                  <a:lnTo>
                    <a:pt x="253" y="265"/>
                  </a:lnTo>
                  <a:lnTo>
                    <a:pt x="251" y="273"/>
                  </a:lnTo>
                  <a:lnTo>
                    <a:pt x="245" y="280"/>
                  </a:lnTo>
                  <a:lnTo>
                    <a:pt x="246" y="286"/>
                  </a:lnTo>
                  <a:lnTo>
                    <a:pt x="240" y="291"/>
                  </a:lnTo>
                  <a:lnTo>
                    <a:pt x="236" y="302"/>
                  </a:lnTo>
                  <a:lnTo>
                    <a:pt x="240" y="306"/>
                  </a:lnTo>
                  <a:lnTo>
                    <a:pt x="245" y="322"/>
                  </a:lnTo>
                  <a:lnTo>
                    <a:pt x="248" y="325"/>
                  </a:lnTo>
                  <a:lnTo>
                    <a:pt x="252" y="327"/>
                  </a:lnTo>
                  <a:lnTo>
                    <a:pt x="255" y="332"/>
                  </a:lnTo>
                  <a:lnTo>
                    <a:pt x="263" y="341"/>
                  </a:lnTo>
                  <a:lnTo>
                    <a:pt x="268" y="348"/>
                  </a:lnTo>
                  <a:lnTo>
                    <a:pt x="272" y="350"/>
                  </a:lnTo>
                  <a:lnTo>
                    <a:pt x="279" y="351"/>
                  </a:lnTo>
                  <a:lnTo>
                    <a:pt x="283" y="356"/>
                  </a:lnTo>
                  <a:lnTo>
                    <a:pt x="283" y="360"/>
                  </a:lnTo>
                  <a:lnTo>
                    <a:pt x="278" y="366"/>
                  </a:lnTo>
                  <a:lnTo>
                    <a:pt x="279" y="368"/>
                  </a:lnTo>
                  <a:lnTo>
                    <a:pt x="291" y="368"/>
                  </a:lnTo>
                  <a:lnTo>
                    <a:pt x="293" y="367"/>
                  </a:lnTo>
                  <a:lnTo>
                    <a:pt x="291" y="357"/>
                  </a:lnTo>
                  <a:lnTo>
                    <a:pt x="293" y="351"/>
                  </a:lnTo>
                  <a:lnTo>
                    <a:pt x="290" y="346"/>
                  </a:lnTo>
                  <a:lnTo>
                    <a:pt x="287" y="343"/>
                  </a:lnTo>
                  <a:lnTo>
                    <a:pt x="287" y="337"/>
                  </a:lnTo>
                  <a:lnTo>
                    <a:pt x="290" y="329"/>
                  </a:lnTo>
                  <a:lnTo>
                    <a:pt x="290" y="325"/>
                  </a:lnTo>
                  <a:lnTo>
                    <a:pt x="291" y="322"/>
                  </a:lnTo>
                  <a:lnTo>
                    <a:pt x="304" y="314"/>
                  </a:lnTo>
                  <a:lnTo>
                    <a:pt x="310" y="313"/>
                  </a:lnTo>
                  <a:lnTo>
                    <a:pt x="316" y="311"/>
                  </a:lnTo>
                  <a:lnTo>
                    <a:pt x="320" y="305"/>
                  </a:lnTo>
                  <a:lnTo>
                    <a:pt x="321" y="284"/>
                  </a:lnTo>
                  <a:lnTo>
                    <a:pt x="323" y="276"/>
                  </a:lnTo>
                  <a:lnTo>
                    <a:pt x="320" y="262"/>
                  </a:lnTo>
                  <a:lnTo>
                    <a:pt x="323" y="252"/>
                  </a:lnTo>
                  <a:lnTo>
                    <a:pt x="326" y="244"/>
                  </a:lnTo>
                  <a:lnTo>
                    <a:pt x="323" y="232"/>
                  </a:lnTo>
                  <a:lnTo>
                    <a:pt x="318" y="225"/>
                  </a:lnTo>
                  <a:lnTo>
                    <a:pt x="305" y="212"/>
                  </a:lnTo>
                  <a:lnTo>
                    <a:pt x="299" y="203"/>
                  </a:lnTo>
                  <a:lnTo>
                    <a:pt x="284" y="184"/>
                  </a:lnTo>
                  <a:lnTo>
                    <a:pt x="274" y="177"/>
                  </a:lnTo>
                  <a:lnTo>
                    <a:pt x="267" y="167"/>
                  </a:lnTo>
                  <a:lnTo>
                    <a:pt x="266" y="167"/>
                  </a:lnTo>
                  <a:lnTo>
                    <a:pt x="263" y="156"/>
                  </a:lnTo>
                  <a:lnTo>
                    <a:pt x="263" y="146"/>
                  </a:lnTo>
                  <a:lnTo>
                    <a:pt x="262" y="138"/>
                  </a:lnTo>
                  <a:lnTo>
                    <a:pt x="262" y="123"/>
                  </a:lnTo>
                  <a:lnTo>
                    <a:pt x="258" y="115"/>
                  </a:lnTo>
                  <a:lnTo>
                    <a:pt x="258" y="107"/>
                  </a:lnTo>
                  <a:lnTo>
                    <a:pt x="262" y="92"/>
                  </a:lnTo>
                  <a:lnTo>
                    <a:pt x="269" y="76"/>
                  </a:lnTo>
                  <a:lnTo>
                    <a:pt x="273" y="58"/>
                  </a:lnTo>
                  <a:lnTo>
                    <a:pt x="314" y="59"/>
                  </a:lnTo>
                  <a:lnTo>
                    <a:pt x="317" y="58"/>
                  </a:lnTo>
                  <a:lnTo>
                    <a:pt x="323" y="53"/>
                  </a:lnTo>
                  <a:lnTo>
                    <a:pt x="331" y="53"/>
                  </a:lnTo>
                  <a:lnTo>
                    <a:pt x="338" y="55"/>
                  </a:lnTo>
                  <a:lnTo>
                    <a:pt x="344" y="61"/>
                  </a:lnTo>
                  <a:lnTo>
                    <a:pt x="349" y="65"/>
                  </a:lnTo>
                  <a:lnTo>
                    <a:pt x="354" y="66"/>
                  </a:lnTo>
                  <a:lnTo>
                    <a:pt x="361" y="64"/>
                  </a:lnTo>
                  <a:lnTo>
                    <a:pt x="370" y="64"/>
                  </a:lnTo>
                  <a:lnTo>
                    <a:pt x="381" y="56"/>
                  </a:lnTo>
                  <a:lnTo>
                    <a:pt x="412" y="58"/>
                  </a:lnTo>
                  <a:lnTo>
                    <a:pt x="419" y="58"/>
                  </a:lnTo>
                  <a:lnTo>
                    <a:pt x="423" y="56"/>
                  </a:lnTo>
                  <a:lnTo>
                    <a:pt x="436" y="43"/>
                  </a:lnTo>
                  <a:lnTo>
                    <a:pt x="450" y="42"/>
                  </a:lnTo>
                  <a:lnTo>
                    <a:pt x="459" y="39"/>
                  </a:lnTo>
                  <a:lnTo>
                    <a:pt x="472" y="45"/>
                  </a:lnTo>
                  <a:lnTo>
                    <a:pt x="482" y="45"/>
                  </a:lnTo>
                  <a:lnTo>
                    <a:pt x="490" y="44"/>
                  </a:lnTo>
                  <a:lnTo>
                    <a:pt x="524" y="32"/>
                  </a:lnTo>
                  <a:lnTo>
                    <a:pt x="543" y="27"/>
                  </a:lnTo>
                  <a:lnTo>
                    <a:pt x="547" y="25"/>
                  </a:lnTo>
                  <a:lnTo>
                    <a:pt x="562" y="11"/>
                  </a:lnTo>
                  <a:lnTo>
                    <a:pt x="576" y="1"/>
                  </a:lnTo>
                  <a:lnTo>
                    <a:pt x="58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33" name="Botswana"/>
            <p:cNvSpPr>
              <a:spLocks noChangeAspect="1"/>
            </p:cNvSpPr>
            <p:nvPr>
              <p:custDataLst>
                <p:tags r:id="rId32"/>
              </p:custDataLst>
            </p:nvPr>
          </p:nvSpPr>
          <p:spPr bwMode="gray">
            <a:xfrm>
              <a:off x="4961591" y="5088483"/>
              <a:ext cx="243422" cy="250444"/>
            </a:xfrm>
            <a:custGeom>
              <a:avLst/>
              <a:gdLst/>
              <a:ahLst/>
              <a:cxnLst>
                <a:cxn ang="0">
                  <a:pos x="0" y="356"/>
                </a:cxn>
                <a:cxn ang="0">
                  <a:pos x="0" y="244"/>
                </a:cxn>
                <a:cxn ang="0">
                  <a:pos x="56" y="206"/>
                </a:cxn>
                <a:cxn ang="0">
                  <a:pos x="56" y="93"/>
                </a:cxn>
                <a:cxn ang="0">
                  <a:pos x="61" y="35"/>
                </a:cxn>
                <a:cxn ang="0">
                  <a:pos x="158" y="17"/>
                </a:cxn>
                <a:cxn ang="0">
                  <a:pos x="181" y="18"/>
                </a:cxn>
                <a:cxn ang="0">
                  <a:pos x="199" y="34"/>
                </a:cxn>
                <a:cxn ang="0">
                  <a:pos x="208" y="41"/>
                </a:cxn>
                <a:cxn ang="0">
                  <a:pos x="233" y="18"/>
                </a:cxn>
                <a:cxn ang="0">
                  <a:pos x="265" y="6"/>
                </a:cxn>
                <a:cxn ang="0">
                  <a:pos x="283" y="0"/>
                </a:cxn>
                <a:cxn ang="0">
                  <a:pos x="291" y="11"/>
                </a:cxn>
                <a:cxn ang="0">
                  <a:pos x="307" y="39"/>
                </a:cxn>
                <a:cxn ang="0">
                  <a:pos x="319" y="60"/>
                </a:cxn>
                <a:cxn ang="0">
                  <a:pos x="339" y="93"/>
                </a:cxn>
                <a:cxn ang="0">
                  <a:pos x="385" y="127"/>
                </a:cxn>
                <a:cxn ang="0">
                  <a:pos x="407" y="151"/>
                </a:cxn>
                <a:cxn ang="0">
                  <a:pos x="431" y="164"/>
                </a:cxn>
                <a:cxn ang="0">
                  <a:pos x="434" y="205"/>
                </a:cxn>
                <a:cxn ang="0">
                  <a:pos x="449" y="227"/>
                </a:cxn>
                <a:cxn ang="0">
                  <a:pos x="470" y="234"/>
                </a:cxn>
                <a:cxn ang="0">
                  <a:pos x="497" y="240"/>
                </a:cxn>
                <a:cxn ang="0">
                  <a:pos x="518" y="253"/>
                </a:cxn>
                <a:cxn ang="0">
                  <a:pos x="506" y="261"/>
                </a:cxn>
                <a:cxn ang="0">
                  <a:pos x="454" y="288"/>
                </a:cxn>
                <a:cxn ang="0">
                  <a:pos x="418" y="318"/>
                </a:cxn>
                <a:cxn ang="0">
                  <a:pos x="388" y="352"/>
                </a:cxn>
                <a:cxn ang="0">
                  <a:pos x="344" y="396"/>
                </a:cxn>
                <a:cxn ang="0">
                  <a:pos x="314" y="449"/>
                </a:cxn>
                <a:cxn ang="0">
                  <a:pos x="301" y="459"/>
                </a:cxn>
                <a:cxn ang="0">
                  <a:pos x="265" y="466"/>
                </a:cxn>
                <a:cxn ang="0">
                  <a:pos x="227" y="452"/>
                </a:cxn>
                <a:cxn ang="0">
                  <a:pos x="201" y="445"/>
                </a:cxn>
                <a:cxn ang="0">
                  <a:pos x="170" y="469"/>
                </a:cxn>
                <a:cxn ang="0">
                  <a:pos x="161" y="485"/>
                </a:cxn>
                <a:cxn ang="0">
                  <a:pos x="140" y="503"/>
                </a:cxn>
                <a:cxn ang="0">
                  <a:pos x="125" y="525"/>
                </a:cxn>
                <a:cxn ang="0">
                  <a:pos x="72" y="533"/>
                </a:cxn>
                <a:cxn ang="0">
                  <a:pos x="46" y="528"/>
                </a:cxn>
                <a:cxn ang="0">
                  <a:pos x="50" y="498"/>
                </a:cxn>
                <a:cxn ang="0">
                  <a:pos x="52" y="479"/>
                </a:cxn>
                <a:cxn ang="0">
                  <a:pos x="44" y="449"/>
                </a:cxn>
                <a:cxn ang="0">
                  <a:pos x="25" y="429"/>
                </a:cxn>
                <a:cxn ang="0">
                  <a:pos x="11" y="415"/>
                </a:cxn>
                <a:cxn ang="0">
                  <a:pos x="0" y="409"/>
                </a:cxn>
              </a:cxnLst>
              <a:rect l="0" t="0" r="r" b="b"/>
              <a:pathLst>
                <a:path w="518" h="534">
                  <a:moveTo>
                    <a:pt x="0" y="409"/>
                  </a:moveTo>
                  <a:lnTo>
                    <a:pt x="0" y="356"/>
                  </a:lnTo>
                  <a:lnTo>
                    <a:pt x="0" y="298"/>
                  </a:lnTo>
                  <a:lnTo>
                    <a:pt x="0" y="244"/>
                  </a:lnTo>
                  <a:lnTo>
                    <a:pt x="56" y="244"/>
                  </a:lnTo>
                  <a:lnTo>
                    <a:pt x="56" y="206"/>
                  </a:lnTo>
                  <a:lnTo>
                    <a:pt x="56" y="149"/>
                  </a:lnTo>
                  <a:lnTo>
                    <a:pt x="56" y="93"/>
                  </a:lnTo>
                  <a:lnTo>
                    <a:pt x="56" y="40"/>
                  </a:lnTo>
                  <a:lnTo>
                    <a:pt x="61" y="35"/>
                  </a:lnTo>
                  <a:lnTo>
                    <a:pt x="141" y="20"/>
                  </a:lnTo>
                  <a:lnTo>
                    <a:pt x="158" y="17"/>
                  </a:lnTo>
                  <a:lnTo>
                    <a:pt x="164" y="17"/>
                  </a:lnTo>
                  <a:lnTo>
                    <a:pt x="181" y="18"/>
                  </a:lnTo>
                  <a:lnTo>
                    <a:pt x="192" y="22"/>
                  </a:lnTo>
                  <a:lnTo>
                    <a:pt x="199" y="34"/>
                  </a:lnTo>
                  <a:lnTo>
                    <a:pt x="202" y="49"/>
                  </a:lnTo>
                  <a:lnTo>
                    <a:pt x="208" y="41"/>
                  </a:lnTo>
                  <a:lnTo>
                    <a:pt x="217" y="30"/>
                  </a:lnTo>
                  <a:lnTo>
                    <a:pt x="233" y="18"/>
                  </a:lnTo>
                  <a:lnTo>
                    <a:pt x="260" y="12"/>
                  </a:lnTo>
                  <a:lnTo>
                    <a:pt x="265" y="6"/>
                  </a:lnTo>
                  <a:lnTo>
                    <a:pt x="272" y="1"/>
                  </a:lnTo>
                  <a:lnTo>
                    <a:pt x="283" y="0"/>
                  </a:lnTo>
                  <a:lnTo>
                    <a:pt x="291" y="2"/>
                  </a:lnTo>
                  <a:lnTo>
                    <a:pt x="291" y="11"/>
                  </a:lnTo>
                  <a:lnTo>
                    <a:pt x="294" y="17"/>
                  </a:lnTo>
                  <a:lnTo>
                    <a:pt x="307" y="39"/>
                  </a:lnTo>
                  <a:lnTo>
                    <a:pt x="317" y="49"/>
                  </a:lnTo>
                  <a:lnTo>
                    <a:pt x="319" y="60"/>
                  </a:lnTo>
                  <a:lnTo>
                    <a:pt x="325" y="74"/>
                  </a:lnTo>
                  <a:lnTo>
                    <a:pt x="339" y="93"/>
                  </a:lnTo>
                  <a:lnTo>
                    <a:pt x="368" y="124"/>
                  </a:lnTo>
                  <a:lnTo>
                    <a:pt x="385" y="127"/>
                  </a:lnTo>
                  <a:lnTo>
                    <a:pt x="398" y="137"/>
                  </a:lnTo>
                  <a:lnTo>
                    <a:pt x="407" y="151"/>
                  </a:lnTo>
                  <a:lnTo>
                    <a:pt x="420" y="154"/>
                  </a:lnTo>
                  <a:lnTo>
                    <a:pt x="431" y="164"/>
                  </a:lnTo>
                  <a:lnTo>
                    <a:pt x="431" y="185"/>
                  </a:lnTo>
                  <a:lnTo>
                    <a:pt x="434" y="205"/>
                  </a:lnTo>
                  <a:lnTo>
                    <a:pt x="441" y="218"/>
                  </a:lnTo>
                  <a:lnTo>
                    <a:pt x="449" y="227"/>
                  </a:lnTo>
                  <a:lnTo>
                    <a:pt x="458" y="232"/>
                  </a:lnTo>
                  <a:lnTo>
                    <a:pt x="470" y="234"/>
                  </a:lnTo>
                  <a:lnTo>
                    <a:pt x="484" y="234"/>
                  </a:lnTo>
                  <a:lnTo>
                    <a:pt x="497" y="240"/>
                  </a:lnTo>
                  <a:lnTo>
                    <a:pt x="507" y="244"/>
                  </a:lnTo>
                  <a:lnTo>
                    <a:pt x="518" y="253"/>
                  </a:lnTo>
                  <a:lnTo>
                    <a:pt x="517" y="256"/>
                  </a:lnTo>
                  <a:lnTo>
                    <a:pt x="506" y="261"/>
                  </a:lnTo>
                  <a:lnTo>
                    <a:pt x="492" y="270"/>
                  </a:lnTo>
                  <a:lnTo>
                    <a:pt x="454" y="288"/>
                  </a:lnTo>
                  <a:lnTo>
                    <a:pt x="438" y="305"/>
                  </a:lnTo>
                  <a:lnTo>
                    <a:pt x="418" y="318"/>
                  </a:lnTo>
                  <a:lnTo>
                    <a:pt x="399" y="336"/>
                  </a:lnTo>
                  <a:lnTo>
                    <a:pt x="388" y="352"/>
                  </a:lnTo>
                  <a:lnTo>
                    <a:pt x="371" y="377"/>
                  </a:lnTo>
                  <a:lnTo>
                    <a:pt x="344" y="396"/>
                  </a:lnTo>
                  <a:lnTo>
                    <a:pt x="329" y="415"/>
                  </a:lnTo>
                  <a:lnTo>
                    <a:pt x="314" y="449"/>
                  </a:lnTo>
                  <a:lnTo>
                    <a:pt x="309" y="455"/>
                  </a:lnTo>
                  <a:lnTo>
                    <a:pt x="301" y="459"/>
                  </a:lnTo>
                  <a:lnTo>
                    <a:pt x="290" y="460"/>
                  </a:lnTo>
                  <a:lnTo>
                    <a:pt x="265" y="466"/>
                  </a:lnTo>
                  <a:lnTo>
                    <a:pt x="250" y="465"/>
                  </a:lnTo>
                  <a:lnTo>
                    <a:pt x="227" y="452"/>
                  </a:lnTo>
                  <a:lnTo>
                    <a:pt x="215" y="447"/>
                  </a:lnTo>
                  <a:lnTo>
                    <a:pt x="201" y="445"/>
                  </a:lnTo>
                  <a:lnTo>
                    <a:pt x="189" y="449"/>
                  </a:lnTo>
                  <a:lnTo>
                    <a:pt x="170" y="469"/>
                  </a:lnTo>
                  <a:lnTo>
                    <a:pt x="163" y="477"/>
                  </a:lnTo>
                  <a:lnTo>
                    <a:pt x="161" y="485"/>
                  </a:lnTo>
                  <a:lnTo>
                    <a:pt x="152" y="496"/>
                  </a:lnTo>
                  <a:lnTo>
                    <a:pt x="140" y="503"/>
                  </a:lnTo>
                  <a:lnTo>
                    <a:pt x="135" y="508"/>
                  </a:lnTo>
                  <a:lnTo>
                    <a:pt x="125" y="525"/>
                  </a:lnTo>
                  <a:lnTo>
                    <a:pt x="90" y="534"/>
                  </a:lnTo>
                  <a:lnTo>
                    <a:pt x="72" y="533"/>
                  </a:lnTo>
                  <a:lnTo>
                    <a:pt x="56" y="530"/>
                  </a:lnTo>
                  <a:lnTo>
                    <a:pt x="46" y="528"/>
                  </a:lnTo>
                  <a:lnTo>
                    <a:pt x="43" y="519"/>
                  </a:lnTo>
                  <a:lnTo>
                    <a:pt x="50" y="498"/>
                  </a:lnTo>
                  <a:lnTo>
                    <a:pt x="52" y="485"/>
                  </a:lnTo>
                  <a:lnTo>
                    <a:pt x="52" y="479"/>
                  </a:lnTo>
                  <a:lnTo>
                    <a:pt x="51" y="461"/>
                  </a:lnTo>
                  <a:lnTo>
                    <a:pt x="44" y="449"/>
                  </a:lnTo>
                  <a:lnTo>
                    <a:pt x="30" y="438"/>
                  </a:lnTo>
                  <a:lnTo>
                    <a:pt x="25" y="429"/>
                  </a:lnTo>
                  <a:lnTo>
                    <a:pt x="13" y="418"/>
                  </a:lnTo>
                  <a:lnTo>
                    <a:pt x="11" y="415"/>
                  </a:lnTo>
                  <a:lnTo>
                    <a:pt x="5" y="409"/>
                  </a:lnTo>
                  <a:lnTo>
                    <a:pt x="0" y="40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34" name="Guinea"/>
            <p:cNvSpPr>
              <a:spLocks noChangeAspect="1"/>
            </p:cNvSpPr>
            <p:nvPr>
              <p:custDataLst>
                <p:tags r:id="rId33"/>
              </p:custDataLst>
            </p:nvPr>
          </p:nvSpPr>
          <p:spPr bwMode="gray">
            <a:xfrm>
              <a:off x="4067482" y="4302041"/>
              <a:ext cx="189589" cy="142777"/>
            </a:xfrm>
            <a:custGeom>
              <a:avLst/>
              <a:gdLst/>
              <a:ahLst/>
              <a:cxnLst>
                <a:cxn ang="0">
                  <a:pos x="174" y="17"/>
                </a:cxn>
                <a:cxn ang="0">
                  <a:pos x="146" y="18"/>
                </a:cxn>
                <a:cxn ang="0">
                  <a:pos x="119" y="11"/>
                </a:cxn>
                <a:cxn ang="0">
                  <a:pos x="101" y="3"/>
                </a:cxn>
                <a:cxn ang="0">
                  <a:pos x="80" y="14"/>
                </a:cxn>
                <a:cxn ang="0">
                  <a:pos x="67" y="27"/>
                </a:cxn>
                <a:cxn ang="0">
                  <a:pos x="69" y="57"/>
                </a:cxn>
                <a:cxn ang="0">
                  <a:pos x="17" y="81"/>
                </a:cxn>
                <a:cxn ang="0">
                  <a:pos x="1" y="109"/>
                </a:cxn>
                <a:cxn ang="0">
                  <a:pos x="17" y="100"/>
                </a:cxn>
                <a:cxn ang="0">
                  <a:pos x="31" y="128"/>
                </a:cxn>
                <a:cxn ang="0">
                  <a:pos x="66" y="159"/>
                </a:cxn>
                <a:cxn ang="0">
                  <a:pos x="88" y="190"/>
                </a:cxn>
                <a:cxn ang="0">
                  <a:pos x="104" y="203"/>
                </a:cxn>
                <a:cxn ang="0">
                  <a:pos x="124" y="191"/>
                </a:cxn>
                <a:cxn ang="0">
                  <a:pos x="142" y="168"/>
                </a:cxn>
                <a:cxn ang="0">
                  <a:pos x="161" y="159"/>
                </a:cxn>
                <a:cxn ang="0">
                  <a:pos x="211" y="153"/>
                </a:cxn>
                <a:cxn ang="0">
                  <a:pos x="230" y="175"/>
                </a:cxn>
                <a:cxn ang="0">
                  <a:pos x="241" y="187"/>
                </a:cxn>
                <a:cxn ang="0">
                  <a:pos x="241" y="202"/>
                </a:cxn>
                <a:cxn ang="0">
                  <a:pos x="249" y="223"/>
                </a:cxn>
                <a:cxn ang="0">
                  <a:pos x="252" y="239"/>
                </a:cxn>
                <a:cxn ang="0">
                  <a:pos x="264" y="240"/>
                </a:cxn>
                <a:cxn ang="0">
                  <a:pos x="281" y="238"/>
                </a:cxn>
                <a:cxn ang="0">
                  <a:pos x="297" y="239"/>
                </a:cxn>
                <a:cxn ang="0">
                  <a:pos x="313" y="273"/>
                </a:cxn>
                <a:cxn ang="0">
                  <a:pos x="306" y="298"/>
                </a:cxn>
                <a:cxn ang="0">
                  <a:pos x="327" y="307"/>
                </a:cxn>
                <a:cxn ang="0">
                  <a:pos x="348" y="292"/>
                </a:cxn>
                <a:cxn ang="0">
                  <a:pos x="365" y="286"/>
                </a:cxn>
                <a:cxn ang="0">
                  <a:pos x="384" y="262"/>
                </a:cxn>
                <a:cxn ang="0">
                  <a:pos x="386" y="251"/>
                </a:cxn>
                <a:cxn ang="0">
                  <a:pos x="375" y="239"/>
                </a:cxn>
                <a:cxn ang="0">
                  <a:pos x="394" y="239"/>
                </a:cxn>
                <a:cxn ang="0">
                  <a:pos x="403" y="235"/>
                </a:cxn>
                <a:cxn ang="0">
                  <a:pos x="393" y="219"/>
                </a:cxn>
                <a:cxn ang="0">
                  <a:pos x="400" y="203"/>
                </a:cxn>
                <a:cxn ang="0">
                  <a:pos x="380" y="183"/>
                </a:cxn>
                <a:cxn ang="0">
                  <a:pos x="382" y="149"/>
                </a:cxn>
                <a:cxn ang="0">
                  <a:pos x="382" y="131"/>
                </a:cxn>
                <a:cxn ang="0">
                  <a:pos x="370" y="93"/>
                </a:cxn>
                <a:cxn ang="0">
                  <a:pos x="351" y="92"/>
                </a:cxn>
                <a:cxn ang="0">
                  <a:pos x="364" y="79"/>
                </a:cxn>
                <a:cxn ang="0">
                  <a:pos x="357" y="70"/>
                </a:cxn>
                <a:cxn ang="0">
                  <a:pos x="343" y="41"/>
                </a:cxn>
                <a:cxn ang="0">
                  <a:pos x="334" y="28"/>
                </a:cxn>
                <a:cxn ang="0">
                  <a:pos x="328" y="12"/>
                </a:cxn>
                <a:cxn ang="0">
                  <a:pos x="312" y="12"/>
                </a:cxn>
                <a:cxn ang="0">
                  <a:pos x="294" y="38"/>
                </a:cxn>
                <a:cxn ang="0">
                  <a:pos x="255" y="33"/>
                </a:cxn>
                <a:cxn ang="0">
                  <a:pos x="230" y="30"/>
                </a:cxn>
                <a:cxn ang="0">
                  <a:pos x="208" y="39"/>
                </a:cxn>
                <a:cxn ang="0">
                  <a:pos x="203" y="19"/>
                </a:cxn>
              </a:cxnLst>
              <a:rect l="0" t="0" r="r" b="b"/>
              <a:pathLst>
                <a:path w="404" h="307">
                  <a:moveTo>
                    <a:pt x="205" y="15"/>
                  </a:moveTo>
                  <a:lnTo>
                    <a:pt x="195" y="15"/>
                  </a:lnTo>
                  <a:lnTo>
                    <a:pt x="189" y="18"/>
                  </a:lnTo>
                  <a:lnTo>
                    <a:pt x="185" y="18"/>
                  </a:lnTo>
                  <a:lnTo>
                    <a:pt x="174" y="17"/>
                  </a:lnTo>
                  <a:lnTo>
                    <a:pt x="172" y="18"/>
                  </a:lnTo>
                  <a:lnTo>
                    <a:pt x="165" y="18"/>
                  </a:lnTo>
                  <a:lnTo>
                    <a:pt x="157" y="20"/>
                  </a:lnTo>
                  <a:lnTo>
                    <a:pt x="151" y="20"/>
                  </a:lnTo>
                  <a:lnTo>
                    <a:pt x="146" y="18"/>
                  </a:lnTo>
                  <a:lnTo>
                    <a:pt x="142" y="18"/>
                  </a:lnTo>
                  <a:lnTo>
                    <a:pt x="135" y="15"/>
                  </a:lnTo>
                  <a:lnTo>
                    <a:pt x="128" y="15"/>
                  </a:lnTo>
                  <a:lnTo>
                    <a:pt x="122" y="9"/>
                  </a:lnTo>
                  <a:lnTo>
                    <a:pt x="119" y="11"/>
                  </a:lnTo>
                  <a:lnTo>
                    <a:pt x="119" y="14"/>
                  </a:lnTo>
                  <a:lnTo>
                    <a:pt x="112" y="13"/>
                  </a:lnTo>
                  <a:lnTo>
                    <a:pt x="112" y="7"/>
                  </a:lnTo>
                  <a:lnTo>
                    <a:pt x="109" y="4"/>
                  </a:lnTo>
                  <a:lnTo>
                    <a:pt x="101" y="3"/>
                  </a:lnTo>
                  <a:lnTo>
                    <a:pt x="95" y="4"/>
                  </a:lnTo>
                  <a:lnTo>
                    <a:pt x="90" y="1"/>
                  </a:lnTo>
                  <a:lnTo>
                    <a:pt x="76" y="0"/>
                  </a:lnTo>
                  <a:lnTo>
                    <a:pt x="76" y="7"/>
                  </a:lnTo>
                  <a:lnTo>
                    <a:pt x="80" y="14"/>
                  </a:lnTo>
                  <a:lnTo>
                    <a:pt x="80" y="18"/>
                  </a:lnTo>
                  <a:lnTo>
                    <a:pt x="77" y="24"/>
                  </a:lnTo>
                  <a:lnTo>
                    <a:pt x="75" y="25"/>
                  </a:lnTo>
                  <a:lnTo>
                    <a:pt x="69" y="25"/>
                  </a:lnTo>
                  <a:lnTo>
                    <a:pt x="67" y="27"/>
                  </a:lnTo>
                  <a:lnTo>
                    <a:pt x="65" y="30"/>
                  </a:lnTo>
                  <a:lnTo>
                    <a:pt x="71" y="34"/>
                  </a:lnTo>
                  <a:lnTo>
                    <a:pt x="74" y="39"/>
                  </a:lnTo>
                  <a:lnTo>
                    <a:pt x="75" y="57"/>
                  </a:lnTo>
                  <a:lnTo>
                    <a:pt x="69" y="57"/>
                  </a:lnTo>
                  <a:lnTo>
                    <a:pt x="65" y="60"/>
                  </a:lnTo>
                  <a:lnTo>
                    <a:pt x="45" y="60"/>
                  </a:lnTo>
                  <a:lnTo>
                    <a:pt x="28" y="67"/>
                  </a:lnTo>
                  <a:lnTo>
                    <a:pt x="21" y="73"/>
                  </a:lnTo>
                  <a:lnTo>
                    <a:pt x="17" y="81"/>
                  </a:lnTo>
                  <a:lnTo>
                    <a:pt x="13" y="89"/>
                  </a:lnTo>
                  <a:lnTo>
                    <a:pt x="11" y="93"/>
                  </a:lnTo>
                  <a:lnTo>
                    <a:pt x="6" y="97"/>
                  </a:lnTo>
                  <a:lnTo>
                    <a:pt x="0" y="99"/>
                  </a:lnTo>
                  <a:lnTo>
                    <a:pt x="1" y="109"/>
                  </a:lnTo>
                  <a:lnTo>
                    <a:pt x="5" y="110"/>
                  </a:lnTo>
                  <a:lnTo>
                    <a:pt x="7" y="110"/>
                  </a:lnTo>
                  <a:lnTo>
                    <a:pt x="10" y="109"/>
                  </a:lnTo>
                  <a:lnTo>
                    <a:pt x="13" y="101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21" y="114"/>
                  </a:lnTo>
                  <a:lnTo>
                    <a:pt x="29" y="115"/>
                  </a:lnTo>
                  <a:lnTo>
                    <a:pt x="31" y="116"/>
                  </a:lnTo>
                  <a:lnTo>
                    <a:pt x="31" y="128"/>
                  </a:lnTo>
                  <a:lnTo>
                    <a:pt x="36" y="141"/>
                  </a:lnTo>
                  <a:lnTo>
                    <a:pt x="39" y="146"/>
                  </a:lnTo>
                  <a:lnTo>
                    <a:pt x="47" y="148"/>
                  </a:lnTo>
                  <a:lnTo>
                    <a:pt x="55" y="154"/>
                  </a:lnTo>
                  <a:lnTo>
                    <a:pt x="66" y="159"/>
                  </a:lnTo>
                  <a:lnTo>
                    <a:pt x="74" y="168"/>
                  </a:lnTo>
                  <a:lnTo>
                    <a:pt x="75" y="179"/>
                  </a:lnTo>
                  <a:lnTo>
                    <a:pt x="83" y="183"/>
                  </a:lnTo>
                  <a:lnTo>
                    <a:pt x="86" y="187"/>
                  </a:lnTo>
                  <a:lnTo>
                    <a:pt x="88" y="190"/>
                  </a:lnTo>
                  <a:lnTo>
                    <a:pt x="88" y="192"/>
                  </a:lnTo>
                  <a:lnTo>
                    <a:pt x="93" y="195"/>
                  </a:lnTo>
                  <a:lnTo>
                    <a:pt x="97" y="200"/>
                  </a:lnTo>
                  <a:lnTo>
                    <a:pt x="98" y="201"/>
                  </a:lnTo>
                  <a:lnTo>
                    <a:pt x="104" y="203"/>
                  </a:lnTo>
                  <a:lnTo>
                    <a:pt x="110" y="203"/>
                  </a:lnTo>
                  <a:lnTo>
                    <a:pt x="113" y="202"/>
                  </a:lnTo>
                  <a:lnTo>
                    <a:pt x="115" y="201"/>
                  </a:lnTo>
                  <a:lnTo>
                    <a:pt x="119" y="191"/>
                  </a:lnTo>
                  <a:lnTo>
                    <a:pt x="124" y="191"/>
                  </a:lnTo>
                  <a:lnTo>
                    <a:pt x="128" y="189"/>
                  </a:lnTo>
                  <a:lnTo>
                    <a:pt x="128" y="184"/>
                  </a:lnTo>
                  <a:lnTo>
                    <a:pt x="133" y="183"/>
                  </a:lnTo>
                  <a:lnTo>
                    <a:pt x="139" y="175"/>
                  </a:lnTo>
                  <a:lnTo>
                    <a:pt x="142" y="168"/>
                  </a:lnTo>
                  <a:lnTo>
                    <a:pt x="141" y="159"/>
                  </a:lnTo>
                  <a:lnTo>
                    <a:pt x="145" y="158"/>
                  </a:lnTo>
                  <a:lnTo>
                    <a:pt x="153" y="157"/>
                  </a:lnTo>
                  <a:lnTo>
                    <a:pt x="157" y="159"/>
                  </a:lnTo>
                  <a:lnTo>
                    <a:pt x="161" y="159"/>
                  </a:lnTo>
                  <a:lnTo>
                    <a:pt x="166" y="157"/>
                  </a:lnTo>
                  <a:lnTo>
                    <a:pt x="172" y="157"/>
                  </a:lnTo>
                  <a:lnTo>
                    <a:pt x="172" y="152"/>
                  </a:lnTo>
                  <a:lnTo>
                    <a:pt x="198" y="152"/>
                  </a:lnTo>
                  <a:lnTo>
                    <a:pt x="211" y="153"/>
                  </a:lnTo>
                  <a:lnTo>
                    <a:pt x="215" y="160"/>
                  </a:lnTo>
                  <a:lnTo>
                    <a:pt x="221" y="164"/>
                  </a:lnTo>
                  <a:lnTo>
                    <a:pt x="225" y="169"/>
                  </a:lnTo>
                  <a:lnTo>
                    <a:pt x="230" y="173"/>
                  </a:lnTo>
                  <a:lnTo>
                    <a:pt x="230" y="175"/>
                  </a:lnTo>
                  <a:lnTo>
                    <a:pt x="232" y="179"/>
                  </a:lnTo>
                  <a:lnTo>
                    <a:pt x="231" y="181"/>
                  </a:lnTo>
                  <a:lnTo>
                    <a:pt x="231" y="184"/>
                  </a:lnTo>
                  <a:lnTo>
                    <a:pt x="238" y="186"/>
                  </a:lnTo>
                  <a:lnTo>
                    <a:pt x="241" y="187"/>
                  </a:lnTo>
                  <a:lnTo>
                    <a:pt x="241" y="190"/>
                  </a:lnTo>
                  <a:lnTo>
                    <a:pt x="239" y="192"/>
                  </a:lnTo>
                  <a:lnTo>
                    <a:pt x="241" y="197"/>
                  </a:lnTo>
                  <a:lnTo>
                    <a:pt x="239" y="197"/>
                  </a:lnTo>
                  <a:lnTo>
                    <a:pt x="241" y="202"/>
                  </a:lnTo>
                  <a:lnTo>
                    <a:pt x="242" y="205"/>
                  </a:lnTo>
                  <a:lnTo>
                    <a:pt x="247" y="208"/>
                  </a:lnTo>
                  <a:lnTo>
                    <a:pt x="248" y="212"/>
                  </a:lnTo>
                  <a:lnTo>
                    <a:pt x="251" y="222"/>
                  </a:lnTo>
                  <a:lnTo>
                    <a:pt x="249" y="223"/>
                  </a:lnTo>
                  <a:lnTo>
                    <a:pt x="244" y="226"/>
                  </a:lnTo>
                  <a:lnTo>
                    <a:pt x="242" y="237"/>
                  </a:lnTo>
                  <a:lnTo>
                    <a:pt x="239" y="242"/>
                  </a:lnTo>
                  <a:lnTo>
                    <a:pt x="239" y="244"/>
                  </a:lnTo>
                  <a:lnTo>
                    <a:pt x="252" y="239"/>
                  </a:lnTo>
                  <a:lnTo>
                    <a:pt x="258" y="234"/>
                  </a:lnTo>
                  <a:lnTo>
                    <a:pt x="259" y="234"/>
                  </a:lnTo>
                  <a:lnTo>
                    <a:pt x="260" y="237"/>
                  </a:lnTo>
                  <a:lnTo>
                    <a:pt x="260" y="240"/>
                  </a:lnTo>
                  <a:lnTo>
                    <a:pt x="264" y="240"/>
                  </a:lnTo>
                  <a:lnTo>
                    <a:pt x="266" y="234"/>
                  </a:lnTo>
                  <a:lnTo>
                    <a:pt x="270" y="232"/>
                  </a:lnTo>
                  <a:lnTo>
                    <a:pt x="274" y="233"/>
                  </a:lnTo>
                  <a:lnTo>
                    <a:pt x="280" y="238"/>
                  </a:lnTo>
                  <a:lnTo>
                    <a:pt x="281" y="238"/>
                  </a:lnTo>
                  <a:lnTo>
                    <a:pt x="284" y="235"/>
                  </a:lnTo>
                  <a:lnTo>
                    <a:pt x="292" y="233"/>
                  </a:lnTo>
                  <a:lnTo>
                    <a:pt x="295" y="234"/>
                  </a:lnTo>
                  <a:lnTo>
                    <a:pt x="295" y="235"/>
                  </a:lnTo>
                  <a:lnTo>
                    <a:pt x="297" y="239"/>
                  </a:lnTo>
                  <a:lnTo>
                    <a:pt x="305" y="244"/>
                  </a:lnTo>
                  <a:lnTo>
                    <a:pt x="305" y="251"/>
                  </a:lnTo>
                  <a:lnTo>
                    <a:pt x="309" y="257"/>
                  </a:lnTo>
                  <a:lnTo>
                    <a:pt x="311" y="271"/>
                  </a:lnTo>
                  <a:lnTo>
                    <a:pt x="313" y="273"/>
                  </a:lnTo>
                  <a:lnTo>
                    <a:pt x="312" y="288"/>
                  </a:lnTo>
                  <a:lnTo>
                    <a:pt x="309" y="292"/>
                  </a:lnTo>
                  <a:lnTo>
                    <a:pt x="306" y="294"/>
                  </a:lnTo>
                  <a:lnTo>
                    <a:pt x="305" y="297"/>
                  </a:lnTo>
                  <a:lnTo>
                    <a:pt x="306" y="298"/>
                  </a:lnTo>
                  <a:lnTo>
                    <a:pt x="311" y="298"/>
                  </a:lnTo>
                  <a:lnTo>
                    <a:pt x="314" y="294"/>
                  </a:lnTo>
                  <a:lnTo>
                    <a:pt x="317" y="296"/>
                  </a:lnTo>
                  <a:lnTo>
                    <a:pt x="322" y="299"/>
                  </a:lnTo>
                  <a:lnTo>
                    <a:pt x="327" y="307"/>
                  </a:lnTo>
                  <a:lnTo>
                    <a:pt x="332" y="305"/>
                  </a:lnTo>
                  <a:lnTo>
                    <a:pt x="334" y="303"/>
                  </a:lnTo>
                  <a:lnTo>
                    <a:pt x="341" y="302"/>
                  </a:lnTo>
                  <a:lnTo>
                    <a:pt x="343" y="298"/>
                  </a:lnTo>
                  <a:lnTo>
                    <a:pt x="348" y="292"/>
                  </a:lnTo>
                  <a:lnTo>
                    <a:pt x="348" y="283"/>
                  </a:lnTo>
                  <a:lnTo>
                    <a:pt x="351" y="281"/>
                  </a:lnTo>
                  <a:lnTo>
                    <a:pt x="357" y="282"/>
                  </a:lnTo>
                  <a:lnTo>
                    <a:pt x="361" y="288"/>
                  </a:lnTo>
                  <a:lnTo>
                    <a:pt x="365" y="286"/>
                  </a:lnTo>
                  <a:lnTo>
                    <a:pt x="378" y="287"/>
                  </a:lnTo>
                  <a:lnTo>
                    <a:pt x="378" y="282"/>
                  </a:lnTo>
                  <a:lnTo>
                    <a:pt x="383" y="276"/>
                  </a:lnTo>
                  <a:lnTo>
                    <a:pt x="383" y="267"/>
                  </a:lnTo>
                  <a:lnTo>
                    <a:pt x="384" y="262"/>
                  </a:lnTo>
                  <a:lnTo>
                    <a:pt x="389" y="260"/>
                  </a:lnTo>
                  <a:lnTo>
                    <a:pt x="388" y="257"/>
                  </a:lnTo>
                  <a:lnTo>
                    <a:pt x="386" y="257"/>
                  </a:lnTo>
                  <a:lnTo>
                    <a:pt x="387" y="255"/>
                  </a:lnTo>
                  <a:lnTo>
                    <a:pt x="386" y="251"/>
                  </a:lnTo>
                  <a:lnTo>
                    <a:pt x="382" y="251"/>
                  </a:lnTo>
                  <a:lnTo>
                    <a:pt x="376" y="251"/>
                  </a:lnTo>
                  <a:lnTo>
                    <a:pt x="373" y="249"/>
                  </a:lnTo>
                  <a:lnTo>
                    <a:pt x="376" y="244"/>
                  </a:lnTo>
                  <a:lnTo>
                    <a:pt x="375" y="239"/>
                  </a:lnTo>
                  <a:lnTo>
                    <a:pt x="373" y="239"/>
                  </a:lnTo>
                  <a:lnTo>
                    <a:pt x="373" y="238"/>
                  </a:lnTo>
                  <a:lnTo>
                    <a:pt x="382" y="234"/>
                  </a:lnTo>
                  <a:lnTo>
                    <a:pt x="391" y="235"/>
                  </a:lnTo>
                  <a:lnTo>
                    <a:pt x="394" y="239"/>
                  </a:lnTo>
                  <a:lnTo>
                    <a:pt x="397" y="239"/>
                  </a:lnTo>
                  <a:lnTo>
                    <a:pt x="400" y="238"/>
                  </a:lnTo>
                  <a:lnTo>
                    <a:pt x="403" y="244"/>
                  </a:lnTo>
                  <a:lnTo>
                    <a:pt x="404" y="244"/>
                  </a:lnTo>
                  <a:lnTo>
                    <a:pt x="403" y="235"/>
                  </a:lnTo>
                  <a:lnTo>
                    <a:pt x="403" y="230"/>
                  </a:lnTo>
                  <a:lnTo>
                    <a:pt x="400" y="227"/>
                  </a:lnTo>
                  <a:lnTo>
                    <a:pt x="400" y="221"/>
                  </a:lnTo>
                  <a:lnTo>
                    <a:pt x="397" y="221"/>
                  </a:lnTo>
                  <a:lnTo>
                    <a:pt x="393" y="219"/>
                  </a:lnTo>
                  <a:lnTo>
                    <a:pt x="391" y="219"/>
                  </a:lnTo>
                  <a:lnTo>
                    <a:pt x="394" y="211"/>
                  </a:lnTo>
                  <a:lnTo>
                    <a:pt x="398" y="207"/>
                  </a:lnTo>
                  <a:lnTo>
                    <a:pt x="400" y="206"/>
                  </a:lnTo>
                  <a:lnTo>
                    <a:pt x="400" y="203"/>
                  </a:lnTo>
                  <a:lnTo>
                    <a:pt x="397" y="199"/>
                  </a:lnTo>
                  <a:lnTo>
                    <a:pt x="393" y="200"/>
                  </a:lnTo>
                  <a:lnTo>
                    <a:pt x="394" y="186"/>
                  </a:lnTo>
                  <a:lnTo>
                    <a:pt x="387" y="186"/>
                  </a:lnTo>
                  <a:lnTo>
                    <a:pt x="380" y="183"/>
                  </a:lnTo>
                  <a:lnTo>
                    <a:pt x="380" y="180"/>
                  </a:lnTo>
                  <a:lnTo>
                    <a:pt x="380" y="163"/>
                  </a:lnTo>
                  <a:lnTo>
                    <a:pt x="378" y="154"/>
                  </a:lnTo>
                  <a:lnTo>
                    <a:pt x="381" y="152"/>
                  </a:lnTo>
                  <a:lnTo>
                    <a:pt x="382" y="149"/>
                  </a:lnTo>
                  <a:lnTo>
                    <a:pt x="388" y="142"/>
                  </a:lnTo>
                  <a:lnTo>
                    <a:pt x="389" y="140"/>
                  </a:lnTo>
                  <a:lnTo>
                    <a:pt x="389" y="137"/>
                  </a:lnTo>
                  <a:lnTo>
                    <a:pt x="387" y="133"/>
                  </a:lnTo>
                  <a:lnTo>
                    <a:pt x="382" y="131"/>
                  </a:lnTo>
                  <a:lnTo>
                    <a:pt x="380" y="126"/>
                  </a:lnTo>
                  <a:lnTo>
                    <a:pt x="375" y="126"/>
                  </a:lnTo>
                  <a:lnTo>
                    <a:pt x="371" y="120"/>
                  </a:lnTo>
                  <a:lnTo>
                    <a:pt x="370" y="97"/>
                  </a:lnTo>
                  <a:lnTo>
                    <a:pt x="370" y="93"/>
                  </a:lnTo>
                  <a:lnTo>
                    <a:pt x="365" y="92"/>
                  </a:lnTo>
                  <a:lnTo>
                    <a:pt x="360" y="92"/>
                  </a:lnTo>
                  <a:lnTo>
                    <a:pt x="354" y="99"/>
                  </a:lnTo>
                  <a:lnTo>
                    <a:pt x="351" y="99"/>
                  </a:lnTo>
                  <a:lnTo>
                    <a:pt x="351" y="92"/>
                  </a:lnTo>
                  <a:lnTo>
                    <a:pt x="352" y="89"/>
                  </a:lnTo>
                  <a:lnTo>
                    <a:pt x="357" y="88"/>
                  </a:lnTo>
                  <a:lnTo>
                    <a:pt x="357" y="83"/>
                  </a:lnTo>
                  <a:lnTo>
                    <a:pt x="361" y="83"/>
                  </a:lnTo>
                  <a:lnTo>
                    <a:pt x="364" y="79"/>
                  </a:lnTo>
                  <a:lnTo>
                    <a:pt x="367" y="79"/>
                  </a:lnTo>
                  <a:lnTo>
                    <a:pt x="367" y="73"/>
                  </a:lnTo>
                  <a:lnTo>
                    <a:pt x="366" y="72"/>
                  </a:lnTo>
                  <a:lnTo>
                    <a:pt x="361" y="72"/>
                  </a:lnTo>
                  <a:lnTo>
                    <a:pt x="357" y="70"/>
                  </a:lnTo>
                  <a:lnTo>
                    <a:pt x="354" y="67"/>
                  </a:lnTo>
                  <a:lnTo>
                    <a:pt x="349" y="57"/>
                  </a:lnTo>
                  <a:lnTo>
                    <a:pt x="344" y="60"/>
                  </a:lnTo>
                  <a:lnTo>
                    <a:pt x="343" y="58"/>
                  </a:lnTo>
                  <a:lnTo>
                    <a:pt x="343" y="41"/>
                  </a:lnTo>
                  <a:lnTo>
                    <a:pt x="341" y="36"/>
                  </a:lnTo>
                  <a:lnTo>
                    <a:pt x="339" y="36"/>
                  </a:lnTo>
                  <a:lnTo>
                    <a:pt x="339" y="30"/>
                  </a:lnTo>
                  <a:lnTo>
                    <a:pt x="338" y="28"/>
                  </a:lnTo>
                  <a:lnTo>
                    <a:pt x="334" y="28"/>
                  </a:lnTo>
                  <a:lnTo>
                    <a:pt x="333" y="28"/>
                  </a:lnTo>
                  <a:lnTo>
                    <a:pt x="334" y="15"/>
                  </a:lnTo>
                  <a:lnTo>
                    <a:pt x="334" y="14"/>
                  </a:lnTo>
                  <a:lnTo>
                    <a:pt x="330" y="12"/>
                  </a:lnTo>
                  <a:lnTo>
                    <a:pt x="328" y="12"/>
                  </a:lnTo>
                  <a:lnTo>
                    <a:pt x="324" y="15"/>
                  </a:lnTo>
                  <a:lnTo>
                    <a:pt x="323" y="15"/>
                  </a:lnTo>
                  <a:lnTo>
                    <a:pt x="316" y="11"/>
                  </a:lnTo>
                  <a:lnTo>
                    <a:pt x="313" y="11"/>
                  </a:lnTo>
                  <a:lnTo>
                    <a:pt x="312" y="12"/>
                  </a:lnTo>
                  <a:lnTo>
                    <a:pt x="312" y="20"/>
                  </a:lnTo>
                  <a:lnTo>
                    <a:pt x="309" y="24"/>
                  </a:lnTo>
                  <a:lnTo>
                    <a:pt x="296" y="28"/>
                  </a:lnTo>
                  <a:lnTo>
                    <a:pt x="296" y="34"/>
                  </a:lnTo>
                  <a:lnTo>
                    <a:pt x="294" y="38"/>
                  </a:lnTo>
                  <a:lnTo>
                    <a:pt x="280" y="34"/>
                  </a:lnTo>
                  <a:lnTo>
                    <a:pt x="270" y="28"/>
                  </a:lnTo>
                  <a:lnTo>
                    <a:pt x="262" y="27"/>
                  </a:lnTo>
                  <a:lnTo>
                    <a:pt x="259" y="27"/>
                  </a:lnTo>
                  <a:lnTo>
                    <a:pt x="255" y="33"/>
                  </a:lnTo>
                  <a:lnTo>
                    <a:pt x="249" y="34"/>
                  </a:lnTo>
                  <a:lnTo>
                    <a:pt x="247" y="40"/>
                  </a:lnTo>
                  <a:lnTo>
                    <a:pt x="243" y="44"/>
                  </a:lnTo>
                  <a:lnTo>
                    <a:pt x="238" y="41"/>
                  </a:lnTo>
                  <a:lnTo>
                    <a:pt x="230" y="30"/>
                  </a:lnTo>
                  <a:lnTo>
                    <a:pt x="227" y="28"/>
                  </a:lnTo>
                  <a:lnTo>
                    <a:pt x="222" y="28"/>
                  </a:lnTo>
                  <a:lnTo>
                    <a:pt x="216" y="34"/>
                  </a:lnTo>
                  <a:lnTo>
                    <a:pt x="212" y="38"/>
                  </a:lnTo>
                  <a:lnTo>
                    <a:pt x="208" y="39"/>
                  </a:lnTo>
                  <a:lnTo>
                    <a:pt x="203" y="35"/>
                  </a:lnTo>
                  <a:lnTo>
                    <a:pt x="198" y="31"/>
                  </a:lnTo>
                  <a:lnTo>
                    <a:pt x="199" y="28"/>
                  </a:lnTo>
                  <a:lnTo>
                    <a:pt x="203" y="23"/>
                  </a:lnTo>
                  <a:lnTo>
                    <a:pt x="203" y="19"/>
                  </a:lnTo>
                  <a:lnTo>
                    <a:pt x="205" y="1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35" name="Central African Republic"/>
            <p:cNvSpPr>
              <a:spLocks noChangeAspect="1"/>
            </p:cNvSpPr>
            <p:nvPr>
              <p:custDataLst>
                <p:tags r:id="rId34"/>
              </p:custDataLst>
            </p:nvPr>
          </p:nvSpPr>
          <p:spPr bwMode="gray">
            <a:xfrm>
              <a:off x="4823496" y="4344172"/>
              <a:ext cx="337046" cy="212995"/>
            </a:xfrm>
            <a:custGeom>
              <a:avLst/>
              <a:gdLst/>
              <a:ahLst/>
              <a:cxnLst>
                <a:cxn ang="0">
                  <a:pos x="433" y="6"/>
                </a:cxn>
                <a:cxn ang="0">
                  <a:pos x="405" y="15"/>
                </a:cxn>
                <a:cxn ang="0">
                  <a:pos x="393" y="44"/>
                </a:cxn>
                <a:cxn ang="0">
                  <a:pos x="378" y="58"/>
                </a:cxn>
                <a:cxn ang="0">
                  <a:pos x="355" y="87"/>
                </a:cxn>
                <a:cxn ang="0">
                  <a:pos x="331" y="102"/>
                </a:cxn>
                <a:cxn ang="0">
                  <a:pos x="317" y="106"/>
                </a:cxn>
                <a:cxn ang="0">
                  <a:pos x="292" y="109"/>
                </a:cxn>
                <a:cxn ang="0">
                  <a:pos x="259" y="113"/>
                </a:cxn>
                <a:cxn ang="0">
                  <a:pos x="245" y="122"/>
                </a:cxn>
                <a:cxn ang="0">
                  <a:pos x="254" y="136"/>
                </a:cxn>
                <a:cxn ang="0">
                  <a:pos x="244" y="152"/>
                </a:cxn>
                <a:cxn ang="0">
                  <a:pos x="232" y="159"/>
                </a:cxn>
                <a:cxn ang="0">
                  <a:pos x="205" y="166"/>
                </a:cxn>
                <a:cxn ang="0">
                  <a:pos x="183" y="170"/>
                </a:cxn>
                <a:cxn ang="0">
                  <a:pos x="153" y="183"/>
                </a:cxn>
                <a:cxn ang="0">
                  <a:pos x="136" y="192"/>
                </a:cxn>
                <a:cxn ang="0">
                  <a:pos x="123" y="184"/>
                </a:cxn>
                <a:cxn ang="0">
                  <a:pos x="113" y="177"/>
                </a:cxn>
                <a:cxn ang="0">
                  <a:pos x="105" y="187"/>
                </a:cxn>
                <a:cxn ang="0">
                  <a:pos x="77" y="198"/>
                </a:cxn>
                <a:cxn ang="0">
                  <a:pos x="60" y="197"/>
                </a:cxn>
                <a:cxn ang="0">
                  <a:pos x="38" y="226"/>
                </a:cxn>
                <a:cxn ang="0">
                  <a:pos x="11" y="272"/>
                </a:cxn>
                <a:cxn ang="0">
                  <a:pos x="3" y="310"/>
                </a:cxn>
                <a:cxn ang="0">
                  <a:pos x="13" y="361"/>
                </a:cxn>
                <a:cxn ang="0">
                  <a:pos x="58" y="431"/>
                </a:cxn>
                <a:cxn ang="0">
                  <a:pos x="97" y="437"/>
                </a:cxn>
                <a:cxn ang="0">
                  <a:pos x="157" y="404"/>
                </a:cxn>
                <a:cxn ang="0">
                  <a:pos x="207" y="416"/>
                </a:cxn>
                <a:cxn ang="0">
                  <a:pos x="241" y="402"/>
                </a:cxn>
                <a:cxn ang="0">
                  <a:pos x="242" y="360"/>
                </a:cxn>
                <a:cxn ang="0">
                  <a:pos x="263" y="334"/>
                </a:cxn>
                <a:cxn ang="0">
                  <a:pos x="306" y="324"/>
                </a:cxn>
                <a:cxn ang="0">
                  <a:pos x="336" y="361"/>
                </a:cxn>
                <a:cxn ang="0">
                  <a:pos x="365" y="365"/>
                </a:cxn>
                <a:cxn ang="0">
                  <a:pos x="446" y="367"/>
                </a:cxn>
                <a:cxn ang="0">
                  <a:pos x="480" y="345"/>
                </a:cxn>
                <a:cxn ang="0">
                  <a:pos x="518" y="339"/>
                </a:cxn>
                <a:cxn ang="0">
                  <a:pos x="561" y="328"/>
                </a:cxn>
                <a:cxn ang="0">
                  <a:pos x="569" y="337"/>
                </a:cxn>
                <a:cxn ang="0">
                  <a:pos x="592" y="322"/>
                </a:cxn>
                <a:cxn ang="0">
                  <a:pos x="650" y="318"/>
                </a:cxn>
                <a:cxn ang="0">
                  <a:pos x="682" y="334"/>
                </a:cxn>
                <a:cxn ang="0">
                  <a:pos x="712" y="316"/>
                </a:cxn>
                <a:cxn ang="0">
                  <a:pos x="675" y="276"/>
                </a:cxn>
                <a:cxn ang="0">
                  <a:pos x="657" y="253"/>
                </a:cxn>
                <a:cxn ang="0">
                  <a:pos x="637" y="226"/>
                </a:cxn>
                <a:cxn ang="0">
                  <a:pos x="593" y="192"/>
                </a:cxn>
                <a:cxn ang="0">
                  <a:pos x="587" y="166"/>
                </a:cxn>
                <a:cxn ang="0">
                  <a:pos x="546" y="152"/>
                </a:cxn>
                <a:cxn ang="0">
                  <a:pos x="517" y="129"/>
                </a:cxn>
                <a:cxn ang="0">
                  <a:pos x="494" y="105"/>
                </a:cxn>
                <a:cxn ang="0">
                  <a:pos x="496" y="55"/>
                </a:cxn>
                <a:cxn ang="0">
                  <a:pos x="453" y="0"/>
                </a:cxn>
              </a:cxnLst>
              <a:rect l="0" t="0" r="r" b="b"/>
              <a:pathLst>
                <a:path w="718" h="451">
                  <a:moveTo>
                    <a:pt x="453" y="0"/>
                  </a:moveTo>
                  <a:lnTo>
                    <a:pt x="442" y="3"/>
                  </a:lnTo>
                  <a:lnTo>
                    <a:pt x="433" y="6"/>
                  </a:lnTo>
                  <a:lnTo>
                    <a:pt x="417" y="7"/>
                  </a:lnTo>
                  <a:lnTo>
                    <a:pt x="411" y="10"/>
                  </a:lnTo>
                  <a:lnTo>
                    <a:pt x="405" y="15"/>
                  </a:lnTo>
                  <a:lnTo>
                    <a:pt x="400" y="26"/>
                  </a:lnTo>
                  <a:lnTo>
                    <a:pt x="400" y="42"/>
                  </a:lnTo>
                  <a:lnTo>
                    <a:pt x="393" y="44"/>
                  </a:lnTo>
                  <a:lnTo>
                    <a:pt x="387" y="54"/>
                  </a:lnTo>
                  <a:lnTo>
                    <a:pt x="383" y="57"/>
                  </a:lnTo>
                  <a:lnTo>
                    <a:pt x="378" y="58"/>
                  </a:lnTo>
                  <a:lnTo>
                    <a:pt x="362" y="74"/>
                  </a:lnTo>
                  <a:lnTo>
                    <a:pt x="358" y="84"/>
                  </a:lnTo>
                  <a:lnTo>
                    <a:pt x="355" y="87"/>
                  </a:lnTo>
                  <a:lnTo>
                    <a:pt x="342" y="93"/>
                  </a:lnTo>
                  <a:lnTo>
                    <a:pt x="336" y="95"/>
                  </a:lnTo>
                  <a:lnTo>
                    <a:pt x="331" y="102"/>
                  </a:lnTo>
                  <a:lnTo>
                    <a:pt x="329" y="105"/>
                  </a:lnTo>
                  <a:lnTo>
                    <a:pt x="322" y="108"/>
                  </a:lnTo>
                  <a:lnTo>
                    <a:pt x="317" y="106"/>
                  </a:lnTo>
                  <a:lnTo>
                    <a:pt x="309" y="106"/>
                  </a:lnTo>
                  <a:lnTo>
                    <a:pt x="302" y="108"/>
                  </a:lnTo>
                  <a:lnTo>
                    <a:pt x="292" y="109"/>
                  </a:lnTo>
                  <a:lnTo>
                    <a:pt x="290" y="112"/>
                  </a:lnTo>
                  <a:lnTo>
                    <a:pt x="270" y="112"/>
                  </a:lnTo>
                  <a:lnTo>
                    <a:pt x="259" y="113"/>
                  </a:lnTo>
                  <a:lnTo>
                    <a:pt x="249" y="117"/>
                  </a:lnTo>
                  <a:lnTo>
                    <a:pt x="247" y="118"/>
                  </a:lnTo>
                  <a:lnTo>
                    <a:pt x="245" y="122"/>
                  </a:lnTo>
                  <a:lnTo>
                    <a:pt x="245" y="124"/>
                  </a:lnTo>
                  <a:lnTo>
                    <a:pt x="252" y="129"/>
                  </a:lnTo>
                  <a:lnTo>
                    <a:pt x="254" y="136"/>
                  </a:lnTo>
                  <a:lnTo>
                    <a:pt x="252" y="140"/>
                  </a:lnTo>
                  <a:lnTo>
                    <a:pt x="247" y="144"/>
                  </a:lnTo>
                  <a:lnTo>
                    <a:pt x="244" y="152"/>
                  </a:lnTo>
                  <a:lnTo>
                    <a:pt x="239" y="155"/>
                  </a:lnTo>
                  <a:lnTo>
                    <a:pt x="234" y="156"/>
                  </a:lnTo>
                  <a:lnTo>
                    <a:pt x="232" y="159"/>
                  </a:lnTo>
                  <a:lnTo>
                    <a:pt x="231" y="165"/>
                  </a:lnTo>
                  <a:lnTo>
                    <a:pt x="229" y="166"/>
                  </a:lnTo>
                  <a:lnTo>
                    <a:pt x="205" y="166"/>
                  </a:lnTo>
                  <a:lnTo>
                    <a:pt x="198" y="170"/>
                  </a:lnTo>
                  <a:lnTo>
                    <a:pt x="189" y="170"/>
                  </a:lnTo>
                  <a:lnTo>
                    <a:pt x="183" y="170"/>
                  </a:lnTo>
                  <a:lnTo>
                    <a:pt x="161" y="177"/>
                  </a:lnTo>
                  <a:lnTo>
                    <a:pt x="157" y="181"/>
                  </a:lnTo>
                  <a:lnTo>
                    <a:pt x="153" y="183"/>
                  </a:lnTo>
                  <a:lnTo>
                    <a:pt x="147" y="187"/>
                  </a:lnTo>
                  <a:lnTo>
                    <a:pt x="139" y="188"/>
                  </a:lnTo>
                  <a:lnTo>
                    <a:pt x="136" y="192"/>
                  </a:lnTo>
                  <a:lnTo>
                    <a:pt x="132" y="193"/>
                  </a:lnTo>
                  <a:lnTo>
                    <a:pt x="125" y="187"/>
                  </a:lnTo>
                  <a:lnTo>
                    <a:pt x="123" y="184"/>
                  </a:lnTo>
                  <a:lnTo>
                    <a:pt x="119" y="178"/>
                  </a:lnTo>
                  <a:lnTo>
                    <a:pt x="116" y="177"/>
                  </a:lnTo>
                  <a:lnTo>
                    <a:pt x="113" y="177"/>
                  </a:lnTo>
                  <a:lnTo>
                    <a:pt x="112" y="179"/>
                  </a:lnTo>
                  <a:lnTo>
                    <a:pt x="108" y="179"/>
                  </a:lnTo>
                  <a:lnTo>
                    <a:pt x="105" y="187"/>
                  </a:lnTo>
                  <a:lnTo>
                    <a:pt x="92" y="189"/>
                  </a:lnTo>
                  <a:lnTo>
                    <a:pt x="82" y="197"/>
                  </a:lnTo>
                  <a:lnTo>
                    <a:pt x="77" y="198"/>
                  </a:lnTo>
                  <a:lnTo>
                    <a:pt x="71" y="195"/>
                  </a:lnTo>
                  <a:lnTo>
                    <a:pt x="66" y="195"/>
                  </a:lnTo>
                  <a:lnTo>
                    <a:pt x="60" y="197"/>
                  </a:lnTo>
                  <a:lnTo>
                    <a:pt x="51" y="198"/>
                  </a:lnTo>
                  <a:lnTo>
                    <a:pt x="48" y="200"/>
                  </a:lnTo>
                  <a:lnTo>
                    <a:pt x="38" y="226"/>
                  </a:lnTo>
                  <a:lnTo>
                    <a:pt x="28" y="241"/>
                  </a:lnTo>
                  <a:lnTo>
                    <a:pt x="21" y="257"/>
                  </a:lnTo>
                  <a:lnTo>
                    <a:pt x="11" y="272"/>
                  </a:lnTo>
                  <a:lnTo>
                    <a:pt x="0" y="283"/>
                  </a:lnTo>
                  <a:lnTo>
                    <a:pt x="0" y="296"/>
                  </a:lnTo>
                  <a:lnTo>
                    <a:pt x="3" y="310"/>
                  </a:lnTo>
                  <a:lnTo>
                    <a:pt x="2" y="327"/>
                  </a:lnTo>
                  <a:lnTo>
                    <a:pt x="3" y="343"/>
                  </a:lnTo>
                  <a:lnTo>
                    <a:pt x="13" y="361"/>
                  </a:lnTo>
                  <a:lnTo>
                    <a:pt x="22" y="372"/>
                  </a:lnTo>
                  <a:lnTo>
                    <a:pt x="46" y="419"/>
                  </a:lnTo>
                  <a:lnTo>
                    <a:pt x="58" y="431"/>
                  </a:lnTo>
                  <a:lnTo>
                    <a:pt x="81" y="451"/>
                  </a:lnTo>
                  <a:lnTo>
                    <a:pt x="88" y="451"/>
                  </a:lnTo>
                  <a:lnTo>
                    <a:pt x="97" y="437"/>
                  </a:lnTo>
                  <a:lnTo>
                    <a:pt x="114" y="421"/>
                  </a:lnTo>
                  <a:lnTo>
                    <a:pt x="137" y="407"/>
                  </a:lnTo>
                  <a:lnTo>
                    <a:pt x="157" y="404"/>
                  </a:lnTo>
                  <a:lnTo>
                    <a:pt x="174" y="414"/>
                  </a:lnTo>
                  <a:lnTo>
                    <a:pt x="191" y="420"/>
                  </a:lnTo>
                  <a:lnTo>
                    <a:pt x="207" y="416"/>
                  </a:lnTo>
                  <a:lnTo>
                    <a:pt x="222" y="409"/>
                  </a:lnTo>
                  <a:lnTo>
                    <a:pt x="228" y="404"/>
                  </a:lnTo>
                  <a:lnTo>
                    <a:pt x="241" y="402"/>
                  </a:lnTo>
                  <a:lnTo>
                    <a:pt x="238" y="393"/>
                  </a:lnTo>
                  <a:lnTo>
                    <a:pt x="239" y="374"/>
                  </a:lnTo>
                  <a:lnTo>
                    <a:pt x="242" y="360"/>
                  </a:lnTo>
                  <a:lnTo>
                    <a:pt x="250" y="355"/>
                  </a:lnTo>
                  <a:lnTo>
                    <a:pt x="257" y="340"/>
                  </a:lnTo>
                  <a:lnTo>
                    <a:pt x="263" y="334"/>
                  </a:lnTo>
                  <a:lnTo>
                    <a:pt x="276" y="323"/>
                  </a:lnTo>
                  <a:lnTo>
                    <a:pt x="290" y="323"/>
                  </a:lnTo>
                  <a:lnTo>
                    <a:pt x="306" y="324"/>
                  </a:lnTo>
                  <a:lnTo>
                    <a:pt x="313" y="334"/>
                  </a:lnTo>
                  <a:lnTo>
                    <a:pt x="315" y="343"/>
                  </a:lnTo>
                  <a:lnTo>
                    <a:pt x="336" y="361"/>
                  </a:lnTo>
                  <a:lnTo>
                    <a:pt x="344" y="364"/>
                  </a:lnTo>
                  <a:lnTo>
                    <a:pt x="351" y="355"/>
                  </a:lnTo>
                  <a:lnTo>
                    <a:pt x="365" y="365"/>
                  </a:lnTo>
                  <a:lnTo>
                    <a:pt x="388" y="371"/>
                  </a:lnTo>
                  <a:lnTo>
                    <a:pt x="438" y="371"/>
                  </a:lnTo>
                  <a:lnTo>
                    <a:pt x="446" y="367"/>
                  </a:lnTo>
                  <a:lnTo>
                    <a:pt x="448" y="350"/>
                  </a:lnTo>
                  <a:lnTo>
                    <a:pt x="462" y="342"/>
                  </a:lnTo>
                  <a:lnTo>
                    <a:pt x="480" y="345"/>
                  </a:lnTo>
                  <a:lnTo>
                    <a:pt x="489" y="350"/>
                  </a:lnTo>
                  <a:lnTo>
                    <a:pt x="507" y="345"/>
                  </a:lnTo>
                  <a:lnTo>
                    <a:pt x="518" y="339"/>
                  </a:lnTo>
                  <a:lnTo>
                    <a:pt x="544" y="334"/>
                  </a:lnTo>
                  <a:lnTo>
                    <a:pt x="555" y="328"/>
                  </a:lnTo>
                  <a:lnTo>
                    <a:pt x="561" y="328"/>
                  </a:lnTo>
                  <a:lnTo>
                    <a:pt x="562" y="334"/>
                  </a:lnTo>
                  <a:lnTo>
                    <a:pt x="561" y="334"/>
                  </a:lnTo>
                  <a:lnTo>
                    <a:pt x="569" y="337"/>
                  </a:lnTo>
                  <a:lnTo>
                    <a:pt x="576" y="334"/>
                  </a:lnTo>
                  <a:lnTo>
                    <a:pt x="588" y="334"/>
                  </a:lnTo>
                  <a:lnTo>
                    <a:pt x="592" y="322"/>
                  </a:lnTo>
                  <a:lnTo>
                    <a:pt x="612" y="327"/>
                  </a:lnTo>
                  <a:lnTo>
                    <a:pt x="635" y="323"/>
                  </a:lnTo>
                  <a:lnTo>
                    <a:pt x="650" y="318"/>
                  </a:lnTo>
                  <a:lnTo>
                    <a:pt x="663" y="334"/>
                  </a:lnTo>
                  <a:lnTo>
                    <a:pt x="670" y="327"/>
                  </a:lnTo>
                  <a:lnTo>
                    <a:pt x="682" y="334"/>
                  </a:lnTo>
                  <a:lnTo>
                    <a:pt x="690" y="323"/>
                  </a:lnTo>
                  <a:lnTo>
                    <a:pt x="718" y="323"/>
                  </a:lnTo>
                  <a:lnTo>
                    <a:pt x="712" y="316"/>
                  </a:lnTo>
                  <a:lnTo>
                    <a:pt x="711" y="305"/>
                  </a:lnTo>
                  <a:lnTo>
                    <a:pt x="705" y="296"/>
                  </a:lnTo>
                  <a:lnTo>
                    <a:pt x="675" y="276"/>
                  </a:lnTo>
                  <a:lnTo>
                    <a:pt x="666" y="273"/>
                  </a:lnTo>
                  <a:lnTo>
                    <a:pt x="664" y="262"/>
                  </a:lnTo>
                  <a:lnTo>
                    <a:pt x="657" y="253"/>
                  </a:lnTo>
                  <a:lnTo>
                    <a:pt x="653" y="242"/>
                  </a:lnTo>
                  <a:lnTo>
                    <a:pt x="648" y="232"/>
                  </a:lnTo>
                  <a:lnTo>
                    <a:pt x="637" y="226"/>
                  </a:lnTo>
                  <a:lnTo>
                    <a:pt x="630" y="216"/>
                  </a:lnTo>
                  <a:lnTo>
                    <a:pt x="612" y="204"/>
                  </a:lnTo>
                  <a:lnTo>
                    <a:pt x="593" y="192"/>
                  </a:lnTo>
                  <a:lnTo>
                    <a:pt x="587" y="181"/>
                  </a:lnTo>
                  <a:lnTo>
                    <a:pt x="588" y="171"/>
                  </a:lnTo>
                  <a:lnTo>
                    <a:pt x="587" y="166"/>
                  </a:lnTo>
                  <a:lnTo>
                    <a:pt x="577" y="159"/>
                  </a:lnTo>
                  <a:lnTo>
                    <a:pt x="569" y="152"/>
                  </a:lnTo>
                  <a:lnTo>
                    <a:pt x="546" y="152"/>
                  </a:lnTo>
                  <a:lnTo>
                    <a:pt x="535" y="148"/>
                  </a:lnTo>
                  <a:lnTo>
                    <a:pt x="530" y="133"/>
                  </a:lnTo>
                  <a:lnTo>
                    <a:pt x="517" y="129"/>
                  </a:lnTo>
                  <a:lnTo>
                    <a:pt x="506" y="128"/>
                  </a:lnTo>
                  <a:lnTo>
                    <a:pt x="496" y="118"/>
                  </a:lnTo>
                  <a:lnTo>
                    <a:pt x="494" y="105"/>
                  </a:lnTo>
                  <a:lnTo>
                    <a:pt x="496" y="89"/>
                  </a:lnTo>
                  <a:lnTo>
                    <a:pt x="501" y="71"/>
                  </a:lnTo>
                  <a:lnTo>
                    <a:pt x="496" y="55"/>
                  </a:lnTo>
                  <a:lnTo>
                    <a:pt x="480" y="34"/>
                  </a:lnTo>
                  <a:lnTo>
                    <a:pt x="463" y="15"/>
                  </a:lnTo>
                  <a:lnTo>
                    <a:pt x="453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36" name="Gabon"/>
            <p:cNvSpPr>
              <a:spLocks noChangeAspect="1"/>
            </p:cNvSpPr>
            <p:nvPr>
              <p:custDataLst>
                <p:tags r:id="rId35"/>
              </p:custDataLst>
            </p:nvPr>
          </p:nvSpPr>
          <p:spPr bwMode="gray">
            <a:xfrm>
              <a:off x="4678379" y="4568870"/>
              <a:ext cx="142777" cy="161501"/>
            </a:xfrm>
            <a:custGeom>
              <a:avLst/>
              <a:gdLst/>
              <a:ahLst/>
              <a:cxnLst>
                <a:cxn ang="0">
                  <a:pos x="120" y="330"/>
                </a:cxn>
                <a:cxn ang="0">
                  <a:pos x="97" y="305"/>
                </a:cxn>
                <a:cxn ang="0">
                  <a:pos x="54" y="262"/>
                </a:cxn>
                <a:cxn ang="0">
                  <a:pos x="34" y="237"/>
                </a:cxn>
                <a:cxn ang="0">
                  <a:pos x="17" y="208"/>
                </a:cxn>
                <a:cxn ang="0">
                  <a:pos x="4" y="177"/>
                </a:cxn>
                <a:cxn ang="0">
                  <a:pos x="4" y="167"/>
                </a:cxn>
                <a:cxn ang="0">
                  <a:pos x="17" y="156"/>
                </a:cxn>
                <a:cxn ang="0">
                  <a:pos x="27" y="138"/>
                </a:cxn>
                <a:cxn ang="0">
                  <a:pos x="31" y="113"/>
                </a:cxn>
                <a:cxn ang="0">
                  <a:pos x="45" y="122"/>
                </a:cxn>
                <a:cxn ang="0">
                  <a:pos x="60" y="120"/>
                </a:cxn>
                <a:cxn ang="0">
                  <a:pos x="47" y="115"/>
                </a:cxn>
                <a:cxn ang="0">
                  <a:pos x="34" y="105"/>
                </a:cxn>
                <a:cxn ang="0">
                  <a:pos x="33" y="94"/>
                </a:cxn>
                <a:cxn ang="0">
                  <a:pos x="43" y="89"/>
                </a:cxn>
                <a:cxn ang="0">
                  <a:pos x="66" y="68"/>
                </a:cxn>
                <a:cxn ang="0">
                  <a:pos x="135" y="63"/>
                </a:cxn>
                <a:cxn ang="0">
                  <a:pos x="131" y="20"/>
                </a:cxn>
                <a:cxn ang="0">
                  <a:pos x="151" y="2"/>
                </a:cxn>
                <a:cxn ang="0">
                  <a:pos x="185" y="0"/>
                </a:cxn>
                <a:cxn ang="0">
                  <a:pos x="237" y="5"/>
                </a:cxn>
                <a:cxn ang="0">
                  <a:pos x="239" y="22"/>
                </a:cxn>
                <a:cxn ang="0">
                  <a:pos x="239" y="59"/>
                </a:cxn>
                <a:cxn ang="0">
                  <a:pos x="264" y="41"/>
                </a:cxn>
                <a:cxn ang="0">
                  <a:pos x="303" y="61"/>
                </a:cxn>
                <a:cxn ang="0">
                  <a:pos x="286" y="111"/>
                </a:cxn>
                <a:cxn ang="0">
                  <a:pos x="289" y="142"/>
                </a:cxn>
                <a:cxn ang="0">
                  <a:pos x="299" y="186"/>
                </a:cxn>
                <a:cxn ang="0">
                  <a:pos x="293" y="236"/>
                </a:cxn>
                <a:cxn ang="0">
                  <a:pos x="272" y="258"/>
                </a:cxn>
                <a:cxn ang="0">
                  <a:pos x="229" y="245"/>
                </a:cxn>
                <a:cxn ang="0">
                  <a:pos x="212" y="229"/>
                </a:cxn>
                <a:cxn ang="0">
                  <a:pos x="192" y="248"/>
                </a:cxn>
                <a:cxn ang="0">
                  <a:pos x="159" y="266"/>
                </a:cxn>
                <a:cxn ang="0">
                  <a:pos x="153" y="287"/>
                </a:cxn>
                <a:cxn ang="0">
                  <a:pos x="160" y="314"/>
                </a:cxn>
                <a:cxn ang="0">
                  <a:pos x="146" y="318"/>
                </a:cxn>
                <a:cxn ang="0">
                  <a:pos x="129" y="328"/>
                </a:cxn>
              </a:cxnLst>
              <a:rect l="0" t="0" r="r" b="b"/>
              <a:pathLst>
                <a:path w="304" h="343">
                  <a:moveTo>
                    <a:pt x="127" y="343"/>
                  </a:moveTo>
                  <a:lnTo>
                    <a:pt x="120" y="330"/>
                  </a:lnTo>
                  <a:lnTo>
                    <a:pt x="110" y="320"/>
                  </a:lnTo>
                  <a:lnTo>
                    <a:pt x="97" y="305"/>
                  </a:lnTo>
                  <a:lnTo>
                    <a:pt x="61" y="274"/>
                  </a:lnTo>
                  <a:lnTo>
                    <a:pt x="54" y="262"/>
                  </a:lnTo>
                  <a:lnTo>
                    <a:pt x="45" y="251"/>
                  </a:lnTo>
                  <a:lnTo>
                    <a:pt x="34" y="237"/>
                  </a:lnTo>
                  <a:lnTo>
                    <a:pt x="27" y="231"/>
                  </a:lnTo>
                  <a:lnTo>
                    <a:pt x="17" y="208"/>
                  </a:lnTo>
                  <a:lnTo>
                    <a:pt x="13" y="194"/>
                  </a:lnTo>
                  <a:lnTo>
                    <a:pt x="4" y="177"/>
                  </a:lnTo>
                  <a:lnTo>
                    <a:pt x="0" y="169"/>
                  </a:lnTo>
                  <a:lnTo>
                    <a:pt x="4" y="167"/>
                  </a:lnTo>
                  <a:lnTo>
                    <a:pt x="12" y="165"/>
                  </a:lnTo>
                  <a:lnTo>
                    <a:pt x="17" y="156"/>
                  </a:lnTo>
                  <a:lnTo>
                    <a:pt x="24" y="150"/>
                  </a:lnTo>
                  <a:lnTo>
                    <a:pt x="27" y="138"/>
                  </a:lnTo>
                  <a:lnTo>
                    <a:pt x="28" y="113"/>
                  </a:lnTo>
                  <a:lnTo>
                    <a:pt x="31" y="113"/>
                  </a:lnTo>
                  <a:lnTo>
                    <a:pt x="36" y="118"/>
                  </a:lnTo>
                  <a:lnTo>
                    <a:pt x="45" y="122"/>
                  </a:lnTo>
                  <a:lnTo>
                    <a:pt x="57" y="122"/>
                  </a:lnTo>
                  <a:lnTo>
                    <a:pt x="60" y="120"/>
                  </a:lnTo>
                  <a:lnTo>
                    <a:pt x="56" y="117"/>
                  </a:lnTo>
                  <a:lnTo>
                    <a:pt x="47" y="115"/>
                  </a:lnTo>
                  <a:lnTo>
                    <a:pt x="40" y="110"/>
                  </a:lnTo>
                  <a:lnTo>
                    <a:pt x="34" y="105"/>
                  </a:lnTo>
                  <a:lnTo>
                    <a:pt x="30" y="99"/>
                  </a:lnTo>
                  <a:lnTo>
                    <a:pt x="33" y="94"/>
                  </a:lnTo>
                  <a:lnTo>
                    <a:pt x="40" y="94"/>
                  </a:lnTo>
                  <a:lnTo>
                    <a:pt x="43" y="89"/>
                  </a:lnTo>
                  <a:lnTo>
                    <a:pt x="43" y="73"/>
                  </a:lnTo>
                  <a:lnTo>
                    <a:pt x="66" y="68"/>
                  </a:lnTo>
                  <a:lnTo>
                    <a:pt x="137" y="65"/>
                  </a:lnTo>
                  <a:lnTo>
                    <a:pt x="135" y="63"/>
                  </a:lnTo>
                  <a:lnTo>
                    <a:pt x="132" y="43"/>
                  </a:lnTo>
                  <a:lnTo>
                    <a:pt x="131" y="20"/>
                  </a:lnTo>
                  <a:lnTo>
                    <a:pt x="137" y="5"/>
                  </a:lnTo>
                  <a:lnTo>
                    <a:pt x="151" y="2"/>
                  </a:lnTo>
                  <a:lnTo>
                    <a:pt x="165" y="4"/>
                  </a:lnTo>
                  <a:lnTo>
                    <a:pt x="185" y="0"/>
                  </a:lnTo>
                  <a:lnTo>
                    <a:pt x="201" y="4"/>
                  </a:lnTo>
                  <a:lnTo>
                    <a:pt x="237" y="5"/>
                  </a:lnTo>
                  <a:lnTo>
                    <a:pt x="245" y="8"/>
                  </a:lnTo>
                  <a:lnTo>
                    <a:pt x="239" y="22"/>
                  </a:lnTo>
                  <a:lnTo>
                    <a:pt x="238" y="41"/>
                  </a:lnTo>
                  <a:lnTo>
                    <a:pt x="239" y="59"/>
                  </a:lnTo>
                  <a:lnTo>
                    <a:pt x="248" y="64"/>
                  </a:lnTo>
                  <a:lnTo>
                    <a:pt x="264" y="41"/>
                  </a:lnTo>
                  <a:lnTo>
                    <a:pt x="293" y="48"/>
                  </a:lnTo>
                  <a:lnTo>
                    <a:pt x="303" y="61"/>
                  </a:lnTo>
                  <a:lnTo>
                    <a:pt x="304" y="81"/>
                  </a:lnTo>
                  <a:lnTo>
                    <a:pt x="286" y="111"/>
                  </a:lnTo>
                  <a:lnTo>
                    <a:pt x="285" y="128"/>
                  </a:lnTo>
                  <a:lnTo>
                    <a:pt x="289" y="142"/>
                  </a:lnTo>
                  <a:lnTo>
                    <a:pt x="300" y="170"/>
                  </a:lnTo>
                  <a:lnTo>
                    <a:pt x="299" y="186"/>
                  </a:lnTo>
                  <a:lnTo>
                    <a:pt x="296" y="199"/>
                  </a:lnTo>
                  <a:lnTo>
                    <a:pt x="293" y="236"/>
                  </a:lnTo>
                  <a:lnTo>
                    <a:pt x="288" y="253"/>
                  </a:lnTo>
                  <a:lnTo>
                    <a:pt x="272" y="258"/>
                  </a:lnTo>
                  <a:lnTo>
                    <a:pt x="254" y="242"/>
                  </a:lnTo>
                  <a:lnTo>
                    <a:pt x="229" y="245"/>
                  </a:lnTo>
                  <a:lnTo>
                    <a:pt x="219" y="234"/>
                  </a:lnTo>
                  <a:lnTo>
                    <a:pt x="212" y="229"/>
                  </a:lnTo>
                  <a:lnTo>
                    <a:pt x="201" y="237"/>
                  </a:lnTo>
                  <a:lnTo>
                    <a:pt x="192" y="248"/>
                  </a:lnTo>
                  <a:lnTo>
                    <a:pt x="169" y="257"/>
                  </a:lnTo>
                  <a:lnTo>
                    <a:pt x="159" y="266"/>
                  </a:lnTo>
                  <a:lnTo>
                    <a:pt x="154" y="274"/>
                  </a:lnTo>
                  <a:lnTo>
                    <a:pt x="153" y="287"/>
                  </a:lnTo>
                  <a:lnTo>
                    <a:pt x="158" y="299"/>
                  </a:lnTo>
                  <a:lnTo>
                    <a:pt x="160" y="314"/>
                  </a:lnTo>
                  <a:lnTo>
                    <a:pt x="158" y="318"/>
                  </a:lnTo>
                  <a:lnTo>
                    <a:pt x="146" y="318"/>
                  </a:lnTo>
                  <a:lnTo>
                    <a:pt x="135" y="321"/>
                  </a:lnTo>
                  <a:lnTo>
                    <a:pt x="129" y="328"/>
                  </a:lnTo>
                  <a:lnTo>
                    <a:pt x="127" y="34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37" name="The Gambia"/>
            <p:cNvSpPr>
              <a:spLocks noChangeAspect="1"/>
            </p:cNvSpPr>
            <p:nvPr>
              <p:custDataLst>
                <p:tags r:id="rId36"/>
              </p:custDataLst>
            </p:nvPr>
          </p:nvSpPr>
          <p:spPr bwMode="gray">
            <a:xfrm>
              <a:off x="4020670" y="4271613"/>
              <a:ext cx="79580" cy="21065"/>
            </a:xfrm>
            <a:custGeom>
              <a:avLst/>
              <a:gdLst/>
              <a:ahLst/>
              <a:cxnLst>
                <a:cxn ang="0">
                  <a:pos x="4" y="44"/>
                </a:cxn>
                <a:cxn ang="0">
                  <a:pos x="8" y="38"/>
                </a:cxn>
                <a:cxn ang="0">
                  <a:pos x="47" y="34"/>
                </a:cxn>
                <a:cxn ang="0">
                  <a:pos x="55" y="34"/>
                </a:cxn>
                <a:cxn ang="0">
                  <a:pos x="56" y="34"/>
                </a:cxn>
                <a:cxn ang="0">
                  <a:pos x="59" y="27"/>
                </a:cxn>
                <a:cxn ang="0">
                  <a:pos x="64" y="26"/>
                </a:cxn>
                <a:cxn ang="0">
                  <a:pos x="67" y="27"/>
                </a:cxn>
                <a:cxn ang="0">
                  <a:pos x="80" y="26"/>
                </a:cxn>
                <a:cxn ang="0">
                  <a:pos x="88" y="22"/>
                </a:cxn>
                <a:cxn ang="0">
                  <a:pos x="92" y="17"/>
                </a:cxn>
                <a:cxn ang="0">
                  <a:pos x="94" y="16"/>
                </a:cxn>
                <a:cxn ang="0">
                  <a:pos x="101" y="17"/>
                </a:cxn>
                <a:cxn ang="0">
                  <a:pos x="104" y="21"/>
                </a:cxn>
                <a:cxn ang="0">
                  <a:pos x="112" y="23"/>
                </a:cxn>
                <a:cxn ang="0">
                  <a:pos x="120" y="28"/>
                </a:cxn>
                <a:cxn ang="0">
                  <a:pos x="128" y="29"/>
                </a:cxn>
                <a:cxn ang="0">
                  <a:pos x="136" y="33"/>
                </a:cxn>
                <a:cxn ang="0">
                  <a:pos x="144" y="33"/>
                </a:cxn>
                <a:cxn ang="0">
                  <a:pos x="146" y="34"/>
                </a:cxn>
                <a:cxn ang="0">
                  <a:pos x="152" y="31"/>
                </a:cxn>
                <a:cxn ang="0">
                  <a:pos x="164" y="28"/>
                </a:cxn>
                <a:cxn ang="0">
                  <a:pos x="168" y="24"/>
                </a:cxn>
                <a:cxn ang="0">
                  <a:pos x="168" y="21"/>
                </a:cxn>
                <a:cxn ang="0">
                  <a:pos x="168" y="16"/>
                </a:cxn>
                <a:cxn ang="0">
                  <a:pos x="167" y="16"/>
                </a:cxn>
                <a:cxn ang="0">
                  <a:pos x="164" y="16"/>
                </a:cxn>
                <a:cxn ang="0">
                  <a:pos x="161" y="15"/>
                </a:cxn>
                <a:cxn ang="0">
                  <a:pos x="156" y="15"/>
                </a:cxn>
                <a:cxn ang="0">
                  <a:pos x="152" y="16"/>
                </a:cxn>
                <a:cxn ang="0">
                  <a:pos x="141" y="21"/>
                </a:cxn>
                <a:cxn ang="0">
                  <a:pos x="136" y="20"/>
                </a:cxn>
                <a:cxn ang="0">
                  <a:pos x="130" y="17"/>
                </a:cxn>
                <a:cxn ang="0">
                  <a:pos x="126" y="11"/>
                </a:cxn>
                <a:cxn ang="0">
                  <a:pos x="125" y="10"/>
                </a:cxn>
                <a:cxn ang="0">
                  <a:pos x="113" y="10"/>
                </a:cxn>
                <a:cxn ang="0">
                  <a:pos x="107" y="2"/>
                </a:cxn>
                <a:cxn ang="0">
                  <a:pos x="101" y="1"/>
                </a:cxn>
                <a:cxn ang="0">
                  <a:pos x="98" y="0"/>
                </a:cxn>
                <a:cxn ang="0">
                  <a:pos x="92" y="1"/>
                </a:cxn>
                <a:cxn ang="0">
                  <a:pos x="87" y="4"/>
                </a:cxn>
                <a:cxn ang="0">
                  <a:pos x="81" y="2"/>
                </a:cxn>
                <a:cxn ang="0">
                  <a:pos x="76" y="7"/>
                </a:cxn>
                <a:cxn ang="0">
                  <a:pos x="72" y="13"/>
                </a:cxn>
                <a:cxn ang="0">
                  <a:pos x="16" y="13"/>
                </a:cxn>
                <a:cxn ang="0">
                  <a:pos x="15" y="13"/>
                </a:cxn>
                <a:cxn ang="0">
                  <a:pos x="13" y="17"/>
                </a:cxn>
                <a:cxn ang="0">
                  <a:pos x="15" y="21"/>
                </a:cxn>
                <a:cxn ang="0">
                  <a:pos x="8" y="20"/>
                </a:cxn>
                <a:cxn ang="0">
                  <a:pos x="6" y="21"/>
                </a:cxn>
                <a:cxn ang="0">
                  <a:pos x="4" y="26"/>
                </a:cxn>
                <a:cxn ang="0">
                  <a:pos x="1" y="28"/>
                </a:cxn>
                <a:cxn ang="0">
                  <a:pos x="0" y="34"/>
                </a:cxn>
                <a:cxn ang="0">
                  <a:pos x="1" y="44"/>
                </a:cxn>
                <a:cxn ang="0">
                  <a:pos x="2" y="45"/>
                </a:cxn>
                <a:cxn ang="0">
                  <a:pos x="4" y="44"/>
                </a:cxn>
              </a:cxnLst>
              <a:rect l="0" t="0" r="r" b="b"/>
              <a:pathLst>
                <a:path w="168" h="45">
                  <a:moveTo>
                    <a:pt x="4" y="44"/>
                  </a:moveTo>
                  <a:lnTo>
                    <a:pt x="8" y="38"/>
                  </a:lnTo>
                  <a:lnTo>
                    <a:pt x="47" y="34"/>
                  </a:lnTo>
                  <a:lnTo>
                    <a:pt x="55" y="34"/>
                  </a:lnTo>
                  <a:lnTo>
                    <a:pt x="56" y="34"/>
                  </a:lnTo>
                  <a:lnTo>
                    <a:pt x="59" y="27"/>
                  </a:lnTo>
                  <a:lnTo>
                    <a:pt x="64" y="26"/>
                  </a:lnTo>
                  <a:lnTo>
                    <a:pt x="67" y="27"/>
                  </a:lnTo>
                  <a:lnTo>
                    <a:pt x="80" y="26"/>
                  </a:lnTo>
                  <a:lnTo>
                    <a:pt x="88" y="22"/>
                  </a:lnTo>
                  <a:lnTo>
                    <a:pt x="92" y="17"/>
                  </a:lnTo>
                  <a:lnTo>
                    <a:pt x="94" y="16"/>
                  </a:lnTo>
                  <a:lnTo>
                    <a:pt x="101" y="17"/>
                  </a:lnTo>
                  <a:lnTo>
                    <a:pt x="104" y="21"/>
                  </a:lnTo>
                  <a:lnTo>
                    <a:pt x="112" y="23"/>
                  </a:lnTo>
                  <a:lnTo>
                    <a:pt x="120" y="28"/>
                  </a:lnTo>
                  <a:lnTo>
                    <a:pt x="128" y="29"/>
                  </a:lnTo>
                  <a:lnTo>
                    <a:pt x="136" y="33"/>
                  </a:lnTo>
                  <a:lnTo>
                    <a:pt x="144" y="33"/>
                  </a:lnTo>
                  <a:lnTo>
                    <a:pt x="146" y="34"/>
                  </a:lnTo>
                  <a:lnTo>
                    <a:pt x="152" y="31"/>
                  </a:lnTo>
                  <a:lnTo>
                    <a:pt x="164" y="28"/>
                  </a:lnTo>
                  <a:lnTo>
                    <a:pt x="168" y="24"/>
                  </a:lnTo>
                  <a:lnTo>
                    <a:pt x="168" y="21"/>
                  </a:lnTo>
                  <a:lnTo>
                    <a:pt x="168" y="16"/>
                  </a:lnTo>
                  <a:lnTo>
                    <a:pt x="167" y="16"/>
                  </a:lnTo>
                  <a:lnTo>
                    <a:pt x="164" y="16"/>
                  </a:lnTo>
                  <a:lnTo>
                    <a:pt x="161" y="15"/>
                  </a:lnTo>
                  <a:lnTo>
                    <a:pt x="156" y="15"/>
                  </a:lnTo>
                  <a:lnTo>
                    <a:pt x="152" y="16"/>
                  </a:lnTo>
                  <a:lnTo>
                    <a:pt x="141" y="21"/>
                  </a:lnTo>
                  <a:lnTo>
                    <a:pt x="136" y="20"/>
                  </a:lnTo>
                  <a:lnTo>
                    <a:pt x="130" y="17"/>
                  </a:lnTo>
                  <a:lnTo>
                    <a:pt x="126" y="11"/>
                  </a:lnTo>
                  <a:lnTo>
                    <a:pt x="125" y="10"/>
                  </a:lnTo>
                  <a:lnTo>
                    <a:pt x="113" y="10"/>
                  </a:lnTo>
                  <a:lnTo>
                    <a:pt x="107" y="2"/>
                  </a:lnTo>
                  <a:lnTo>
                    <a:pt x="101" y="1"/>
                  </a:lnTo>
                  <a:lnTo>
                    <a:pt x="98" y="0"/>
                  </a:lnTo>
                  <a:lnTo>
                    <a:pt x="92" y="1"/>
                  </a:lnTo>
                  <a:lnTo>
                    <a:pt x="87" y="4"/>
                  </a:lnTo>
                  <a:lnTo>
                    <a:pt x="81" y="2"/>
                  </a:lnTo>
                  <a:lnTo>
                    <a:pt x="76" y="7"/>
                  </a:lnTo>
                  <a:lnTo>
                    <a:pt x="72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3" y="17"/>
                  </a:lnTo>
                  <a:lnTo>
                    <a:pt x="15" y="21"/>
                  </a:lnTo>
                  <a:lnTo>
                    <a:pt x="8" y="20"/>
                  </a:lnTo>
                  <a:lnTo>
                    <a:pt x="6" y="21"/>
                  </a:lnTo>
                  <a:lnTo>
                    <a:pt x="4" y="26"/>
                  </a:lnTo>
                  <a:lnTo>
                    <a:pt x="1" y="28"/>
                  </a:lnTo>
                  <a:lnTo>
                    <a:pt x="0" y="34"/>
                  </a:lnTo>
                  <a:lnTo>
                    <a:pt x="1" y="44"/>
                  </a:lnTo>
                  <a:lnTo>
                    <a:pt x="2" y="45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38" name="Guinea-Bissau"/>
            <p:cNvSpPr>
              <a:spLocks noChangeAspect="1"/>
            </p:cNvSpPr>
            <p:nvPr>
              <p:custDataLst>
                <p:tags r:id="rId37"/>
              </p:custDataLst>
            </p:nvPr>
          </p:nvSpPr>
          <p:spPr bwMode="gray">
            <a:xfrm>
              <a:off x="4023011" y="4302041"/>
              <a:ext cx="81921" cy="44471"/>
            </a:xfrm>
            <a:custGeom>
              <a:avLst/>
              <a:gdLst/>
              <a:ahLst/>
              <a:cxnLst>
                <a:cxn ang="0">
                  <a:pos x="169" y="0"/>
                </a:cxn>
                <a:cxn ang="0">
                  <a:pos x="169" y="7"/>
                </a:cxn>
                <a:cxn ang="0">
                  <a:pos x="173" y="14"/>
                </a:cxn>
                <a:cxn ang="0">
                  <a:pos x="173" y="18"/>
                </a:cxn>
                <a:cxn ang="0">
                  <a:pos x="170" y="24"/>
                </a:cxn>
                <a:cxn ang="0">
                  <a:pos x="168" y="25"/>
                </a:cxn>
                <a:cxn ang="0">
                  <a:pos x="162" y="25"/>
                </a:cxn>
                <a:cxn ang="0">
                  <a:pos x="160" y="27"/>
                </a:cxn>
                <a:cxn ang="0">
                  <a:pos x="158" y="30"/>
                </a:cxn>
                <a:cxn ang="0">
                  <a:pos x="164" y="34"/>
                </a:cxn>
                <a:cxn ang="0">
                  <a:pos x="167" y="39"/>
                </a:cxn>
                <a:cxn ang="0">
                  <a:pos x="168" y="57"/>
                </a:cxn>
                <a:cxn ang="0">
                  <a:pos x="162" y="57"/>
                </a:cxn>
                <a:cxn ang="0">
                  <a:pos x="158" y="60"/>
                </a:cxn>
                <a:cxn ang="0">
                  <a:pos x="138" y="60"/>
                </a:cxn>
                <a:cxn ang="0">
                  <a:pos x="121" y="67"/>
                </a:cxn>
                <a:cxn ang="0">
                  <a:pos x="114" y="73"/>
                </a:cxn>
                <a:cxn ang="0">
                  <a:pos x="110" y="81"/>
                </a:cxn>
                <a:cxn ang="0">
                  <a:pos x="106" y="89"/>
                </a:cxn>
                <a:cxn ang="0">
                  <a:pos x="104" y="93"/>
                </a:cxn>
                <a:cxn ang="0">
                  <a:pos x="99" y="97"/>
                </a:cxn>
                <a:cxn ang="0">
                  <a:pos x="93" y="99"/>
                </a:cxn>
                <a:cxn ang="0">
                  <a:pos x="93" y="95"/>
                </a:cxn>
                <a:cxn ang="0">
                  <a:pos x="94" y="93"/>
                </a:cxn>
                <a:cxn ang="0">
                  <a:pos x="86" y="94"/>
                </a:cxn>
                <a:cxn ang="0">
                  <a:pos x="81" y="93"/>
                </a:cxn>
                <a:cxn ang="0">
                  <a:pos x="76" y="87"/>
                </a:cxn>
                <a:cxn ang="0">
                  <a:pos x="74" y="79"/>
                </a:cxn>
                <a:cxn ang="0">
                  <a:pos x="77" y="70"/>
                </a:cxn>
                <a:cxn ang="0">
                  <a:pos x="72" y="58"/>
                </a:cxn>
                <a:cxn ang="0">
                  <a:pos x="79" y="54"/>
                </a:cxn>
                <a:cxn ang="0">
                  <a:pos x="84" y="51"/>
                </a:cxn>
                <a:cxn ang="0">
                  <a:pos x="103" y="50"/>
                </a:cxn>
                <a:cxn ang="0">
                  <a:pos x="104" y="45"/>
                </a:cxn>
                <a:cxn ang="0">
                  <a:pos x="81" y="47"/>
                </a:cxn>
                <a:cxn ang="0">
                  <a:pos x="72" y="50"/>
                </a:cxn>
                <a:cxn ang="0">
                  <a:pos x="59" y="57"/>
                </a:cxn>
                <a:cxn ang="0">
                  <a:pos x="51" y="58"/>
                </a:cxn>
                <a:cxn ang="0">
                  <a:pos x="47" y="57"/>
                </a:cxn>
                <a:cxn ang="0">
                  <a:pos x="46" y="49"/>
                </a:cxn>
                <a:cxn ang="0">
                  <a:pos x="40" y="50"/>
                </a:cxn>
                <a:cxn ang="0">
                  <a:pos x="30" y="47"/>
                </a:cxn>
                <a:cxn ang="0">
                  <a:pos x="27" y="43"/>
                </a:cxn>
                <a:cxn ang="0">
                  <a:pos x="25" y="34"/>
                </a:cxn>
                <a:cxn ang="0">
                  <a:pos x="4" y="28"/>
                </a:cxn>
                <a:cxn ang="0">
                  <a:pos x="0" y="20"/>
                </a:cxn>
                <a:cxn ang="0">
                  <a:pos x="2" y="17"/>
                </a:cxn>
                <a:cxn ang="0">
                  <a:pos x="3" y="19"/>
                </a:cxn>
                <a:cxn ang="0">
                  <a:pos x="7" y="20"/>
                </a:cxn>
                <a:cxn ang="0">
                  <a:pos x="14" y="20"/>
                </a:cxn>
                <a:cxn ang="0">
                  <a:pos x="25" y="15"/>
                </a:cxn>
                <a:cxn ang="0">
                  <a:pos x="29" y="13"/>
                </a:cxn>
                <a:cxn ang="0">
                  <a:pos x="59" y="14"/>
                </a:cxn>
                <a:cxn ang="0">
                  <a:pos x="68" y="12"/>
                </a:cxn>
                <a:cxn ang="0">
                  <a:pos x="79" y="7"/>
                </a:cxn>
                <a:cxn ang="0">
                  <a:pos x="92" y="1"/>
                </a:cxn>
                <a:cxn ang="0">
                  <a:pos x="116" y="1"/>
                </a:cxn>
                <a:cxn ang="0">
                  <a:pos x="119" y="0"/>
                </a:cxn>
                <a:cxn ang="0">
                  <a:pos x="169" y="0"/>
                </a:cxn>
              </a:cxnLst>
              <a:rect l="0" t="0" r="r" b="b"/>
              <a:pathLst>
                <a:path w="173" h="99">
                  <a:moveTo>
                    <a:pt x="169" y="0"/>
                  </a:moveTo>
                  <a:lnTo>
                    <a:pt x="169" y="7"/>
                  </a:lnTo>
                  <a:lnTo>
                    <a:pt x="173" y="14"/>
                  </a:lnTo>
                  <a:lnTo>
                    <a:pt x="173" y="18"/>
                  </a:lnTo>
                  <a:lnTo>
                    <a:pt x="170" y="24"/>
                  </a:lnTo>
                  <a:lnTo>
                    <a:pt x="168" y="25"/>
                  </a:lnTo>
                  <a:lnTo>
                    <a:pt x="162" y="25"/>
                  </a:lnTo>
                  <a:lnTo>
                    <a:pt x="160" y="27"/>
                  </a:lnTo>
                  <a:lnTo>
                    <a:pt x="158" y="30"/>
                  </a:lnTo>
                  <a:lnTo>
                    <a:pt x="164" y="34"/>
                  </a:lnTo>
                  <a:lnTo>
                    <a:pt x="167" y="39"/>
                  </a:lnTo>
                  <a:lnTo>
                    <a:pt x="168" y="57"/>
                  </a:lnTo>
                  <a:lnTo>
                    <a:pt x="162" y="57"/>
                  </a:lnTo>
                  <a:lnTo>
                    <a:pt x="158" y="60"/>
                  </a:lnTo>
                  <a:lnTo>
                    <a:pt x="138" y="60"/>
                  </a:lnTo>
                  <a:lnTo>
                    <a:pt x="121" y="67"/>
                  </a:lnTo>
                  <a:lnTo>
                    <a:pt x="114" y="73"/>
                  </a:lnTo>
                  <a:lnTo>
                    <a:pt x="110" y="81"/>
                  </a:lnTo>
                  <a:lnTo>
                    <a:pt x="106" y="89"/>
                  </a:lnTo>
                  <a:lnTo>
                    <a:pt x="104" y="93"/>
                  </a:lnTo>
                  <a:lnTo>
                    <a:pt x="99" y="97"/>
                  </a:lnTo>
                  <a:lnTo>
                    <a:pt x="93" y="99"/>
                  </a:lnTo>
                  <a:lnTo>
                    <a:pt x="93" y="95"/>
                  </a:lnTo>
                  <a:lnTo>
                    <a:pt x="94" y="93"/>
                  </a:lnTo>
                  <a:lnTo>
                    <a:pt x="86" y="94"/>
                  </a:lnTo>
                  <a:lnTo>
                    <a:pt x="81" y="93"/>
                  </a:lnTo>
                  <a:lnTo>
                    <a:pt x="76" y="87"/>
                  </a:lnTo>
                  <a:lnTo>
                    <a:pt x="74" y="79"/>
                  </a:lnTo>
                  <a:lnTo>
                    <a:pt x="77" y="70"/>
                  </a:lnTo>
                  <a:lnTo>
                    <a:pt x="72" y="58"/>
                  </a:lnTo>
                  <a:lnTo>
                    <a:pt x="79" y="54"/>
                  </a:lnTo>
                  <a:lnTo>
                    <a:pt x="84" y="51"/>
                  </a:lnTo>
                  <a:lnTo>
                    <a:pt x="103" y="50"/>
                  </a:lnTo>
                  <a:lnTo>
                    <a:pt x="104" y="45"/>
                  </a:lnTo>
                  <a:lnTo>
                    <a:pt x="81" y="47"/>
                  </a:lnTo>
                  <a:lnTo>
                    <a:pt x="72" y="50"/>
                  </a:lnTo>
                  <a:lnTo>
                    <a:pt x="59" y="57"/>
                  </a:lnTo>
                  <a:lnTo>
                    <a:pt x="51" y="58"/>
                  </a:lnTo>
                  <a:lnTo>
                    <a:pt x="47" y="57"/>
                  </a:lnTo>
                  <a:lnTo>
                    <a:pt x="46" y="49"/>
                  </a:lnTo>
                  <a:lnTo>
                    <a:pt x="40" y="50"/>
                  </a:lnTo>
                  <a:lnTo>
                    <a:pt x="30" y="47"/>
                  </a:lnTo>
                  <a:lnTo>
                    <a:pt x="27" y="43"/>
                  </a:lnTo>
                  <a:lnTo>
                    <a:pt x="25" y="34"/>
                  </a:lnTo>
                  <a:lnTo>
                    <a:pt x="4" y="28"/>
                  </a:lnTo>
                  <a:lnTo>
                    <a:pt x="0" y="20"/>
                  </a:lnTo>
                  <a:lnTo>
                    <a:pt x="2" y="17"/>
                  </a:lnTo>
                  <a:lnTo>
                    <a:pt x="3" y="19"/>
                  </a:lnTo>
                  <a:lnTo>
                    <a:pt x="7" y="20"/>
                  </a:lnTo>
                  <a:lnTo>
                    <a:pt x="14" y="20"/>
                  </a:lnTo>
                  <a:lnTo>
                    <a:pt x="25" y="15"/>
                  </a:lnTo>
                  <a:lnTo>
                    <a:pt x="29" y="13"/>
                  </a:lnTo>
                  <a:lnTo>
                    <a:pt x="59" y="14"/>
                  </a:lnTo>
                  <a:lnTo>
                    <a:pt x="68" y="12"/>
                  </a:lnTo>
                  <a:lnTo>
                    <a:pt x="79" y="7"/>
                  </a:lnTo>
                  <a:lnTo>
                    <a:pt x="92" y="1"/>
                  </a:lnTo>
                  <a:lnTo>
                    <a:pt x="116" y="1"/>
                  </a:lnTo>
                  <a:lnTo>
                    <a:pt x="119" y="0"/>
                  </a:lnTo>
                  <a:lnTo>
                    <a:pt x="16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39" name="Liberia"/>
            <p:cNvSpPr>
              <a:spLocks noChangeAspect="1"/>
            </p:cNvSpPr>
            <p:nvPr>
              <p:custDataLst>
                <p:tags r:id="rId38"/>
              </p:custDataLst>
            </p:nvPr>
          </p:nvSpPr>
          <p:spPr bwMode="gray">
            <a:xfrm>
              <a:off x="4158765" y="4409709"/>
              <a:ext cx="105327" cy="107668"/>
            </a:xfrm>
            <a:custGeom>
              <a:avLst/>
              <a:gdLst/>
              <a:ahLst/>
              <a:cxnLst>
                <a:cxn ang="0">
                  <a:pos x="4" y="86"/>
                </a:cxn>
                <a:cxn ang="0">
                  <a:pos x="10" y="77"/>
                </a:cxn>
                <a:cxn ang="0">
                  <a:pos x="13" y="71"/>
                </a:cxn>
                <a:cxn ang="0">
                  <a:pos x="19" y="68"/>
                </a:cxn>
                <a:cxn ang="0">
                  <a:pos x="31" y="57"/>
                </a:cxn>
                <a:cxn ang="0">
                  <a:pos x="41" y="49"/>
                </a:cxn>
                <a:cxn ang="0">
                  <a:pos x="47" y="44"/>
                </a:cxn>
                <a:cxn ang="0">
                  <a:pos x="51" y="27"/>
                </a:cxn>
                <a:cxn ang="0">
                  <a:pos x="58" y="19"/>
                </a:cxn>
                <a:cxn ang="0">
                  <a:pos x="68" y="17"/>
                </a:cxn>
                <a:cxn ang="0">
                  <a:pos x="65" y="8"/>
                </a:cxn>
                <a:cxn ang="0">
                  <a:pos x="71" y="2"/>
                </a:cxn>
                <a:cxn ang="0">
                  <a:pos x="79" y="1"/>
                </a:cxn>
                <a:cxn ang="0">
                  <a:pos x="86" y="6"/>
                </a:cxn>
                <a:cxn ang="0">
                  <a:pos x="97" y="1"/>
                </a:cxn>
                <a:cxn ang="0">
                  <a:pos x="100" y="3"/>
                </a:cxn>
                <a:cxn ang="0">
                  <a:pos x="110" y="12"/>
                </a:cxn>
                <a:cxn ang="0">
                  <a:pos x="114" y="25"/>
                </a:cxn>
                <a:cxn ang="0">
                  <a:pos x="118" y="41"/>
                </a:cxn>
                <a:cxn ang="0">
                  <a:pos x="114" y="60"/>
                </a:cxn>
                <a:cxn ang="0">
                  <a:pos x="110" y="65"/>
                </a:cxn>
                <a:cxn ang="0">
                  <a:pos x="116" y="66"/>
                </a:cxn>
                <a:cxn ang="0">
                  <a:pos x="122" y="64"/>
                </a:cxn>
                <a:cxn ang="0">
                  <a:pos x="132" y="75"/>
                </a:cxn>
                <a:cxn ang="0">
                  <a:pos x="139" y="71"/>
                </a:cxn>
                <a:cxn ang="0">
                  <a:pos x="148" y="66"/>
                </a:cxn>
                <a:cxn ang="0">
                  <a:pos x="153" y="51"/>
                </a:cxn>
                <a:cxn ang="0">
                  <a:pos x="162" y="50"/>
                </a:cxn>
                <a:cxn ang="0">
                  <a:pos x="167" y="61"/>
                </a:cxn>
                <a:cxn ang="0">
                  <a:pos x="171" y="71"/>
                </a:cxn>
                <a:cxn ang="0">
                  <a:pos x="173" y="76"/>
                </a:cxn>
                <a:cxn ang="0">
                  <a:pos x="175" y="95"/>
                </a:cxn>
                <a:cxn ang="0">
                  <a:pos x="165" y="105"/>
                </a:cxn>
                <a:cxn ang="0">
                  <a:pos x="161" y="113"/>
                </a:cxn>
                <a:cxn ang="0">
                  <a:pos x="165" y="115"/>
                </a:cxn>
                <a:cxn ang="0">
                  <a:pos x="170" y="116"/>
                </a:cxn>
                <a:cxn ang="0">
                  <a:pos x="176" y="118"/>
                </a:cxn>
                <a:cxn ang="0">
                  <a:pos x="193" y="123"/>
                </a:cxn>
                <a:cxn ang="0">
                  <a:pos x="199" y="130"/>
                </a:cxn>
                <a:cxn ang="0">
                  <a:pos x="202" y="135"/>
                </a:cxn>
                <a:cxn ang="0">
                  <a:pos x="207" y="143"/>
                </a:cxn>
                <a:cxn ang="0">
                  <a:pos x="218" y="150"/>
                </a:cxn>
                <a:cxn ang="0">
                  <a:pos x="224" y="153"/>
                </a:cxn>
                <a:cxn ang="0">
                  <a:pos x="227" y="164"/>
                </a:cxn>
                <a:cxn ang="0">
                  <a:pos x="227" y="177"/>
                </a:cxn>
                <a:cxn ang="0">
                  <a:pos x="223" y="178"/>
                </a:cxn>
                <a:cxn ang="0">
                  <a:pos x="221" y="189"/>
                </a:cxn>
                <a:cxn ang="0">
                  <a:pos x="218" y="191"/>
                </a:cxn>
                <a:cxn ang="0">
                  <a:pos x="216" y="201"/>
                </a:cxn>
                <a:cxn ang="0">
                  <a:pos x="196" y="224"/>
                </a:cxn>
                <a:cxn ang="0">
                  <a:pos x="186" y="217"/>
                </a:cxn>
                <a:cxn ang="0">
                  <a:pos x="169" y="215"/>
                </a:cxn>
                <a:cxn ang="0">
                  <a:pos x="154" y="206"/>
                </a:cxn>
                <a:cxn ang="0">
                  <a:pos x="133" y="193"/>
                </a:cxn>
                <a:cxn ang="0">
                  <a:pos x="105" y="169"/>
                </a:cxn>
                <a:cxn ang="0">
                  <a:pos x="64" y="135"/>
                </a:cxn>
                <a:cxn ang="0">
                  <a:pos x="49" y="129"/>
                </a:cxn>
                <a:cxn ang="0">
                  <a:pos x="28" y="109"/>
                </a:cxn>
                <a:cxn ang="0">
                  <a:pos x="16" y="103"/>
                </a:cxn>
                <a:cxn ang="0">
                  <a:pos x="15" y="95"/>
                </a:cxn>
                <a:cxn ang="0">
                  <a:pos x="3" y="88"/>
                </a:cxn>
                <a:cxn ang="0">
                  <a:pos x="3" y="87"/>
                </a:cxn>
              </a:cxnLst>
              <a:rect l="0" t="0" r="r" b="b"/>
              <a:pathLst>
                <a:path w="227" h="228">
                  <a:moveTo>
                    <a:pt x="3" y="86"/>
                  </a:moveTo>
                  <a:lnTo>
                    <a:pt x="4" y="86"/>
                  </a:lnTo>
                  <a:lnTo>
                    <a:pt x="9" y="83"/>
                  </a:lnTo>
                  <a:lnTo>
                    <a:pt x="10" y="77"/>
                  </a:lnTo>
                  <a:lnTo>
                    <a:pt x="13" y="76"/>
                  </a:lnTo>
                  <a:lnTo>
                    <a:pt x="13" y="71"/>
                  </a:lnTo>
                  <a:lnTo>
                    <a:pt x="14" y="68"/>
                  </a:lnTo>
                  <a:lnTo>
                    <a:pt x="19" y="68"/>
                  </a:lnTo>
                  <a:lnTo>
                    <a:pt x="22" y="66"/>
                  </a:lnTo>
                  <a:lnTo>
                    <a:pt x="31" y="57"/>
                  </a:lnTo>
                  <a:lnTo>
                    <a:pt x="37" y="56"/>
                  </a:lnTo>
                  <a:lnTo>
                    <a:pt x="41" y="49"/>
                  </a:lnTo>
                  <a:lnTo>
                    <a:pt x="44" y="49"/>
                  </a:lnTo>
                  <a:lnTo>
                    <a:pt x="47" y="44"/>
                  </a:lnTo>
                  <a:lnTo>
                    <a:pt x="51" y="43"/>
                  </a:lnTo>
                  <a:lnTo>
                    <a:pt x="51" y="27"/>
                  </a:lnTo>
                  <a:lnTo>
                    <a:pt x="53" y="25"/>
                  </a:lnTo>
                  <a:lnTo>
                    <a:pt x="58" y="19"/>
                  </a:lnTo>
                  <a:lnTo>
                    <a:pt x="68" y="18"/>
                  </a:lnTo>
                  <a:lnTo>
                    <a:pt x="68" y="17"/>
                  </a:lnTo>
                  <a:lnTo>
                    <a:pt x="64" y="13"/>
                  </a:lnTo>
                  <a:lnTo>
                    <a:pt x="65" y="8"/>
                  </a:lnTo>
                  <a:lnTo>
                    <a:pt x="69" y="8"/>
                  </a:lnTo>
                  <a:lnTo>
                    <a:pt x="71" y="2"/>
                  </a:lnTo>
                  <a:lnTo>
                    <a:pt x="75" y="0"/>
                  </a:lnTo>
                  <a:lnTo>
                    <a:pt x="79" y="1"/>
                  </a:lnTo>
                  <a:lnTo>
                    <a:pt x="85" y="6"/>
                  </a:lnTo>
                  <a:lnTo>
                    <a:pt x="86" y="6"/>
                  </a:lnTo>
                  <a:lnTo>
                    <a:pt x="89" y="3"/>
                  </a:lnTo>
                  <a:lnTo>
                    <a:pt x="97" y="1"/>
                  </a:lnTo>
                  <a:lnTo>
                    <a:pt x="100" y="2"/>
                  </a:lnTo>
                  <a:lnTo>
                    <a:pt x="100" y="3"/>
                  </a:lnTo>
                  <a:lnTo>
                    <a:pt x="102" y="7"/>
                  </a:lnTo>
                  <a:lnTo>
                    <a:pt x="110" y="12"/>
                  </a:lnTo>
                  <a:lnTo>
                    <a:pt x="110" y="19"/>
                  </a:lnTo>
                  <a:lnTo>
                    <a:pt x="114" y="25"/>
                  </a:lnTo>
                  <a:lnTo>
                    <a:pt x="116" y="39"/>
                  </a:lnTo>
                  <a:lnTo>
                    <a:pt x="118" y="41"/>
                  </a:lnTo>
                  <a:lnTo>
                    <a:pt x="117" y="56"/>
                  </a:lnTo>
                  <a:lnTo>
                    <a:pt x="114" y="60"/>
                  </a:lnTo>
                  <a:lnTo>
                    <a:pt x="111" y="62"/>
                  </a:lnTo>
                  <a:lnTo>
                    <a:pt x="110" y="65"/>
                  </a:lnTo>
                  <a:lnTo>
                    <a:pt x="111" y="66"/>
                  </a:lnTo>
                  <a:lnTo>
                    <a:pt x="116" y="66"/>
                  </a:lnTo>
                  <a:lnTo>
                    <a:pt x="119" y="62"/>
                  </a:lnTo>
                  <a:lnTo>
                    <a:pt x="122" y="64"/>
                  </a:lnTo>
                  <a:lnTo>
                    <a:pt x="127" y="67"/>
                  </a:lnTo>
                  <a:lnTo>
                    <a:pt x="132" y="75"/>
                  </a:lnTo>
                  <a:lnTo>
                    <a:pt x="137" y="73"/>
                  </a:lnTo>
                  <a:lnTo>
                    <a:pt x="139" y="71"/>
                  </a:lnTo>
                  <a:lnTo>
                    <a:pt x="146" y="70"/>
                  </a:lnTo>
                  <a:lnTo>
                    <a:pt x="148" y="66"/>
                  </a:lnTo>
                  <a:lnTo>
                    <a:pt x="153" y="60"/>
                  </a:lnTo>
                  <a:lnTo>
                    <a:pt x="153" y="51"/>
                  </a:lnTo>
                  <a:lnTo>
                    <a:pt x="156" y="49"/>
                  </a:lnTo>
                  <a:lnTo>
                    <a:pt x="162" y="50"/>
                  </a:lnTo>
                  <a:lnTo>
                    <a:pt x="166" y="56"/>
                  </a:lnTo>
                  <a:lnTo>
                    <a:pt x="167" y="61"/>
                  </a:lnTo>
                  <a:lnTo>
                    <a:pt x="169" y="70"/>
                  </a:lnTo>
                  <a:lnTo>
                    <a:pt x="171" y="71"/>
                  </a:lnTo>
                  <a:lnTo>
                    <a:pt x="173" y="75"/>
                  </a:lnTo>
                  <a:lnTo>
                    <a:pt x="173" y="76"/>
                  </a:lnTo>
                  <a:lnTo>
                    <a:pt x="178" y="80"/>
                  </a:lnTo>
                  <a:lnTo>
                    <a:pt x="175" y="95"/>
                  </a:lnTo>
                  <a:lnTo>
                    <a:pt x="173" y="98"/>
                  </a:lnTo>
                  <a:lnTo>
                    <a:pt x="165" y="105"/>
                  </a:lnTo>
                  <a:lnTo>
                    <a:pt x="161" y="111"/>
                  </a:lnTo>
                  <a:lnTo>
                    <a:pt x="161" y="113"/>
                  </a:lnTo>
                  <a:lnTo>
                    <a:pt x="164" y="113"/>
                  </a:lnTo>
                  <a:lnTo>
                    <a:pt x="165" y="115"/>
                  </a:lnTo>
                  <a:lnTo>
                    <a:pt x="169" y="114"/>
                  </a:lnTo>
                  <a:lnTo>
                    <a:pt x="170" y="116"/>
                  </a:lnTo>
                  <a:lnTo>
                    <a:pt x="172" y="118"/>
                  </a:lnTo>
                  <a:lnTo>
                    <a:pt x="176" y="118"/>
                  </a:lnTo>
                  <a:lnTo>
                    <a:pt x="183" y="123"/>
                  </a:lnTo>
                  <a:lnTo>
                    <a:pt x="193" y="123"/>
                  </a:lnTo>
                  <a:lnTo>
                    <a:pt x="196" y="123"/>
                  </a:lnTo>
                  <a:lnTo>
                    <a:pt x="199" y="130"/>
                  </a:lnTo>
                  <a:lnTo>
                    <a:pt x="199" y="134"/>
                  </a:lnTo>
                  <a:lnTo>
                    <a:pt x="202" y="135"/>
                  </a:lnTo>
                  <a:lnTo>
                    <a:pt x="205" y="140"/>
                  </a:lnTo>
                  <a:lnTo>
                    <a:pt x="207" y="143"/>
                  </a:lnTo>
                  <a:lnTo>
                    <a:pt x="213" y="145"/>
                  </a:lnTo>
                  <a:lnTo>
                    <a:pt x="218" y="150"/>
                  </a:lnTo>
                  <a:lnTo>
                    <a:pt x="224" y="148"/>
                  </a:lnTo>
                  <a:lnTo>
                    <a:pt x="224" y="153"/>
                  </a:lnTo>
                  <a:lnTo>
                    <a:pt x="226" y="158"/>
                  </a:lnTo>
                  <a:lnTo>
                    <a:pt x="227" y="164"/>
                  </a:lnTo>
                  <a:lnTo>
                    <a:pt x="225" y="172"/>
                  </a:lnTo>
                  <a:lnTo>
                    <a:pt x="227" y="177"/>
                  </a:lnTo>
                  <a:lnTo>
                    <a:pt x="227" y="178"/>
                  </a:lnTo>
                  <a:lnTo>
                    <a:pt x="223" y="178"/>
                  </a:lnTo>
                  <a:lnTo>
                    <a:pt x="221" y="181"/>
                  </a:lnTo>
                  <a:lnTo>
                    <a:pt x="221" y="189"/>
                  </a:lnTo>
                  <a:lnTo>
                    <a:pt x="218" y="189"/>
                  </a:lnTo>
                  <a:lnTo>
                    <a:pt x="218" y="191"/>
                  </a:lnTo>
                  <a:lnTo>
                    <a:pt x="218" y="196"/>
                  </a:lnTo>
                  <a:lnTo>
                    <a:pt x="216" y="201"/>
                  </a:lnTo>
                  <a:lnTo>
                    <a:pt x="218" y="228"/>
                  </a:lnTo>
                  <a:lnTo>
                    <a:pt x="196" y="224"/>
                  </a:lnTo>
                  <a:lnTo>
                    <a:pt x="189" y="220"/>
                  </a:lnTo>
                  <a:lnTo>
                    <a:pt x="186" y="217"/>
                  </a:lnTo>
                  <a:lnTo>
                    <a:pt x="180" y="217"/>
                  </a:lnTo>
                  <a:lnTo>
                    <a:pt x="169" y="215"/>
                  </a:lnTo>
                  <a:lnTo>
                    <a:pt x="160" y="210"/>
                  </a:lnTo>
                  <a:lnTo>
                    <a:pt x="154" y="206"/>
                  </a:lnTo>
                  <a:lnTo>
                    <a:pt x="144" y="201"/>
                  </a:lnTo>
                  <a:lnTo>
                    <a:pt x="133" y="193"/>
                  </a:lnTo>
                  <a:lnTo>
                    <a:pt x="119" y="188"/>
                  </a:lnTo>
                  <a:lnTo>
                    <a:pt x="105" y="169"/>
                  </a:lnTo>
                  <a:lnTo>
                    <a:pt x="69" y="141"/>
                  </a:lnTo>
                  <a:lnTo>
                    <a:pt x="64" y="135"/>
                  </a:lnTo>
                  <a:lnTo>
                    <a:pt x="59" y="131"/>
                  </a:lnTo>
                  <a:lnTo>
                    <a:pt x="49" y="129"/>
                  </a:lnTo>
                  <a:lnTo>
                    <a:pt x="36" y="123"/>
                  </a:lnTo>
                  <a:lnTo>
                    <a:pt x="28" y="109"/>
                  </a:lnTo>
                  <a:lnTo>
                    <a:pt x="19" y="105"/>
                  </a:lnTo>
                  <a:lnTo>
                    <a:pt x="16" y="103"/>
                  </a:lnTo>
                  <a:lnTo>
                    <a:pt x="16" y="98"/>
                  </a:lnTo>
                  <a:lnTo>
                    <a:pt x="15" y="95"/>
                  </a:lnTo>
                  <a:lnTo>
                    <a:pt x="4" y="92"/>
                  </a:lnTo>
                  <a:lnTo>
                    <a:pt x="3" y="88"/>
                  </a:lnTo>
                  <a:lnTo>
                    <a:pt x="0" y="88"/>
                  </a:lnTo>
                  <a:lnTo>
                    <a:pt x="3" y="87"/>
                  </a:lnTo>
                  <a:lnTo>
                    <a:pt x="3" y="8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40" name="Nigeria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 bwMode="gray">
            <a:xfrm>
              <a:off x="4521558" y="4271613"/>
              <a:ext cx="301937" cy="250444"/>
            </a:xfrm>
            <a:custGeom>
              <a:avLst/>
              <a:gdLst/>
              <a:ahLst/>
              <a:cxnLst>
                <a:cxn ang="0">
                  <a:pos x="48" y="85"/>
                </a:cxn>
                <a:cxn ang="0">
                  <a:pos x="55" y="67"/>
                </a:cxn>
                <a:cxn ang="0">
                  <a:pos x="75" y="43"/>
                </a:cxn>
                <a:cxn ang="0">
                  <a:pos x="96" y="9"/>
                </a:cxn>
                <a:cxn ang="0">
                  <a:pos x="139" y="3"/>
                </a:cxn>
                <a:cxn ang="0">
                  <a:pos x="199" y="20"/>
                </a:cxn>
                <a:cxn ang="0">
                  <a:pos x="233" y="48"/>
                </a:cxn>
                <a:cxn ang="0">
                  <a:pos x="264" y="30"/>
                </a:cxn>
                <a:cxn ang="0">
                  <a:pos x="303" y="37"/>
                </a:cxn>
                <a:cxn ang="0">
                  <a:pos x="362" y="58"/>
                </a:cxn>
                <a:cxn ang="0">
                  <a:pos x="406" y="32"/>
                </a:cxn>
                <a:cxn ang="0">
                  <a:pos x="459" y="30"/>
                </a:cxn>
                <a:cxn ang="0">
                  <a:pos x="496" y="26"/>
                </a:cxn>
                <a:cxn ang="0">
                  <a:pos x="517" y="36"/>
                </a:cxn>
                <a:cxn ang="0">
                  <a:pos x="544" y="22"/>
                </a:cxn>
                <a:cxn ang="0">
                  <a:pos x="558" y="15"/>
                </a:cxn>
                <a:cxn ang="0">
                  <a:pos x="571" y="3"/>
                </a:cxn>
                <a:cxn ang="0">
                  <a:pos x="581" y="20"/>
                </a:cxn>
                <a:cxn ang="0">
                  <a:pos x="604" y="43"/>
                </a:cxn>
                <a:cxn ang="0">
                  <a:pos x="624" y="76"/>
                </a:cxn>
                <a:cxn ang="0">
                  <a:pos x="639" y="84"/>
                </a:cxn>
                <a:cxn ang="0">
                  <a:pos x="642" y="119"/>
                </a:cxn>
                <a:cxn ang="0">
                  <a:pos x="604" y="142"/>
                </a:cxn>
                <a:cxn ang="0">
                  <a:pos x="587" y="159"/>
                </a:cxn>
                <a:cxn ang="0">
                  <a:pos x="567" y="207"/>
                </a:cxn>
                <a:cxn ang="0">
                  <a:pos x="554" y="257"/>
                </a:cxn>
                <a:cxn ang="0">
                  <a:pos x="549" y="280"/>
                </a:cxn>
                <a:cxn ang="0">
                  <a:pos x="517" y="315"/>
                </a:cxn>
                <a:cxn ang="0">
                  <a:pos x="501" y="360"/>
                </a:cxn>
                <a:cxn ang="0">
                  <a:pos x="478" y="406"/>
                </a:cxn>
                <a:cxn ang="0">
                  <a:pos x="447" y="401"/>
                </a:cxn>
                <a:cxn ang="0">
                  <a:pos x="440" y="392"/>
                </a:cxn>
                <a:cxn ang="0">
                  <a:pos x="392" y="386"/>
                </a:cxn>
                <a:cxn ang="0">
                  <a:pos x="371" y="403"/>
                </a:cxn>
                <a:cxn ang="0">
                  <a:pos x="344" y="427"/>
                </a:cxn>
                <a:cxn ang="0">
                  <a:pos x="330" y="472"/>
                </a:cxn>
                <a:cxn ang="0">
                  <a:pos x="313" y="497"/>
                </a:cxn>
                <a:cxn ang="0">
                  <a:pos x="304" y="497"/>
                </a:cxn>
                <a:cxn ang="0">
                  <a:pos x="276" y="516"/>
                </a:cxn>
                <a:cxn ang="0">
                  <a:pos x="237" y="515"/>
                </a:cxn>
                <a:cxn ang="0">
                  <a:pos x="227" y="524"/>
                </a:cxn>
                <a:cxn ang="0">
                  <a:pos x="216" y="522"/>
                </a:cxn>
                <a:cxn ang="0">
                  <a:pos x="193" y="532"/>
                </a:cxn>
                <a:cxn ang="0">
                  <a:pos x="180" y="524"/>
                </a:cxn>
                <a:cxn ang="0">
                  <a:pos x="151" y="500"/>
                </a:cxn>
                <a:cxn ang="0">
                  <a:pos x="151" y="467"/>
                </a:cxn>
                <a:cxn ang="0">
                  <a:pos x="136" y="454"/>
                </a:cxn>
                <a:cxn ang="0">
                  <a:pos x="126" y="444"/>
                </a:cxn>
                <a:cxn ang="0">
                  <a:pos x="96" y="417"/>
                </a:cxn>
                <a:cxn ang="0">
                  <a:pos x="5" y="417"/>
                </a:cxn>
                <a:cxn ang="0">
                  <a:pos x="1" y="366"/>
                </a:cxn>
                <a:cxn ang="0">
                  <a:pos x="6" y="295"/>
                </a:cxn>
                <a:cxn ang="0">
                  <a:pos x="23" y="248"/>
                </a:cxn>
                <a:cxn ang="0">
                  <a:pos x="49" y="218"/>
                </a:cxn>
                <a:cxn ang="0">
                  <a:pos x="53" y="208"/>
                </a:cxn>
                <a:cxn ang="0">
                  <a:pos x="48" y="197"/>
                </a:cxn>
                <a:cxn ang="0">
                  <a:pos x="58" y="189"/>
                </a:cxn>
                <a:cxn ang="0">
                  <a:pos x="55" y="154"/>
                </a:cxn>
                <a:cxn ang="0">
                  <a:pos x="43" y="134"/>
                </a:cxn>
              </a:cxnLst>
              <a:rect l="0" t="0" r="r" b="b"/>
              <a:pathLst>
                <a:path w="642" h="532">
                  <a:moveTo>
                    <a:pt x="49" y="117"/>
                  </a:moveTo>
                  <a:lnTo>
                    <a:pt x="50" y="110"/>
                  </a:lnTo>
                  <a:lnTo>
                    <a:pt x="48" y="85"/>
                  </a:lnTo>
                  <a:lnTo>
                    <a:pt x="49" y="76"/>
                  </a:lnTo>
                  <a:lnTo>
                    <a:pt x="51" y="72"/>
                  </a:lnTo>
                  <a:lnTo>
                    <a:pt x="55" y="67"/>
                  </a:lnTo>
                  <a:lnTo>
                    <a:pt x="62" y="63"/>
                  </a:lnTo>
                  <a:lnTo>
                    <a:pt x="67" y="57"/>
                  </a:lnTo>
                  <a:lnTo>
                    <a:pt x="75" y="43"/>
                  </a:lnTo>
                  <a:lnTo>
                    <a:pt x="77" y="25"/>
                  </a:lnTo>
                  <a:lnTo>
                    <a:pt x="78" y="21"/>
                  </a:lnTo>
                  <a:lnTo>
                    <a:pt x="96" y="9"/>
                  </a:lnTo>
                  <a:lnTo>
                    <a:pt x="115" y="4"/>
                  </a:lnTo>
                  <a:lnTo>
                    <a:pt x="133" y="4"/>
                  </a:lnTo>
                  <a:lnTo>
                    <a:pt x="139" y="3"/>
                  </a:lnTo>
                  <a:lnTo>
                    <a:pt x="147" y="0"/>
                  </a:lnTo>
                  <a:lnTo>
                    <a:pt x="162" y="2"/>
                  </a:lnTo>
                  <a:lnTo>
                    <a:pt x="199" y="20"/>
                  </a:lnTo>
                  <a:lnTo>
                    <a:pt x="221" y="41"/>
                  </a:lnTo>
                  <a:lnTo>
                    <a:pt x="228" y="46"/>
                  </a:lnTo>
                  <a:lnTo>
                    <a:pt x="233" y="48"/>
                  </a:lnTo>
                  <a:lnTo>
                    <a:pt x="242" y="48"/>
                  </a:lnTo>
                  <a:lnTo>
                    <a:pt x="248" y="38"/>
                  </a:lnTo>
                  <a:lnTo>
                    <a:pt x="264" y="30"/>
                  </a:lnTo>
                  <a:lnTo>
                    <a:pt x="274" y="27"/>
                  </a:lnTo>
                  <a:lnTo>
                    <a:pt x="286" y="27"/>
                  </a:lnTo>
                  <a:lnTo>
                    <a:pt x="303" y="37"/>
                  </a:lnTo>
                  <a:lnTo>
                    <a:pt x="327" y="52"/>
                  </a:lnTo>
                  <a:lnTo>
                    <a:pt x="339" y="56"/>
                  </a:lnTo>
                  <a:lnTo>
                    <a:pt x="362" y="58"/>
                  </a:lnTo>
                  <a:lnTo>
                    <a:pt x="375" y="57"/>
                  </a:lnTo>
                  <a:lnTo>
                    <a:pt x="389" y="47"/>
                  </a:lnTo>
                  <a:lnTo>
                    <a:pt x="406" y="32"/>
                  </a:lnTo>
                  <a:lnTo>
                    <a:pt x="415" y="27"/>
                  </a:lnTo>
                  <a:lnTo>
                    <a:pt x="441" y="27"/>
                  </a:lnTo>
                  <a:lnTo>
                    <a:pt x="459" y="30"/>
                  </a:lnTo>
                  <a:lnTo>
                    <a:pt x="469" y="26"/>
                  </a:lnTo>
                  <a:lnTo>
                    <a:pt x="489" y="24"/>
                  </a:lnTo>
                  <a:lnTo>
                    <a:pt x="496" y="26"/>
                  </a:lnTo>
                  <a:lnTo>
                    <a:pt x="503" y="30"/>
                  </a:lnTo>
                  <a:lnTo>
                    <a:pt x="511" y="32"/>
                  </a:lnTo>
                  <a:lnTo>
                    <a:pt x="517" y="36"/>
                  </a:lnTo>
                  <a:lnTo>
                    <a:pt x="528" y="36"/>
                  </a:lnTo>
                  <a:lnTo>
                    <a:pt x="534" y="32"/>
                  </a:lnTo>
                  <a:lnTo>
                    <a:pt x="544" y="22"/>
                  </a:lnTo>
                  <a:lnTo>
                    <a:pt x="544" y="21"/>
                  </a:lnTo>
                  <a:lnTo>
                    <a:pt x="550" y="16"/>
                  </a:lnTo>
                  <a:lnTo>
                    <a:pt x="558" y="15"/>
                  </a:lnTo>
                  <a:lnTo>
                    <a:pt x="564" y="15"/>
                  </a:lnTo>
                  <a:lnTo>
                    <a:pt x="570" y="3"/>
                  </a:lnTo>
                  <a:lnTo>
                    <a:pt x="571" y="3"/>
                  </a:lnTo>
                  <a:lnTo>
                    <a:pt x="574" y="0"/>
                  </a:lnTo>
                  <a:lnTo>
                    <a:pt x="577" y="11"/>
                  </a:lnTo>
                  <a:lnTo>
                    <a:pt x="581" y="20"/>
                  </a:lnTo>
                  <a:lnTo>
                    <a:pt x="588" y="30"/>
                  </a:lnTo>
                  <a:lnTo>
                    <a:pt x="599" y="36"/>
                  </a:lnTo>
                  <a:lnTo>
                    <a:pt x="604" y="43"/>
                  </a:lnTo>
                  <a:lnTo>
                    <a:pt x="613" y="65"/>
                  </a:lnTo>
                  <a:lnTo>
                    <a:pt x="623" y="73"/>
                  </a:lnTo>
                  <a:lnTo>
                    <a:pt x="624" y="76"/>
                  </a:lnTo>
                  <a:lnTo>
                    <a:pt x="635" y="80"/>
                  </a:lnTo>
                  <a:lnTo>
                    <a:pt x="636" y="81"/>
                  </a:lnTo>
                  <a:lnTo>
                    <a:pt x="639" y="84"/>
                  </a:lnTo>
                  <a:lnTo>
                    <a:pt x="641" y="89"/>
                  </a:lnTo>
                  <a:lnTo>
                    <a:pt x="640" y="106"/>
                  </a:lnTo>
                  <a:lnTo>
                    <a:pt x="642" y="119"/>
                  </a:lnTo>
                  <a:lnTo>
                    <a:pt x="623" y="132"/>
                  </a:lnTo>
                  <a:lnTo>
                    <a:pt x="620" y="135"/>
                  </a:lnTo>
                  <a:lnTo>
                    <a:pt x="604" y="142"/>
                  </a:lnTo>
                  <a:lnTo>
                    <a:pt x="601" y="143"/>
                  </a:lnTo>
                  <a:lnTo>
                    <a:pt x="592" y="153"/>
                  </a:lnTo>
                  <a:lnTo>
                    <a:pt x="587" y="159"/>
                  </a:lnTo>
                  <a:lnTo>
                    <a:pt x="583" y="166"/>
                  </a:lnTo>
                  <a:lnTo>
                    <a:pt x="576" y="189"/>
                  </a:lnTo>
                  <a:lnTo>
                    <a:pt x="567" y="207"/>
                  </a:lnTo>
                  <a:lnTo>
                    <a:pt x="564" y="218"/>
                  </a:lnTo>
                  <a:lnTo>
                    <a:pt x="562" y="229"/>
                  </a:lnTo>
                  <a:lnTo>
                    <a:pt x="554" y="257"/>
                  </a:lnTo>
                  <a:lnTo>
                    <a:pt x="553" y="269"/>
                  </a:lnTo>
                  <a:lnTo>
                    <a:pt x="551" y="275"/>
                  </a:lnTo>
                  <a:lnTo>
                    <a:pt x="549" y="280"/>
                  </a:lnTo>
                  <a:lnTo>
                    <a:pt x="534" y="287"/>
                  </a:lnTo>
                  <a:lnTo>
                    <a:pt x="523" y="299"/>
                  </a:lnTo>
                  <a:lnTo>
                    <a:pt x="517" y="315"/>
                  </a:lnTo>
                  <a:lnTo>
                    <a:pt x="513" y="331"/>
                  </a:lnTo>
                  <a:lnTo>
                    <a:pt x="511" y="338"/>
                  </a:lnTo>
                  <a:lnTo>
                    <a:pt x="501" y="360"/>
                  </a:lnTo>
                  <a:lnTo>
                    <a:pt x="483" y="391"/>
                  </a:lnTo>
                  <a:lnTo>
                    <a:pt x="481" y="400"/>
                  </a:lnTo>
                  <a:lnTo>
                    <a:pt x="478" y="406"/>
                  </a:lnTo>
                  <a:lnTo>
                    <a:pt x="469" y="409"/>
                  </a:lnTo>
                  <a:lnTo>
                    <a:pt x="456" y="408"/>
                  </a:lnTo>
                  <a:lnTo>
                    <a:pt x="447" y="401"/>
                  </a:lnTo>
                  <a:lnTo>
                    <a:pt x="443" y="398"/>
                  </a:lnTo>
                  <a:lnTo>
                    <a:pt x="443" y="397"/>
                  </a:lnTo>
                  <a:lnTo>
                    <a:pt x="440" y="392"/>
                  </a:lnTo>
                  <a:lnTo>
                    <a:pt x="429" y="382"/>
                  </a:lnTo>
                  <a:lnTo>
                    <a:pt x="414" y="381"/>
                  </a:lnTo>
                  <a:lnTo>
                    <a:pt x="392" y="386"/>
                  </a:lnTo>
                  <a:lnTo>
                    <a:pt x="377" y="386"/>
                  </a:lnTo>
                  <a:lnTo>
                    <a:pt x="375" y="386"/>
                  </a:lnTo>
                  <a:lnTo>
                    <a:pt x="371" y="403"/>
                  </a:lnTo>
                  <a:lnTo>
                    <a:pt x="360" y="408"/>
                  </a:lnTo>
                  <a:lnTo>
                    <a:pt x="352" y="416"/>
                  </a:lnTo>
                  <a:lnTo>
                    <a:pt x="344" y="427"/>
                  </a:lnTo>
                  <a:lnTo>
                    <a:pt x="335" y="443"/>
                  </a:lnTo>
                  <a:lnTo>
                    <a:pt x="332" y="458"/>
                  </a:lnTo>
                  <a:lnTo>
                    <a:pt x="330" y="472"/>
                  </a:lnTo>
                  <a:lnTo>
                    <a:pt x="327" y="481"/>
                  </a:lnTo>
                  <a:lnTo>
                    <a:pt x="320" y="490"/>
                  </a:lnTo>
                  <a:lnTo>
                    <a:pt x="313" y="497"/>
                  </a:lnTo>
                  <a:lnTo>
                    <a:pt x="313" y="504"/>
                  </a:lnTo>
                  <a:lnTo>
                    <a:pt x="309" y="498"/>
                  </a:lnTo>
                  <a:lnTo>
                    <a:pt x="304" y="497"/>
                  </a:lnTo>
                  <a:lnTo>
                    <a:pt x="301" y="505"/>
                  </a:lnTo>
                  <a:lnTo>
                    <a:pt x="300" y="517"/>
                  </a:lnTo>
                  <a:lnTo>
                    <a:pt x="276" y="516"/>
                  </a:lnTo>
                  <a:lnTo>
                    <a:pt x="265" y="517"/>
                  </a:lnTo>
                  <a:lnTo>
                    <a:pt x="242" y="508"/>
                  </a:lnTo>
                  <a:lnTo>
                    <a:pt x="237" y="515"/>
                  </a:lnTo>
                  <a:lnTo>
                    <a:pt x="234" y="516"/>
                  </a:lnTo>
                  <a:lnTo>
                    <a:pt x="231" y="521"/>
                  </a:lnTo>
                  <a:lnTo>
                    <a:pt x="227" y="524"/>
                  </a:lnTo>
                  <a:lnTo>
                    <a:pt x="225" y="524"/>
                  </a:lnTo>
                  <a:lnTo>
                    <a:pt x="221" y="525"/>
                  </a:lnTo>
                  <a:lnTo>
                    <a:pt x="216" y="522"/>
                  </a:lnTo>
                  <a:lnTo>
                    <a:pt x="212" y="525"/>
                  </a:lnTo>
                  <a:lnTo>
                    <a:pt x="210" y="524"/>
                  </a:lnTo>
                  <a:lnTo>
                    <a:pt x="193" y="532"/>
                  </a:lnTo>
                  <a:lnTo>
                    <a:pt x="190" y="524"/>
                  </a:lnTo>
                  <a:lnTo>
                    <a:pt x="182" y="524"/>
                  </a:lnTo>
                  <a:lnTo>
                    <a:pt x="180" y="524"/>
                  </a:lnTo>
                  <a:lnTo>
                    <a:pt x="168" y="521"/>
                  </a:lnTo>
                  <a:lnTo>
                    <a:pt x="163" y="513"/>
                  </a:lnTo>
                  <a:lnTo>
                    <a:pt x="151" y="500"/>
                  </a:lnTo>
                  <a:lnTo>
                    <a:pt x="146" y="482"/>
                  </a:lnTo>
                  <a:lnTo>
                    <a:pt x="146" y="471"/>
                  </a:lnTo>
                  <a:lnTo>
                    <a:pt x="151" y="467"/>
                  </a:lnTo>
                  <a:lnTo>
                    <a:pt x="147" y="467"/>
                  </a:lnTo>
                  <a:lnTo>
                    <a:pt x="140" y="465"/>
                  </a:lnTo>
                  <a:lnTo>
                    <a:pt x="136" y="454"/>
                  </a:lnTo>
                  <a:lnTo>
                    <a:pt x="133" y="451"/>
                  </a:lnTo>
                  <a:lnTo>
                    <a:pt x="130" y="445"/>
                  </a:lnTo>
                  <a:lnTo>
                    <a:pt x="126" y="444"/>
                  </a:lnTo>
                  <a:lnTo>
                    <a:pt x="124" y="439"/>
                  </a:lnTo>
                  <a:lnTo>
                    <a:pt x="117" y="429"/>
                  </a:lnTo>
                  <a:lnTo>
                    <a:pt x="96" y="417"/>
                  </a:lnTo>
                  <a:lnTo>
                    <a:pt x="86" y="416"/>
                  </a:lnTo>
                  <a:lnTo>
                    <a:pt x="64" y="413"/>
                  </a:lnTo>
                  <a:lnTo>
                    <a:pt x="5" y="417"/>
                  </a:lnTo>
                  <a:lnTo>
                    <a:pt x="2" y="414"/>
                  </a:lnTo>
                  <a:lnTo>
                    <a:pt x="0" y="375"/>
                  </a:lnTo>
                  <a:lnTo>
                    <a:pt x="1" y="366"/>
                  </a:lnTo>
                  <a:lnTo>
                    <a:pt x="6" y="345"/>
                  </a:lnTo>
                  <a:lnTo>
                    <a:pt x="5" y="315"/>
                  </a:lnTo>
                  <a:lnTo>
                    <a:pt x="6" y="295"/>
                  </a:lnTo>
                  <a:lnTo>
                    <a:pt x="10" y="283"/>
                  </a:lnTo>
                  <a:lnTo>
                    <a:pt x="22" y="263"/>
                  </a:lnTo>
                  <a:lnTo>
                    <a:pt x="23" y="248"/>
                  </a:lnTo>
                  <a:lnTo>
                    <a:pt x="26" y="239"/>
                  </a:lnTo>
                  <a:lnTo>
                    <a:pt x="34" y="229"/>
                  </a:lnTo>
                  <a:lnTo>
                    <a:pt x="49" y="218"/>
                  </a:lnTo>
                  <a:lnTo>
                    <a:pt x="49" y="212"/>
                  </a:lnTo>
                  <a:lnTo>
                    <a:pt x="53" y="209"/>
                  </a:lnTo>
                  <a:lnTo>
                    <a:pt x="53" y="208"/>
                  </a:lnTo>
                  <a:lnTo>
                    <a:pt x="53" y="204"/>
                  </a:lnTo>
                  <a:lnTo>
                    <a:pt x="48" y="199"/>
                  </a:lnTo>
                  <a:lnTo>
                    <a:pt x="48" y="197"/>
                  </a:lnTo>
                  <a:lnTo>
                    <a:pt x="50" y="191"/>
                  </a:lnTo>
                  <a:lnTo>
                    <a:pt x="53" y="189"/>
                  </a:lnTo>
                  <a:lnTo>
                    <a:pt x="58" y="189"/>
                  </a:lnTo>
                  <a:lnTo>
                    <a:pt x="59" y="187"/>
                  </a:lnTo>
                  <a:lnTo>
                    <a:pt x="59" y="169"/>
                  </a:lnTo>
                  <a:lnTo>
                    <a:pt x="55" y="154"/>
                  </a:lnTo>
                  <a:lnTo>
                    <a:pt x="54" y="149"/>
                  </a:lnTo>
                  <a:lnTo>
                    <a:pt x="44" y="139"/>
                  </a:lnTo>
                  <a:lnTo>
                    <a:pt x="43" y="134"/>
                  </a:lnTo>
                  <a:lnTo>
                    <a:pt x="44" y="123"/>
                  </a:lnTo>
                  <a:lnTo>
                    <a:pt x="49" y="11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41" name="Congo"/>
            <p:cNvSpPr>
              <a:spLocks noChangeAspect="1"/>
            </p:cNvSpPr>
            <p:nvPr>
              <p:custDataLst>
                <p:tags r:id="rId40"/>
              </p:custDataLst>
            </p:nvPr>
          </p:nvSpPr>
          <p:spPr bwMode="gray">
            <a:xfrm>
              <a:off x="4736894" y="4533761"/>
              <a:ext cx="196610" cy="224698"/>
            </a:xfrm>
            <a:custGeom>
              <a:avLst/>
              <a:gdLst/>
              <a:ahLst/>
              <a:cxnLst>
                <a:cxn ang="0">
                  <a:pos x="408" y="5"/>
                </a:cxn>
                <a:cxn ang="0">
                  <a:pos x="377" y="16"/>
                </a:cxn>
                <a:cxn ang="0">
                  <a:pos x="343" y="0"/>
                </a:cxn>
                <a:cxn ang="0">
                  <a:pos x="300" y="17"/>
                </a:cxn>
                <a:cxn ang="0">
                  <a:pos x="274" y="47"/>
                </a:cxn>
                <a:cxn ang="0">
                  <a:pos x="274" y="101"/>
                </a:cxn>
                <a:cxn ang="0">
                  <a:pos x="267" y="114"/>
                </a:cxn>
                <a:cxn ang="0">
                  <a:pos x="234" y="96"/>
                </a:cxn>
                <a:cxn ang="0">
                  <a:pos x="205" y="90"/>
                </a:cxn>
                <a:cxn ang="0">
                  <a:pos x="118" y="84"/>
                </a:cxn>
                <a:cxn ang="0">
                  <a:pos x="111" y="117"/>
                </a:cxn>
                <a:cxn ang="0">
                  <a:pos x="121" y="140"/>
                </a:cxn>
                <a:cxn ang="0">
                  <a:pos x="166" y="124"/>
                </a:cxn>
                <a:cxn ang="0">
                  <a:pos x="177" y="157"/>
                </a:cxn>
                <a:cxn ang="0">
                  <a:pos x="158" y="204"/>
                </a:cxn>
                <a:cxn ang="0">
                  <a:pos x="173" y="246"/>
                </a:cxn>
                <a:cxn ang="0">
                  <a:pos x="169" y="275"/>
                </a:cxn>
                <a:cxn ang="0">
                  <a:pos x="161" y="329"/>
                </a:cxn>
                <a:cxn ang="0">
                  <a:pos x="127" y="318"/>
                </a:cxn>
                <a:cxn ang="0">
                  <a:pos x="92" y="310"/>
                </a:cxn>
                <a:cxn ang="0">
                  <a:pos x="74" y="313"/>
                </a:cxn>
                <a:cxn ang="0">
                  <a:pos x="42" y="333"/>
                </a:cxn>
                <a:cxn ang="0">
                  <a:pos x="27" y="350"/>
                </a:cxn>
                <a:cxn ang="0">
                  <a:pos x="31" y="375"/>
                </a:cxn>
                <a:cxn ang="0">
                  <a:pos x="31" y="394"/>
                </a:cxn>
                <a:cxn ang="0">
                  <a:pos x="8" y="397"/>
                </a:cxn>
                <a:cxn ang="0">
                  <a:pos x="0" y="419"/>
                </a:cxn>
                <a:cxn ang="0">
                  <a:pos x="19" y="434"/>
                </a:cxn>
                <a:cxn ang="0">
                  <a:pos x="40" y="456"/>
                </a:cxn>
                <a:cxn ang="0">
                  <a:pos x="63" y="469"/>
                </a:cxn>
                <a:cxn ang="0">
                  <a:pos x="80" y="449"/>
                </a:cxn>
                <a:cxn ang="0">
                  <a:pos x="100" y="447"/>
                </a:cxn>
                <a:cxn ang="0">
                  <a:pos x="121" y="468"/>
                </a:cxn>
                <a:cxn ang="0">
                  <a:pos x="140" y="452"/>
                </a:cxn>
                <a:cxn ang="0">
                  <a:pos x="161" y="444"/>
                </a:cxn>
                <a:cxn ang="0">
                  <a:pos x="177" y="445"/>
                </a:cxn>
                <a:cxn ang="0">
                  <a:pos x="188" y="466"/>
                </a:cxn>
                <a:cxn ang="0">
                  <a:pos x="232" y="437"/>
                </a:cxn>
                <a:cxn ang="0">
                  <a:pos x="261" y="415"/>
                </a:cxn>
                <a:cxn ang="0">
                  <a:pos x="278" y="376"/>
                </a:cxn>
                <a:cxn ang="0">
                  <a:pos x="282" y="337"/>
                </a:cxn>
                <a:cxn ang="0">
                  <a:pos x="312" y="280"/>
                </a:cxn>
                <a:cxn ang="0">
                  <a:pos x="348" y="254"/>
                </a:cxn>
                <a:cxn ang="0">
                  <a:pos x="364" y="237"/>
                </a:cxn>
                <a:cxn ang="0">
                  <a:pos x="372" y="141"/>
                </a:cxn>
                <a:cxn ang="0">
                  <a:pos x="391" y="73"/>
                </a:cxn>
                <a:cxn ang="0">
                  <a:pos x="417" y="17"/>
                </a:cxn>
              </a:cxnLst>
              <a:rect l="0" t="0" r="r" b="b"/>
              <a:pathLst>
                <a:path w="417" h="479">
                  <a:moveTo>
                    <a:pt x="414" y="0"/>
                  </a:moveTo>
                  <a:lnTo>
                    <a:pt x="408" y="5"/>
                  </a:lnTo>
                  <a:lnTo>
                    <a:pt x="393" y="12"/>
                  </a:lnTo>
                  <a:lnTo>
                    <a:pt x="377" y="16"/>
                  </a:lnTo>
                  <a:lnTo>
                    <a:pt x="360" y="10"/>
                  </a:lnTo>
                  <a:lnTo>
                    <a:pt x="343" y="0"/>
                  </a:lnTo>
                  <a:lnTo>
                    <a:pt x="323" y="3"/>
                  </a:lnTo>
                  <a:lnTo>
                    <a:pt x="300" y="17"/>
                  </a:lnTo>
                  <a:lnTo>
                    <a:pt x="283" y="33"/>
                  </a:lnTo>
                  <a:lnTo>
                    <a:pt x="274" y="47"/>
                  </a:lnTo>
                  <a:lnTo>
                    <a:pt x="272" y="58"/>
                  </a:lnTo>
                  <a:lnTo>
                    <a:pt x="274" y="101"/>
                  </a:lnTo>
                  <a:lnTo>
                    <a:pt x="272" y="111"/>
                  </a:lnTo>
                  <a:lnTo>
                    <a:pt x="267" y="114"/>
                  </a:lnTo>
                  <a:lnTo>
                    <a:pt x="244" y="96"/>
                  </a:lnTo>
                  <a:lnTo>
                    <a:pt x="234" y="96"/>
                  </a:lnTo>
                  <a:lnTo>
                    <a:pt x="220" y="91"/>
                  </a:lnTo>
                  <a:lnTo>
                    <a:pt x="205" y="90"/>
                  </a:lnTo>
                  <a:lnTo>
                    <a:pt x="194" y="84"/>
                  </a:lnTo>
                  <a:lnTo>
                    <a:pt x="118" y="84"/>
                  </a:lnTo>
                  <a:lnTo>
                    <a:pt x="112" y="98"/>
                  </a:lnTo>
                  <a:lnTo>
                    <a:pt x="111" y="117"/>
                  </a:lnTo>
                  <a:lnTo>
                    <a:pt x="112" y="135"/>
                  </a:lnTo>
                  <a:lnTo>
                    <a:pt x="121" y="140"/>
                  </a:lnTo>
                  <a:lnTo>
                    <a:pt x="137" y="117"/>
                  </a:lnTo>
                  <a:lnTo>
                    <a:pt x="166" y="124"/>
                  </a:lnTo>
                  <a:lnTo>
                    <a:pt x="176" y="137"/>
                  </a:lnTo>
                  <a:lnTo>
                    <a:pt x="177" y="157"/>
                  </a:lnTo>
                  <a:lnTo>
                    <a:pt x="159" y="187"/>
                  </a:lnTo>
                  <a:lnTo>
                    <a:pt x="158" y="204"/>
                  </a:lnTo>
                  <a:lnTo>
                    <a:pt x="162" y="218"/>
                  </a:lnTo>
                  <a:lnTo>
                    <a:pt x="173" y="246"/>
                  </a:lnTo>
                  <a:lnTo>
                    <a:pt x="172" y="262"/>
                  </a:lnTo>
                  <a:lnTo>
                    <a:pt x="169" y="275"/>
                  </a:lnTo>
                  <a:lnTo>
                    <a:pt x="166" y="312"/>
                  </a:lnTo>
                  <a:lnTo>
                    <a:pt x="161" y="329"/>
                  </a:lnTo>
                  <a:lnTo>
                    <a:pt x="145" y="334"/>
                  </a:lnTo>
                  <a:lnTo>
                    <a:pt x="127" y="318"/>
                  </a:lnTo>
                  <a:lnTo>
                    <a:pt x="102" y="321"/>
                  </a:lnTo>
                  <a:lnTo>
                    <a:pt x="92" y="310"/>
                  </a:lnTo>
                  <a:lnTo>
                    <a:pt x="85" y="305"/>
                  </a:lnTo>
                  <a:lnTo>
                    <a:pt x="74" y="313"/>
                  </a:lnTo>
                  <a:lnTo>
                    <a:pt x="65" y="324"/>
                  </a:lnTo>
                  <a:lnTo>
                    <a:pt x="42" y="333"/>
                  </a:lnTo>
                  <a:lnTo>
                    <a:pt x="32" y="342"/>
                  </a:lnTo>
                  <a:lnTo>
                    <a:pt x="27" y="350"/>
                  </a:lnTo>
                  <a:lnTo>
                    <a:pt x="26" y="363"/>
                  </a:lnTo>
                  <a:lnTo>
                    <a:pt x="31" y="375"/>
                  </a:lnTo>
                  <a:lnTo>
                    <a:pt x="33" y="390"/>
                  </a:lnTo>
                  <a:lnTo>
                    <a:pt x="31" y="394"/>
                  </a:lnTo>
                  <a:lnTo>
                    <a:pt x="19" y="394"/>
                  </a:lnTo>
                  <a:lnTo>
                    <a:pt x="8" y="397"/>
                  </a:lnTo>
                  <a:lnTo>
                    <a:pt x="2" y="404"/>
                  </a:lnTo>
                  <a:lnTo>
                    <a:pt x="0" y="419"/>
                  </a:lnTo>
                  <a:lnTo>
                    <a:pt x="13" y="425"/>
                  </a:lnTo>
                  <a:lnTo>
                    <a:pt x="19" y="434"/>
                  </a:lnTo>
                  <a:lnTo>
                    <a:pt x="33" y="449"/>
                  </a:lnTo>
                  <a:lnTo>
                    <a:pt x="40" y="456"/>
                  </a:lnTo>
                  <a:lnTo>
                    <a:pt x="49" y="479"/>
                  </a:lnTo>
                  <a:lnTo>
                    <a:pt x="63" y="469"/>
                  </a:lnTo>
                  <a:lnTo>
                    <a:pt x="73" y="463"/>
                  </a:lnTo>
                  <a:lnTo>
                    <a:pt x="80" y="449"/>
                  </a:lnTo>
                  <a:lnTo>
                    <a:pt x="90" y="444"/>
                  </a:lnTo>
                  <a:lnTo>
                    <a:pt x="100" y="447"/>
                  </a:lnTo>
                  <a:lnTo>
                    <a:pt x="105" y="458"/>
                  </a:lnTo>
                  <a:lnTo>
                    <a:pt x="121" y="468"/>
                  </a:lnTo>
                  <a:lnTo>
                    <a:pt x="133" y="465"/>
                  </a:lnTo>
                  <a:lnTo>
                    <a:pt x="140" y="452"/>
                  </a:lnTo>
                  <a:lnTo>
                    <a:pt x="148" y="446"/>
                  </a:lnTo>
                  <a:lnTo>
                    <a:pt x="161" y="444"/>
                  </a:lnTo>
                  <a:lnTo>
                    <a:pt x="175" y="440"/>
                  </a:lnTo>
                  <a:lnTo>
                    <a:pt x="177" y="445"/>
                  </a:lnTo>
                  <a:lnTo>
                    <a:pt x="178" y="463"/>
                  </a:lnTo>
                  <a:lnTo>
                    <a:pt x="188" y="466"/>
                  </a:lnTo>
                  <a:lnTo>
                    <a:pt x="209" y="458"/>
                  </a:lnTo>
                  <a:lnTo>
                    <a:pt x="232" y="437"/>
                  </a:lnTo>
                  <a:lnTo>
                    <a:pt x="246" y="430"/>
                  </a:lnTo>
                  <a:lnTo>
                    <a:pt x="261" y="415"/>
                  </a:lnTo>
                  <a:lnTo>
                    <a:pt x="274" y="394"/>
                  </a:lnTo>
                  <a:lnTo>
                    <a:pt x="278" y="376"/>
                  </a:lnTo>
                  <a:lnTo>
                    <a:pt x="278" y="358"/>
                  </a:lnTo>
                  <a:lnTo>
                    <a:pt x="282" y="337"/>
                  </a:lnTo>
                  <a:lnTo>
                    <a:pt x="289" y="316"/>
                  </a:lnTo>
                  <a:lnTo>
                    <a:pt x="312" y="280"/>
                  </a:lnTo>
                  <a:lnTo>
                    <a:pt x="329" y="264"/>
                  </a:lnTo>
                  <a:lnTo>
                    <a:pt x="348" y="254"/>
                  </a:lnTo>
                  <a:lnTo>
                    <a:pt x="363" y="241"/>
                  </a:lnTo>
                  <a:lnTo>
                    <a:pt x="364" y="237"/>
                  </a:lnTo>
                  <a:lnTo>
                    <a:pt x="371" y="207"/>
                  </a:lnTo>
                  <a:lnTo>
                    <a:pt x="372" y="141"/>
                  </a:lnTo>
                  <a:lnTo>
                    <a:pt x="381" y="97"/>
                  </a:lnTo>
                  <a:lnTo>
                    <a:pt x="391" y="73"/>
                  </a:lnTo>
                  <a:lnTo>
                    <a:pt x="412" y="36"/>
                  </a:lnTo>
                  <a:lnTo>
                    <a:pt x="417" y="17"/>
                  </a:lnTo>
                  <a:lnTo>
                    <a:pt x="414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42" name="Equatorial Guinea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gray">
            <a:xfrm>
              <a:off x="4692422" y="4571210"/>
              <a:ext cx="49153" cy="32768"/>
            </a:xfrm>
            <a:custGeom>
              <a:avLst/>
              <a:gdLst/>
              <a:ahLst/>
              <a:cxnLst>
                <a:cxn ang="0">
                  <a:pos x="107" y="0"/>
                </a:cxn>
                <a:cxn ang="0">
                  <a:pos x="67" y="0"/>
                </a:cxn>
                <a:cxn ang="0">
                  <a:pos x="25" y="3"/>
                </a:cxn>
                <a:cxn ang="0">
                  <a:pos x="21" y="4"/>
                </a:cxn>
                <a:cxn ang="0">
                  <a:pos x="21" y="14"/>
                </a:cxn>
                <a:cxn ang="0">
                  <a:pos x="14" y="26"/>
                </a:cxn>
                <a:cxn ang="0">
                  <a:pos x="11" y="37"/>
                </a:cxn>
                <a:cxn ang="0">
                  <a:pos x="0" y="56"/>
                </a:cxn>
                <a:cxn ang="0">
                  <a:pos x="15" y="63"/>
                </a:cxn>
                <a:cxn ang="0">
                  <a:pos x="15" y="65"/>
                </a:cxn>
                <a:cxn ang="0">
                  <a:pos x="13" y="69"/>
                </a:cxn>
                <a:cxn ang="0">
                  <a:pos x="13" y="68"/>
                </a:cxn>
                <a:cxn ang="0">
                  <a:pos x="36" y="63"/>
                </a:cxn>
                <a:cxn ang="0">
                  <a:pos x="107" y="60"/>
                </a:cxn>
                <a:cxn ang="0">
                  <a:pos x="105" y="58"/>
                </a:cxn>
                <a:cxn ang="0">
                  <a:pos x="102" y="38"/>
                </a:cxn>
                <a:cxn ang="0">
                  <a:pos x="101" y="15"/>
                </a:cxn>
                <a:cxn ang="0">
                  <a:pos x="107" y="0"/>
                </a:cxn>
              </a:cxnLst>
              <a:rect l="0" t="0" r="r" b="b"/>
              <a:pathLst>
                <a:path w="107" h="69">
                  <a:moveTo>
                    <a:pt x="107" y="0"/>
                  </a:moveTo>
                  <a:lnTo>
                    <a:pt x="67" y="0"/>
                  </a:lnTo>
                  <a:lnTo>
                    <a:pt x="25" y="3"/>
                  </a:lnTo>
                  <a:lnTo>
                    <a:pt x="21" y="4"/>
                  </a:lnTo>
                  <a:lnTo>
                    <a:pt x="21" y="14"/>
                  </a:lnTo>
                  <a:lnTo>
                    <a:pt x="14" y="26"/>
                  </a:lnTo>
                  <a:lnTo>
                    <a:pt x="11" y="37"/>
                  </a:lnTo>
                  <a:lnTo>
                    <a:pt x="0" y="56"/>
                  </a:lnTo>
                  <a:lnTo>
                    <a:pt x="15" y="63"/>
                  </a:lnTo>
                  <a:lnTo>
                    <a:pt x="15" y="65"/>
                  </a:lnTo>
                  <a:lnTo>
                    <a:pt x="13" y="69"/>
                  </a:lnTo>
                  <a:lnTo>
                    <a:pt x="13" y="68"/>
                  </a:lnTo>
                  <a:lnTo>
                    <a:pt x="36" y="63"/>
                  </a:lnTo>
                  <a:lnTo>
                    <a:pt x="107" y="60"/>
                  </a:lnTo>
                  <a:lnTo>
                    <a:pt x="105" y="58"/>
                  </a:lnTo>
                  <a:lnTo>
                    <a:pt x="102" y="38"/>
                  </a:lnTo>
                  <a:lnTo>
                    <a:pt x="101" y="15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43" name="Burundi"/>
            <p:cNvSpPr>
              <a:spLocks noChangeAspect="1"/>
            </p:cNvSpPr>
            <p:nvPr>
              <p:custDataLst>
                <p:tags r:id="rId42"/>
              </p:custDataLst>
            </p:nvPr>
          </p:nvSpPr>
          <p:spPr bwMode="gray">
            <a:xfrm>
              <a:off x="5202673" y="4688240"/>
              <a:ext cx="42131" cy="51493"/>
            </a:xfrm>
            <a:custGeom>
              <a:avLst/>
              <a:gdLst/>
              <a:ahLst/>
              <a:cxnLst>
                <a:cxn ang="0">
                  <a:pos x="83" y="5"/>
                </a:cxn>
                <a:cxn ang="0">
                  <a:pos x="81" y="1"/>
                </a:cxn>
                <a:cxn ang="0">
                  <a:pos x="76" y="1"/>
                </a:cxn>
                <a:cxn ang="0">
                  <a:pos x="76" y="0"/>
                </a:cxn>
                <a:cxn ang="0">
                  <a:pos x="71" y="0"/>
                </a:cxn>
                <a:cxn ang="0">
                  <a:pos x="59" y="4"/>
                </a:cxn>
                <a:cxn ang="0">
                  <a:pos x="49" y="4"/>
                </a:cxn>
                <a:cxn ang="0">
                  <a:pos x="46" y="6"/>
                </a:cxn>
                <a:cxn ang="0">
                  <a:pos x="45" y="9"/>
                </a:cxn>
                <a:cxn ang="0">
                  <a:pos x="45" y="17"/>
                </a:cxn>
                <a:cxn ang="0">
                  <a:pos x="41" y="22"/>
                </a:cxn>
                <a:cxn ang="0">
                  <a:pos x="33" y="22"/>
                </a:cxn>
                <a:cxn ang="0">
                  <a:pos x="28" y="25"/>
                </a:cxn>
                <a:cxn ang="0">
                  <a:pos x="22" y="26"/>
                </a:cxn>
                <a:cxn ang="0">
                  <a:pos x="19" y="25"/>
                </a:cxn>
                <a:cxn ang="0">
                  <a:pos x="16" y="16"/>
                </a:cxn>
                <a:cxn ang="0">
                  <a:pos x="13" y="11"/>
                </a:cxn>
                <a:cxn ang="0">
                  <a:pos x="11" y="10"/>
                </a:cxn>
                <a:cxn ang="0">
                  <a:pos x="6" y="10"/>
                </a:cxn>
                <a:cxn ang="0">
                  <a:pos x="1" y="13"/>
                </a:cxn>
                <a:cxn ang="0">
                  <a:pos x="1" y="22"/>
                </a:cxn>
                <a:cxn ang="0">
                  <a:pos x="0" y="22"/>
                </a:cxn>
                <a:cxn ang="0">
                  <a:pos x="6" y="28"/>
                </a:cxn>
                <a:cxn ang="0">
                  <a:pos x="8" y="34"/>
                </a:cxn>
                <a:cxn ang="0">
                  <a:pos x="11" y="58"/>
                </a:cxn>
                <a:cxn ang="0">
                  <a:pos x="13" y="61"/>
                </a:cxn>
                <a:cxn ang="0">
                  <a:pos x="16" y="69"/>
                </a:cxn>
                <a:cxn ang="0">
                  <a:pos x="17" y="79"/>
                </a:cxn>
                <a:cxn ang="0">
                  <a:pos x="17" y="91"/>
                </a:cxn>
                <a:cxn ang="0">
                  <a:pos x="18" y="101"/>
                </a:cxn>
                <a:cxn ang="0">
                  <a:pos x="23" y="108"/>
                </a:cxn>
                <a:cxn ang="0">
                  <a:pos x="29" y="114"/>
                </a:cxn>
                <a:cxn ang="0">
                  <a:pos x="32" y="113"/>
                </a:cxn>
                <a:cxn ang="0">
                  <a:pos x="43" y="110"/>
                </a:cxn>
                <a:cxn ang="0">
                  <a:pos x="57" y="106"/>
                </a:cxn>
                <a:cxn ang="0">
                  <a:pos x="68" y="86"/>
                </a:cxn>
                <a:cxn ang="0">
                  <a:pos x="73" y="80"/>
                </a:cxn>
                <a:cxn ang="0">
                  <a:pos x="79" y="66"/>
                </a:cxn>
                <a:cxn ang="0">
                  <a:pos x="89" y="54"/>
                </a:cxn>
                <a:cxn ang="0">
                  <a:pos x="93" y="48"/>
                </a:cxn>
                <a:cxn ang="0">
                  <a:pos x="93" y="40"/>
                </a:cxn>
                <a:cxn ang="0">
                  <a:pos x="91" y="34"/>
                </a:cxn>
                <a:cxn ang="0">
                  <a:pos x="87" y="31"/>
                </a:cxn>
                <a:cxn ang="0">
                  <a:pos x="81" y="29"/>
                </a:cxn>
                <a:cxn ang="0">
                  <a:pos x="77" y="26"/>
                </a:cxn>
                <a:cxn ang="0">
                  <a:pos x="77" y="22"/>
                </a:cxn>
                <a:cxn ang="0">
                  <a:pos x="77" y="16"/>
                </a:cxn>
                <a:cxn ang="0">
                  <a:pos x="78" y="10"/>
                </a:cxn>
                <a:cxn ang="0">
                  <a:pos x="83" y="5"/>
                </a:cxn>
              </a:cxnLst>
              <a:rect l="0" t="0" r="r" b="b"/>
              <a:pathLst>
                <a:path w="93" h="114">
                  <a:moveTo>
                    <a:pt x="83" y="5"/>
                  </a:moveTo>
                  <a:lnTo>
                    <a:pt x="81" y="1"/>
                  </a:lnTo>
                  <a:lnTo>
                    <a:pt x="76" y="1"/>
                  </a:lnTo>
                  <a:lnTo>
                    <a:pt x="76" y="0"/>
                  </a:lnTo>
                  <a:lnTo>
                    <a:pt x="71" y="0"/>
                  </a:lnTo>
                  <a:lnTo>
                    <a:pt x="59" y="4"/>
                  </a:lnTo>
                  <a:lnTo>
                    <a:pt x="49" y="4"/>
                  </a:lnTo>
                  <a:lnTo>
                    <a:pt x="46" y="6"/>
                  </a:lnTo>
                  <a:lnTo>
                    <a:pt x="45" y="9"/>
                  </a:lnTo>
                  <a:lnTo>
                    <a:pt x="45" y="17"/>
                  </a:lnTo>
                  <a:lnTo>
                    <a:pt x="41" y="22"/>
                  </a:lnTo>
                  <a:lnTo>
                    <a:pt x="33" y="22"/>
                  </a:lnTo>
                  <a:lnTo>
                    <a:pt x="28" y="25"/>
                  </a:lnTo>
                  <a:lnTo>
                    <a:pt x="22" y="26"/>
                  </a:lnTo>
                  <a:lnTo>
                    <a:pt x="19" y="25"/>
                  </a:lnTo>
                  <a:lnTo>
                    <a:pt x="16" y="16"/>
                  </a:lnTo>
                  <a:lnTo>
                    <a:pt x="13" y="11"/>
                  </a:lnTo>
                  <a:lnTo>
                    <a:pt x="11" y="10"/>
                  </a:lnTo>
                  <a:lnTo>
                    <a:pt x="6" y="10"/>
                  </a:lnTo>
                  <a:lnTo>
                    <a:pt x="1" y="13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6" y="28"/>
                  </a:lnTo>
                  <a:lnTo>
                    <a:pt x="8" y="34"/>
                  </a:lnTo>
                  <a:lnTo>
                    <a:pt x="11" y="58"/>
                  </a:lnTo>
                  <a:lnTo>
                    <a:pt x="13" y="61"/>
                  </a:lnTo>
                  <a:lnTo>
                    <a:pt x="16" y="69"/>
                  </a:lnTo>
                  <a:lnTo>
                    <a:pt x="17" y="79"/>
                  </a:lnTo>
                  <a:lnTo>
                    <a:pt x="17" y="91"/>
                  </a:lnTo>
                  <a:lnTo>
                    <a:pt x="18" y="101"/>
                  </a:lnTo>
                  <a:lnTo>
                    <a:pt x="23" y="108"/>
                  </a:lnTo>
                  <a:lnTo>
                    <a:pt x="29" y="114"/>
                  </a:lnTo>
                  <a:lnTo>
                    <a:pt x="32" y="113"/>
                  </a:lnTo>
                  <a:lnTo>
                    <a:pt x="43" y="110"/>
                  </a:lnTo>
                  <a:lnTo>
                    <a:pt x="57" y="106"/>
                  </a:lnTo>
                  <a:lnTo>
                    <a:pt x="68" y="86"/>
                  </a:lnTo>
                  <a:lnTo>
                    <a:pt x="73" y="80"/>
                  </a:lnTo>
                  <a:lnTo>
                    <a:pt x="79" y="66"/>
                  </a:lnTo>
                  <a:lnTo>
                    <a:pt x="89" y="54"/>
                  </a:lnTo>
                  <a:lnTo>
                    <a:pt x="93" y="48"/>
                  </a:lnTo>
                  <a:lnTo>
                    <a:pt x="93" y="40"/>
                  </a:lnTo>
                  <a:lnTo>
                    <a:pt x="91" y="34"/>
                  </a:lnTo>
                  <a:lnTo>
                    <a:pt x="87" y="31"/>
                  </a:lnTo>
                  <a:lnTo>
                    <a:pt x="81" y="29"/>
                  </a:lnTo>
                  <a:lnTo>
                    <a:pt x="77" y="26"/>
                  </a:lnTo>
                  <a:lnTo>
                    <a:pt x="77" y="22"/>
                  </a:lnTo>
                  <a:lnTo>
                    <a:pt x="77" y="16"/>
                  </a:lnTo>
                  <a:lnTo>
                    <a:pt x="78" y="10"/>
                  </a:lnTo>
                  <a:lnTo>
                    <a:pt x="83" y="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44" name="Uganda"/>
            <p:cNvSpPr>
              <a:spLocks noChangeAspect="1"/>
            </p:cNvSpPr>
            <p:nvPr>
              <p:custDataLst>
                <p:tags r:id="rId43"/>
              </p:custDataLst>
            </p:nvPr>
          </p:nvSpPr>
          <p:spPr bwMode="gray">
            <a:xfrm>
              <a:off x="5216717" y="4522058"/>
              <a:ext cx="135755" cy="142777"/>
            </a:xfrm>
            <a:custGeom>
              <a:avLst/>
              <a:gdLst/>
              <a:ahLst/>
              <a:cxnLst>
                <a:cxn ang="0">
                  <a:pos x="232" y="0"/>
                </a:cxn>
                <a:cxn ang="0">
                  <a:pos x="205" y="21"/>
                </a:cxn>
                <a:cxn ang="0">
                  <a:pos x="170" y="19"/>
                </a:cxn>
                <a:cxn ang="0">
                  <a:pos x="143" y="25"/>
                </a:cxn>
                <a:cxn ang="0">
                  <a:pos x="120" y="22"/>
                </a:cxn>
                <a:cxn ang="0">
                  <a:pos x="98" y="25"/>
                </a:cxn>
                <a:cxn ang="0">
                  <a:pos x="73" y="23"/>
                </a:cxn>
                <a:cxn ang="0">
                  <a:pos x="66" y="32"/>
                </a:cxn>
                <a:cxn ang="0">
                  <a:pos x="60" y="59"/>
                </a:cxn>
                <a:cxn ang="0">
                  <a:pos x="63" y="89"/>
                </a:cxn>
                <a:cxn ang="0">
                  <a:pos x="73" y="98"/>
                </a:cxn>
                <a:cxn ang="0">
                  <a:pos x="84" y="105"/>
                </a:cxn>
                <a:cxn ang="0">
                  <a:pos x="82" y="121"/>
                </a:cxn>
                <a:cxn ang="0">
                  <a:pos x="67" y="135"/>
                </a:cxn>
                <a:cxn ang="0">
                  <a:pos x="52" y="147"/>
                </a:cxn>
                <a:cxn ang="0">
                  <a:pos x="44" y="159"/>
                </a:cxn>
                <a:cxn ang="0">
                  <a:pos x="20" y="186"/>
                </a:cxn>
                <a:cxn ang="0">
                  <a:pos x="11" y="202"/>
                </a:cxn>
                <a:cxn ang="0">
                  <a:pos x="3" y="247"/>
                </a:cxn>
                <a:cxn ang="0">
                  <a:pos x="0" y="296"/>
                </a:cxn>
                <a:cxn ang="0">
                  <a:pos x="11" y="302"/>
                </a:cxn>
                <a:cxn ang="0">
                  <a:pos x="25" y="290"/>
                </a:cxn>
                <a:cxn ang="0">
                  <a:pos x="36" y="285"/>
                </a:cxn>
                <a:cxn ang="0">
                  <a:pos x="63" y="283"/>
                </a:cxn>
                <a:cxn ang="0">
                  <a:pos x="70" y="278"/>
                </a:cxn>
                <a:cxn ang="0">
                  <a:pos x="110" y="274"/>
                </a:cxn>
                <a:cxn ang="0">
                  <a:pos x="120" y="240"/>
                </a:cxn>
                <a:cxn ang="0">
                  <a:pos x="132" y="232"/>
                </a:cxn>
                <a:cxn ang="0">
                  <a:pos x="147" y="221"/>
                </a:cxn>
                <a:cxn ang="0">
                  <a:pos x="157" y="222"/>
                </a:cxn>
                <a:cxn ang="0">
                  <a:pos x="164" y="218"/>
                </a:cxn>
                <a:cxn ang="0">
                  <a:pos x="183" y="223"/>
                </a:cxn>
                <a:cxn ang="0">
                  <a:pos x="201" y="211"/>
                </a:cxn>
                <a:cxn ang="0">
                  <a:pos x="223" y="213"/>
                </a:cxn>
                <a:cxn ang="0">
                  <a:pos x="234" y="213"/>
                </a:cxn>
                <a:cxn ang="0">
                  <a:pos x="258" y="181"/>
                </a:cxn>
                <a:cxn ang="0">
                  <a:pos x="270" y="167"/>
                </a:cxn>
                <a:cxn ang="0">
                  <a:pos x="286" y="143"/>
                </a:cxn>
                <a:cxn ang="0">
                  <a:pos x="289" y="110"/>
                </a:cxn>
                <a:cxn ang="0">
                  <a:pos x="287" y="82"/>
                </a:cxn>
                <a:cxn ang="0">
                  <a:pos x="278" y="67"/>
                </a:cxn>
                <a:cxn ang="0">
                  <a:pos x="267" y="61"/>
                </a:cxn>
                <a:cxn ang="0">
                  <a:pos x="260" y="50"/>
                </a:cxn>
                <a:cxn ang="0">
                  <a:pos x="253" y="21"/>
                </a:cxn>
                <a:cxn ang="0">
                  <a:pos x="251" y="11"/>
                </a:cxn>
                <a:cxn ang="0">
                  <a:pos x="237" y="7"/>
                </a:cxn>
                <a:cxn ang="0">
                  <a:pos x="232" y="3"/>
                </a:cxn>
              </a:cxnLst>
              <a:rect l="0" t="0" r="r" b="b"/>
              <a:pathLst>
                <a:path w="289" h="302">
                  <a:moveTo>
                    <a:pt x="232" y="3"/>
                  </a:moveTo>
                  <a:lnTo>
                    <a:pt x="232" y="0"/>
                  </a:lnTo>
                  <a:lnTo>
                    <a:pt x="232" y="3"/>
                  </a:lnTo>
                  <a:lnTo>
                    <a:pt x="205" y="21"/>
                  </a:lnTo>
                  <a:lnTo>
                    <a:pt x="186" y="21"/>
                  </a:lnTo>
                  <a:lnTo>
                    <a:pt x="170" y="19"/>
                  </a:lnTo>
                  <a:lnTo>
                    <a:pt x="157" y="24"/>
                  </a:lnTo>
                  <a:lnTo>
                    <a:pt x="143" y="25"/>
                  </a:lnTo>
                  <a:lnTo>
                    <a:pt x="126" y="29"/>
                  </a:lnTo>
                  <a:lnTo>
                    <a:pt x="120" y="22"/>
                  </a:lnTo>
                  <a:lnTo>
                    <a:pt x="108" y="23"/>
                  </a:lnTo>
                  <a:lnTo>
                    <a:pt x="98" y="25"/>
                  </a:lnTo>
                  <a:lnTo>
                    <a:pt x="87" y="22"/>
                  </a:lnTo>
                  <a:lnTo>
                    <a:pt x="73" y="23"/>
                  </a:lnTo>
                  <a:lnTo>
                    <a:pt x="66" y="28"/>
                  </a:lnTo>
                  <a:lnTo>
                    <a:pt x="66" y="32"/>
                  </a:lnTo>
                  <a:lnTo>
                    <a:pt x="63" y="41"/>
                  </a:lnTo>
                  <a:lnTo>
                    <a:pt x="60" y="59"/>
                  </a:lnTo>
                  <a:lnTo>
                    <a:pt x="61" y="81"/>
                  </a:lnTo>
                  <a:lnTo>
                    <a:pt x="63" y="89"/>
                  </a:lnTo>
                  <a:lnTo>
                    <a:pt x="68" y="94"/>
                  </a:lnTo>
                  <a:lnTo>
                    <a:pt x="73" y="98"/>
                  </a:lnTo>
                  <a:lnTo>
                    <a:pt x="82" y="100"/>
                  </a:lnTo>
                  <a:lnTo>
                    <a:pt x="84" y="105"/>
                  </a:lnTo>
                  <a:lnTo>
                    <a:pt x="86" y="113"/>
                  </a:lnTo>
                  <a:lnTo>
                    <a:pt x="82" y="121"/>
                  </a:lnTo>
                  <a:lnTo>
                    <a:pt x="73" y="130"/>
                  </a:lnTo>
                  <a:lnTo>
                    <a:pt x="67" y="135"/>
                  </a:lnTo>
                  <a:lnTo>
                    <a:pt x="56" y="140"/>
                  </a:lnTo>
                  <a:lnTo>
                    <a:pt x="52" y="147"/>
                  </a:lnTo>
                  <a:lnTo>
                    <a:pt x="50" y="153"/>
                  </a:lnTo>
                  <a:lnTo>
                    <a:pt x="44" y="159"/>
                  </a:lnTo>
                  <a:lnTo>
                    <a:pt x="33" y="172"/>
                  </a:lnTo>
                  <a:lnTo>
                    <a:pt x="20" y="186"/>
                  </a:lnTo>
                  <a:lnTo>
                    <a:pt x="17" y="191"/>
                  </a:lnTo>
                  <a:lnTo>
                    <a:pt x="11" y="202"/>
                  </a:lnTo>
                  <a:lnTo>
                    <a:pt x="3" y="233"/>
                  </a:lnTo>
                  <a:lnTo>
                    <a:pt x="3" y="247"/>
                  </a:lnTo>
                  <a:lnTo>
                    <a:pt x="1" y="275"/>
                  </a:lnTo>
                  <a:lnTo>
                    <a:pt x="0" y="296"/>
                  </a:lnTo>
                  <a:lnTo>
                    <a:pt x="4" y="299"/>
                  </a:lnTo>
                  <a:lnTo>
                    <a:pt x="11" y="302"/>
                  </a:lnTo>
                  <a:lnTo>
                    <a:pt x="19" y="301"/>
                  </a:lnTo>
                  <a:lnTo>
                    <a:pt x="25" y="290"/>
                  </a:lnTo>
                  <a:lnTo>
                    <a:pt x="29" y="286"/>
                  </a:lnTo>
                  <a:lnTo>
                    <a:pt x="36" y="285"/>
                  </a:lnTo>
                  <a:lnTo>
                    <a:pt x="41" y="281"/>
                  </a:lnTo>
                  <a:lnTo>
                    <a:pt x="63" y="283"/>
                  </a:lnTo>
                  <a:lnTo>
                    <a:pt x="70" y="280"/>
                  </a:lnTo>
                  <a:lnTo>
                    <a:pt x="70" y="278"/>
                  </a:lnTo>
                  <a:lnTo>
                    <a:pt x="115" y="278"/>
                  </a:lnTo>
                  <a:lnTo>
                    <a:pt x="110" y="274"/>
                  </a:lnTo>
                  <a:lnTo>
                    <a:pt x="122" y="247"/>
                  </a:lnTo>
                  <a:lnTo>
                    <a:pt x="120" y="240"/>
                  </a:lnTo>
                  <a:lnTo>
                    <a:pt x="121" y="234"/>
                  </a:lnTo>
                  <a:lnTo>
                    <a:pt x="132" y="232"/>
                  </a:lnTo>
                  <a:lnTo>
                    <a:pt x="142" y="228"/>
                  </a:lnTo>
                  <a:lnTo>
                    <a:pt x="147" y="221"/>
                  </a:lnTo>
                  <a:lnTo>
                    <a:pt x="153" y="223"/>
                  </a:lnTo>
                  <a:lnTo>
                    <a:pt x="157" y="222"/>
                  </a:lnTo>
                  <a:lnTo>
                    <a:pt x="159" y="216"/>
                  </a:lnTo>
                  <a:lnTo>
                    <a:pt x="164" y="218"/>
                  </a:lnTo>
                  <a:lnTo>
                    <a:pt x="175" y="220"/>
                  </a:lnTo>
                  <a:lnTo>
                    <a:pt x="183" y="223"/>
                  </a:lnTo>
                  <a:lnTo>
                    <a:pt x="195" y="207"/>
                  </a:lnTo>
                  <a:lnTo>
                    <a:pt x="201" y="211"/>
                  </a:lnTo>
                  <a:lnTo>
                    <a:pt x="215" y="216"/>
                  </a:lnTo>
                  <a:lnTo>
                    <a:pt x="223" y="213"/>
                  </a:lnTo>
                  <a:lnTo>
                    <a:pt x="232" y="216"/>
                  </a:lnTo>
                  <a:lnTo>
                    <a:pt x="234" y="213"/>
                  </a:lnTo>
                  <a:lnTo>
                    <a:pt x="240" y="208"/>
                  </a:lnTo>
                  <a:lnTo>
                    <a:pt x="258" y="181"/>
                  </a:lnTo>
                  <a:lnTo>
                    <a:pt x="267" y="170"/>
                  </a:lnTo>
                  <a:lnTo>
                    <a:pt x="270" y="167"/>
                  </a:lnTo>
                  <a:lnTo>
                    <a:pt x="278" y="156"/>
                  </a:lnTo>
                  <a:lnTo>
                    <a:pt x="286" y="143"/>
                  </a:lnTo>
                  <a:lnTo>
                    <a:pt x="288" y="130"/>
                  </a:lnTo>
                  <a:lnTo>
                    <a:pt x="289" y="110"/>
                  </a:lnTo>
                  <a:lnTo>
                    <a:pt x="287" y="100"/>
                  </a:lnTo>
                  <a:lnTo>
                    <a:pt x="287" y="82"/>
                  </a:lnTo>
                  <a:lnTo>
                    <a:pt x="286" y="76"/>
                  </a:lnTo>
                  <a:lnTo>
                    <a:pt x="278" y="67"/>
                  </a:lnTo>
                  <a:lnTo>
                    <a:pt x="274" y="65"/>
                  </a:lnTo>
                  <a:lnTo>
                    <a:pt x="267" y="61"/>
                  </a:lnTo>
                  <a:lnTo>
                    <a:pt x="262" y="56"/>
                  </a:lnTo>
                  <a:lnTo>
                    <a:pt x="260" y="50"/>
                  </a:lnTo>
                  <a:lnTo>
                    <a:pt x="255" y="23"/>
                  </a:lnTo>
                  <a:lnTo>
                    <a:pt x="253" y="21"/>
                  </a:lnTo>
                  <a:lnTo>
                    <a:pt x="251" y="18"/>
                  </a:lnTo>
                  <a:lnTo>
                    <a:pt x="251" y="11"/>
                  </a:lnTo>
                  <a:lnTo>
                    <a:pt x="249" y="9"/>
                  </a:lnTo>
                  <a:lnTo>
                    <a:pt x="237" y="7"/>
                  </a:lnTo>
                  <a:lnTo>
                    <a:pt x="234" y="5"/>
                  </a:lnTo>
                  <a:lnTo>
                    <a:pt x="232" y="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45" name="Rwada"/>
            <p:cNvSpPr>
              <a:spLocks noChangeAspect="1"/>
            </p:cNvSpPr>
            <p:nvPr>
              <p:custDataLst>
                <p:tags r:id="rId44"/>
              </p:custDataLst>
            </p:nvPr>
          </p:nvSpPr>
          <p:spPr bwMode="gray">
            <a:xfrm>
              <a:off x="5197992" y="4655472"/>
              <a:ext cx="49153" cy="44471"/>
            </a:xfrm>
            <a:custGeom>
              <a:avLst/>
              <a:gdLst/>
              <a:ahLst/>
              <a:cxnLst>
                <a:cxn ang="0">
                  <a:pos x="7" y="92"/>
                </a:cxn>
                <a:cxn ang="0">
                  <a:pos x="8" y="92"/>
                </a:cxn>
                <a:cxn ang="0">
                  <a:pos x="8" y="83"/>
                </a:cxn>
                <a:cxn ang="0">
                  <a:pos x="13" y="80"/>
                </a:cxn>
                <a:cxn ang="0">
                  <a:pos x="18" y="80"/>
                </a:cxn>
                <a:cxn ang="0">
                  <a:pos x="20" y="81"/>
                </a:cxn>
                <a:cxn ang="0">
                  <a:pos x="23" y="86"/>
                </a:cxn>
                <a:cxn ang="0">
                  <a:pos x="26" y="95"/>
                </a:cxn>
                <a:cxn ang="0">
                  <a:pos x="29" y="96"/>
                </a:cxn>
                <a:cxn ang="0">
                  <a:pos x="35" y="95"/>
                </a:cxn>
                <a:cxn ang="0">
                  <a:pos x="40" y="92"/>
                </a:cxn>
                <a:cxn ang="0">
                  <a:pos x="48" y="92"/>
                </a:cxn>
                <a:cxn ang="0">
                  <a:pos x="52" y="87"/>
                </a:cxn>
                <a:cxn ang="0">
                  <a:pos x="52" y="79"/>
                </a:cxn>
                <a:cxn ang="0">
                  <a:pos x="53" y="76"/>
                </a:cxn>
                <a:cxn ang="0">
                  <a:pos x="56" y="74"/>
                </a:cxn>
                <a:cxn ang="0">
                  <a:pos x="66" y="74"/>
                </a:cxn>
                <a:cxn ang="0">
                  <a:pos x="78" y="70"/>
                </a:cxn>
                <a:cxn ang="0">
                  <a:pos x="83" y="70"/>
                </a:cxn>
                <a:cxn ang="0">
                  <a:pos x="83" y="71"/>
                </a:cxn>
                <a:cxn ang="0">
                  <a:pos x="88" y="71"/>
                </a:cxn>
                <a:cxn ang="0">
                  <a:pos x="90" y="75"/>
                </a:cxn>
                <a:cxn ang="0">
                  <a:pos x="101" y="60"/>
                </a:cxn>
                <a:cxn ang="0">
                  <a:pos x="104" y="50"/>
                </a:cxn>
                <a:cxn ang="0">
                  <a:pos x="102" y="43"/>
                </a:cxn>
                <a:cxn ang="0">
                  <a:pos x="98" y="28"/>
                </a:cxn>
                <a:cxn ang="0">
                  <a:pos x="85" y="7"/>
                </a:cxn>
                <a:cxn ang="0">
                  <a:pos x="80" y="0"/>
                </a:cxn>
                <a:cxn ang="0">
                  <a:pos x="75" y="4"/>
                </a:cxn>
                <a:cxn ang="0">
                  <a:pos x="68" y="5"/>
                </a:cxn>
                <a:cxn ang="0">
                  <a:pos x="64" y="9"/>
                </a:cxn>
                <a:cxn ang="0">
                  <a:pos x="58" y="20"/>
                </a:cxn>
                <a:cxn ang="0">
                  <a:pos x="50" y="21"/>
                </a:cxn>
                <a:cxn ang="0">
                  <a:pos x="43" y="18"/>
                </a:cxn>
                <a:cxn ang="0">
                  <a:pos x="39" y="15"/>
                </a:cxn>
                <a:cxn ang="0">
                  <a:pos x="36" y="17"/>
                </a:cxn>
                <a:cxn ang="0">
                  <a:pos x="29" y="24"/>
                </a:cxn>
                <a:cxn ang="0">
                  <a:pos x="21" y="36"/>
                </a:cxn>
                <a:cxn ang="0">
                  <a:pos x="14" y="49"/>
                </a:cxn>
                <a:cxn ang="0">
                  <a:pos x="10" y="60"/>
                </a:cxn>
                <a:cxn ang="0">
                  <a:pos x="0" y="74"/>
                </a:cxn>
                <a:cxn ang="0">
                  <a:pos x="0" y="81"/>
                </a:cxn>
                <a:cxn ang="0">
                  <a:pos x="2" y="85"/>
                </a:cxn>
                <a:cxn ang="0">
                  <a:pos x="7" y="92"/>
                </a:cxn>
              </a:cxnLst>
              <a:rect l="0" t="0" r="r" b="b"/>
              <a:pathLst>
                <a:path w="104" h="96">
                  <a:moveTo>
                    <a:pt x="7" y="92"/>
                  </a:moveTo>
                  <a:lnTo>
                    <a:pt x="8" y="92"/>
                  </a:lnTo>
                  <a:lnTo>
                    <a:pt x="8" y="83"/>
                  </a:lnTo>
                  <a:lnTo>
                    <a:pt x="13" y="80"/>
                  </a:lnTo>
                  <a:lnTo>
                    <a:pt x="18" y="80"/>
                  </a:lnTo>
                  <a:lnTo>
                    <a:pt x="20" y="81"/>
                  </a:lnTo>
                  <a:lnTo>
                    <a:pt x="23" y="86"/>
                  </a:lnTo>
                  <a:lnTo>
                    <a:pt x="26" y="95"/>
                  </a:lnTo>
                  <a:lnTo>
                    <a:pt x="29" y="96"/>
                  </a:lnTo>
                  <a:lnTo>
                    <a:pt x="35" y="95"/>
                  </a:lnTo>
                  <a:lnTo>
                    <a:pt x="40" y="92"/>
                  </a:lnTo>
                  <a:lnTo>
                    <a:pt x="48" y="92"/>
                  </a:lnTo>
                  <a:lnTo>
                    <a:pt x="52" y="87"/>
                  </a:lnTo>
                  <a:lnTo>
                    <a:pt x="52" y="79"/>
                  </a:lnTo>
                  <a:lnTo>
                    <a:pt x="53" y="76"/>
                  </a:lnTo>
                  <a:lnTo>
                    <a:pt x="56" y="74"/>
                  </a:lnTo>
                  <a:lnTo>
                    <a:pt x="66" y="74"/>
                  </a:lnTo>
                  <a:lnTo>
                    <a:pt x="78" y="70"/>
                  </a:lnTo>
                  <a:lnTo>
                    <a:pt x="83" y="70"/>
                  </a:lnTo>
                  <a:lnTo>
                    <a:pt x="83" y="71"/>
                  </a:lnTo>
                  <a:lnTo>
                    <a:pt x="88" y="71"/>
                  </a:lnTo>
                  <a:lnTo>
                    <a:pt x="90" y="75"/>
                  </a:lnTo>
                  <a:lnTo>
                    <a:pt x="101" y="60"/>
                  </a:lnTo>
                  <a:lnTo>
                    <a:pt x="104" y="50"/>
                  </a:lnTo>
                  <a:lnTo>
                    <a:pt x="102" y="43"/>
                  </a:lnTo>
                  <a:lnTo>
                    <a:pt x="98" y="28"/>
                  </a:lnTo>
                  <a:lnTo>
                    <a:pt x="85" y="7"/>
                  </a:lnTo>
                  <a:lnTo>
                    <a:pt x="80" y="0"/>
                  </a:lnTo>
                  <a:lnTo>
                    <a:pt x="75" y="4"/>
                  </a:lnTo>
                  <a:lnTo>
                    <a:pt x="68" y="5"/>
                  </a:lnTo>
                  <a:lnTo>
                    <a:pt x="64" y="9"/>
                  </a:lnTo>
                  <a:lnTo>
                    <a:pt x="58" y="20"/>
                  </a:lnTo>
                  <a:lnTo>
                    <a:pt x="50" y="21"/>
                  </a:lnTo>
                  <a:lnTo>
                    <a:pt x="43" y="18"/>
                  </a:lnTo>
                  <a:lnTo>
                    <a:pt x="39" y="15"/>
                  </a:lnTo>
                  <a:lnTo>
                    <a:pt x="36" y="17"/>
                  </a:lnTo>
                  <a:lnTo>
                    <a:pt x="29" y="24"/>
                  </a:lnTo>
                  <a:lnTo>
                    <a:pt x="21" y="36"/>
                  </a:lnTo>
                  <a:lnTo>
                    <a:pt x="14" y="49"/>
                  </a:lnTo>
                  <a:lnTo>
                    <a:pt x="10" y="60"/>
                  </a:lnTo>
                  <a:lnTo>
                    <a:pt x="0" y="74"/>
                  </a:lnTo>
                  <a:lnTo>
                    <a:pt x="0" y="81"/>
                  </a:lnTo>
                  <a:lnTo>
                    <a:pt x="2" y="85"/>
                  </a:lnTo>
                  <a:lnTo>
                    <a:pt x="7" y="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46" name="Kenya"/>
            <p:cNvSpPr>
              <a:spLocks noChangeAspect="1"/>
            </p:cNvSpPr>
            <p:nvPr>
              <p:custDataLst>
                <p:tags r:id="rId45"/>
              </p:custDataLst>
            </p:nvPr>
          </p:nvSpPr>
          <p:spPr bwMode="gray">
            <a:xfrm>
              <a:off x="5324384" y="4510355"/>
              <a:ext cx="203632" cy="236401"/>
            </a:xfrm>
            <a:custGeom>
              <a:avLst/>
              <a:gdLst/>
              <a:ahLst/>
              <a:cxnLst>
                <a:cxn ang="0">
                  <a:pos x="387" y="204"/>
                </a:cxn>
                <a:cxn ang="0">
                  <a:pos x="387" y="98"/>
                </a:cxn>
                <a:cxn ang="0">
                  <a:pos x="412" y="74"/>
                </a:cxn>
                <a:cxn ang="0">
                  <a:pos x="435" y="37"/>
                </a:cxn>
                <a:cxn ang="0">
                  <a:pos x="421" y="37"/>
                </a:cxn>
                <a:cxn ang="0">
                  <a:pos x="374" y="22"/>
                </a:cxn>
                <a:cxn ang="0">
                  <a:pos x="336" y="32"/>
                </a:cxn>
                <a:cxn ang="0">
                  <a:pos x="297" y="60"/>
                </a:cxn>
                <a:cxn ang="0">
                  <a:pos x="250" y="53"/>
                </a:cxn>
                <a:cxn ang="0">
                  <a:pos x="213" y="47"/>
                </a:cxn>
                <a:cxn ang="0">
                  <a:pos x="164" y="12"/>
                </a:cxn>
                <a:cxn ang="0">
                  <a:pos x="132" y="3"/>
                </a:cxn>
                <a:cxn ang="0">
                  <a:pos x="103" y="0"/>
                </a:cxn>
                <a:cxn ang="0">
                  <a:pos x="69" y="3"/>
                </a:cxn>
                <a:cxn ang="0">
                  <a:pos x="28" y="1"/>
                </a:cxn>
                <a:cxn ang="0">
                  <a:pos x="0" y="28"/>
                </a:cxn>
                <a:cxn ang="0">
                  <a:pos x="5" y="32"/>
                </a:cxn>
                <a:cxn ang="0">
                  <a:pos x="19" y="36"/>
                </a:cxn>
                <a:cxn ang="0">
                  <a:pos x="21" y="46"/>
                </a:cxn>
                <a:cxn ang="0">
                  <a:pos x="28" y="75"/>
                </a:cxn>
                <a:cxn ang="0">
                  <a:pos x="35" y="86"/>
                </a:cxn>
                <a:cxn ang="0">
                  <a:pos x="46" y="92"/>
                </a:cxn>
                <a:cxn ang="0">
                  <a:pos x="55" y="107"/>
                </a:cxn>
                <a:cxn ang="0">
                  <a:pos x="57" y="135"/>
                </a:cxn>
                <a:cxn ang="0">
                  <a:pos x="54" y="168"/>
                </a:cxn>
                <a:cxn ang="0">
                  <a:pos x="38" y="192"/>
                </a:cxn>
                <a:cxn ang="0">
                  <a:pos x="26" y="206"/>
                </a:cxn>
                <a:cxn ang="0">
                  <a:pos x="2" y="238"/>
                </a:cxn>
                <a:cxn ang="0">
                  <a:pos x="8" y="263"/>
                </a:cxn>
                <a:cxn ang="0">
                  <a:pos x="18" y="270"/>
                </a:cxn>
                <a:cxn ang="0">
                  <a:pos x="35" y="265"/>
                </a:cxn>
                <a:cxn ang="0">
                  <a:pos x="45" y="270"/>
                </a:cxn>
                <a:cxn ang="0">
                  <a:pos x="26" y="281"/>
                </a:cxn>
                <a:cxn ang="0">
                  <a:pos x="7" y="295"/>
                </a:cxn>
                <a:cxn ang="0">
                  <a:pos x="207" y="415"/>
                </a:cxn>
                <a:cxn ang="0">
                  <a:pos x="210" y="428"/>
                </a:cxn>
                <a:cxn ang="0">
                  <a:pos x="218" y="458"/>
                </a:cxn>
                <a:cxn ang="0">
                  <a:pos x="306" y="499"/>
                </a:cxn>
                <a:cxn ang="0">
                  <a:pos x="314" y="488"/>
                </a:cxn>
                <a:cxn ang="0">
                  <a:pos x="324" y="463"/>
                </a:cxn>
                <a:cxn ang="0">
                  <a:pos x="342" y="429"/>
                </a:cxn>
                <a:cxn ang="0">
                  <a:pos x="352" y="399"/>
                </a:cxn>
                <a:cxn ang="0">
                  <a:pos x="360" y="391"/>
                </a:cxn>
                <a:cxn ang="0">
                  <a:pos x="379" y="376"/>
                </a:cxn>
                <a:cxn ang="0">
                  <a:pos x="388" y="361"/>
                </a:cxn>
                <a:cxn ang="0">
                  <a:pos x="403" y="358"/>
                </a:cxn>
                <a:cxn ang="0">
                  <a:pos x="417" y="340"/>
                </a:cxn>
                <a:cxn ang="0">
                  <a:pos x="393" y="308"/>
                </a:cxn>
                <a:cxn ang="0">
                  <a:pos x="387" y="257"/>
                </a:cxn>
              </a:cxnLst>
              <a:rect l="0" t="0" r="r" b="b"/>
              <a:pathLst>
                <a:path w="435" h="504">
                  <a:moveTo>
                    <a:pt x="387" y="257"/>
                  </a:moveTo>
                  <a:lnTo>
                    <a:pt x="387" y="204"/>
                  </a:lnTo>
                  <a:lnTo>
                    <a:pt x="387" y="151"/>
                  </a:lnTo>
                  <a:lnTo>
                    <a:pt x="387" y="98"/>
                  </a:lnTo>
                  <a:lnTo>
                    <a:pt x="390" y="96"/>
                  </a:lnTo>
                  <a:lnTo>
                    <a:pt x="412" y="74"/>
                  </a:lnTo>
                  <a:lnTo>
                    <a:pt x="433" y="42"/>
                  </a:lnTo>
                  <a:lnTo>
                    <a:pt x="435" y="37"/>
                  </a:lnTo>
                  <a:lnTo>
                    <a:pt x="430" y="38"/>
                  </a:lnTo>
                  <a:lnTo>
                    <a:pt x="421" y="37"/>
                  </a:lnTo>
                  <a:lnTo>
                    <a:pt x="408" y="38"/>
                  </a:lnTo>
                  <a:lnTo>
                    <a:pt x="374" y="22"/>
                  </a:lnTo>
                  <a:lnTo>
                    <a:pt x="355" y="26"/>
                  </a:lnTo>
                  <a:lnTo>
                    <a:pt x="336" y="32"/>
                  </a:lnTo>
                  <a:lnTo>
                    <a:pt x="320" y="48"/>
                  </a:lnTo>
                  <a:lnTo>
                    <a:pt x="297" y="60"/>
                  </a:lnTo>
                  <a:lnTo>
                    <a:pt x="272" y="59"/>
                  </a:lnTo>
                  <a:lnTo>
                    <a:pt x="250" y="53"/>
                  </a:lnTo>
                  <a:lnTo>
                    <a:pt x="233" y="53"/>
                  </a:lnTo>
                  <a:lnTo>
                    <a:pt x="213" y="47"/>
                  </a:lnTo>
                  <a:lnTo>
                    <a:pt x="202" y="34"/>
                  </a:lnTo>
                  <a:lnTo>
                    <a:pt x="164" y="12"/>
                  </a:lnTo>
                  <a:lnTo>
                    <a:pt x="147" y="4"/>
                  </a:lnTo>
                  <a:lnTo>
                    <a:pt x="132" y="3"/>
                  </a:lnTo>
                  <a:lnTo>
                    <a:pt x="116" y="5"/>
                  </a:lnTo>
                  <a:lnTo>
                    <a:pt x="103" y="0"/>
                  </a:lnTo>
                  <a:lnTo>
                    <a:pt x="82" y="3"/>
                  </a:lnTo>
                  <a:lnTo>
                    <a:pt x="69" y="3"/>
                  </a:lnTo>
                  <a:lnTo>
                    <a:pt x="39" y="0"/>
                  </a:lnTo>
                  <a:lnTo>
                    <a:pt x="28" y="1"/>
                  </a:lnTo>
                  <a:lnTo>
                    <a:pt x="16" y="9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5" y="32"/>
                  </a:lnTo>
                  <a:lnTo>
                    <a:pt x="17" y="34"/>
                  </a:lnTo>
                  <a:lnTo>
                    <a:pt x="19" y="36"/>
                  </a:lnTo>
                  <a:lnTo>
                    <a:pt x="19" y="43"/>
                  </a:lnTo>
                  <a:lnTo>
                    <a:pt x="21" y="46"/>
                  </a:lnTo>
                  <a:lnTo>
                    <a:pt x="23" y="48"/>
                  </a:lnTo>
                  <a:lnTo>
                    <a:pt x="28" y="75"/>
                  </a:lnTo>
                  <a:lnTo>
                    <a:pt x="30" y="81"/>
                  </a:lnTo>
                  <a:lnTo>
                    <a:pt x="35" y="86"/>
                  </a:lnTo>
                  <a:lnTo>
                    <a:pt x="42" y="90"/>
                  </a:lnTo>
                  <a:lnTo>
                    <a:pt x="46" y="92"/>
                  </a:lnTo>
                  <a:lnTo>
                    <a:pt x="54" y="101"/>
                  </a:lnTo>
                  <a:lnTo>
                    <a:pt x="55" y="107"/>
                  </a:lnTo>
                  <a:lnTo>
                    <a:pt x="55" y="125"/>
                  </a:lnTo>
                  <a:lnTo>
                    <a:pt x="57" y="135"/>
                  </a:lnTo>
                  <a:lnTo>
                    <a:pt x="56" y="155"/>
                  </a:lnTo>
                  <a:lnTo>
                    <a:pt x="54" y="168"/>
                  </a:lnTo>
                  <a:lnTo>
                    <a:pt x="46" y="181"/>
                  </a:lnTo>
                  <a:lnTo>
                    <a:pt x="38" y="192"/>
                  </a:lnTo>
                  <a:lnTo>
                    <a:pt x="35" y="195"/>
                  </a:lnTo>
                  <a:lnTo>
                    <a:pt x="26" y="206"/>
                  </a:lnTo>
                  <a:lnTo>
                    <a:pt x="8" y="233"/>
                  </a:lnTo>
                  <a:lnTo>
                    <a:pt x="2" y="238"/>
                  </a:lnTo>
                  <a:lnTo>
                    <a:pt x="1" y="253"/>
                  </a:lnTo>
                  <a:lnTo>
                    <a:pt x="8" y="263"/>
                  </a:lnTo>
                  <a:lnTo>
                    <a:pt x="12" y="272"/>
                  </a:lnTo>
                  <a:lnTo>
                    <a:pt x="18" y="270"/>
                  </a:lnTo>
                  <a:lnTo>
                    <a:pt x="26" y="267"/>
                  </a:lnTo>
                  <a:lnTo>
                    <a:pt x="35" y="265"/>
                  </a:lnTo>
                  <a:lnTo>
                    <a:pt x="45" y="265"/>
                  </a:lnTo>
                  <a:lnTo>
                    <a:pt x="45" y="270"/>
                  </a:lnTo>
                  <a:lnTo>
                    <a:pt x="34" y="274"/>
                  </a:lnTo>
                  <a:lnTo>
                    <a:pt x="26" y="281"/>
                  </a:lnTo>
                  <a:lnTo>
                    <a:pt x="14" y="281"/>
                  </a:lnTo>
                  <a:lnTo>
                    <a:pt x="7" y="295"/>
                  </a:lnTo>
                  <a:lnTo>
                    <a:pt x="16" y="303"/>
                  </a:lnTo>
                  <a:lnTo>
                    <a:pt x="207" y="415"/>
                  </a:lnTo>
                  <a:lnTo>
                    <a:pt x="210" y="420"/>
                  </a:lnTo>
                  <a:lnTo>
                    <a:pt x="210" y="428"/>
                  </a:lnTo>
                  <a:lnTo>
                    <a:pt x="215" y="447"/>
                  </a:lnTo>
                  <a:lnTo>
                    <a:pt x="218" y="458"/>
                  </a:lnTo>
                  <a:lnTo>
                    <a:pt x="296" y="504"/>
                  </a:lnTo>
                  <a:lnTo>
                    <a:pt x="306" y="499"/>
                  </a:lnTo>
                  <a:lnTo>
                    <a:pt x="309" y="495"/>
                  </a:lnTo>
                  <a:lnTo>
                    <a:pt x="314" y="488"/>
                  </a:lnTo>
                  <a:lnTo>
                    <a:pt x="318" y="479"/>
                  </a:lnTo>
                  <a:lnTo>
                    <a:pt x="324" y="463"/>
                  </a:lnTo>
                  <a:lnTo>
                    <a:pt x="333" y="450"/>
                  </a:lnTo>
                  <a:lnTo>
                    <a:pt x="342" y="429"/>
                  </a:lnTo>
                  <a:lnTo>
                    <a:pt x="346" y="413"/>
                  </a:lnTo>
                  <a:lnTo>
                    <a:pt x="352" y="399"/>
                  </a:lnTo>
                  <a:lnTo>
                    <a:pt x="357" y="392"/>
                  </a:lnTo>
                  <a:lnTo>
                    <a:pt x="360" y="391"/>
                  </a:lnTo>
                  <a:lnTo>
                    <a:pt x="378" y="382"/>
                  </a:lnTo>
                  <a:lnTo>
                    <a:pt x="379" y="376"/>
                  </a:lnTo>
                  <a:lnTo>
                    <a:pt x="382" y="370"/>
                  </a:lnTo>
                  <a:lnTo>
                    <a:pt x="388" y="361"/>
                  </a:lnTo>
                  <a:lnTo>
                    <a:pt x="394" y="358"/>
                  </a:lnTo>
                  <a:lnTo>
                    <a:pt x="403" y="358"/>
                  </a:lnTo>
                  <a:lnTo>
                    <a:pt x="414" y="346"/>
                  </a:lnTo>
                  <a:lnTo>
                    <a:pt x="417" y="340"/>
                  </a:lnTo>
                  <a:lnTo>
                    <a:pt x="416" y="337"/>
                  </a:lnTo>
                  <a:lnTo>
                    <a:pt x="393" y="308"/>
                  </a:lnTo>
                  <a:lnTo>
                    <a:pt x="387" y="300"/>
                  </a:lnTo>
                  <a:lnTo>
                    <a:pt x="387" y="25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47" name="Senegal"/>
            <p:cNvSpPr>
              <a:spLocks noChangeAspect="1"/>
            </p:cNvSpPr>
            <p:nvPr>
              <p:custDataLst>
                <p:tags r:id="rId46"/>
              </p:custDataLst>
            </p:nvPr>
          </p:nvSpPr>
          <p:spPr bwMode="gray">
            <a:xfrm>
              <a:off x="4004286" y="4196714"/>
              <a:ext cx="159161" cy="114689"/>
            </a:xfrm>
            <a:custGeom>
              <a:avLst/>
              <a:gdLst/>
              <a:ahLst/>
              <a:cxnLst>
                <a:cxn ang="0">
                  <a:pos x="43" y="160"/>
                </a:cxn>
                <a:cxn ang="0">
                  <a:pos x="28" y="129"/>
                </a:cxn>
                <a:cxn ang="0">
                  <a:pos x="7" y="113"/>
                </a:cxn>
                <a:cxn ang="0">
                  <a:pos x="1" y="107"/>
                </a:cxn>
                <a:cxn ang="0">
                  <a:pos x="35" y="86"/>
                </a:cxn>
                <a:cxn ang="0">
                  <a:pos x="56" y="33"/>
                </a:cxn>
                <a:cxn ang="0">
                  <a:pos x="70" y="9"/>
                </a:cxn>
                <a:cxn ang="0">
                  <a:pos x="92" y="9"/>
                </a:cxn>
                <a:cxn ang="0">
                  <a:pos x="122" y="5"/>
                </a:cxn>
                <a:cxn ang="0">
                  <a:pos x="135" y="1"/>
                </a:cxn>
                <a:cxn ang="0">
                  <a:pos x="168" y="2"/>
                </a:cxn>
                <a:cxn ang="0">
                  <a:pos x="183" y="9"/>
                </a:cxn>
                <a:cxn ang="0">
                  <a:pos x="206" y="29"/>
                </a:cxn>
                <a:cxn ang="0">
                  <a:pos x="221" y="29"/>
                </a:cxn>
                <a:cxn ang="0">
                  <a:pos x="238" y="58"/>
                </a:cxn>
                <a:cxn ang="0">
                  <a:pos x="248" y="68"/>
                </a:cxn>
                <a:cxn ang="0">
                  <a:pos x="258" y="75"/>
                </a:cxn>
                <a:cxn ang="0">
                  <a:pos x="261" y="82"/>
                </a:cxn>
                <a:cxn ang="0">
                  <a:pos x="277" y="91"/>
                </a:cxn>
                <a:cxn ang="0">
                  <a:pos x="289" y="103"/>
                </a:cxn>
                <a:cxn ang="0">
                  <a:pos x="297" y="123"/>
                </a:cxn>
                <a:cxn ang="0">
                  <a:pos x="302" y="133"/>
                </a:cxn>
                <a:cxn ang="0">
                  <a:pos x="309" y="156"/>
                </a:cxn>
                <a:cxn ang="0">
                  <a:pos x="313" y="181"/>
                </a:cxn>
                <a:cxn ang="0">
                  <a:pos x="323" y="185"/>
                </a:cxn>
                <a:cxn ang="0">
                  <a:pos x="332" y="197"/>
                </a:cxn>
                <a:cxn ang="0">
                  <a:pos x="342" y="212"/>
                </a:cxn>
                <a:cxn ang="0">
                  <a:pos x="342" y="221"/>
                </a:cxn>
                <a:cxn ang="0">
                  <a:pos x="344" y="238"/>
                </a:cxn>
                <a:cxn ang="0">
                  <a:pos x="321" y="242"/>
                </a:cxn>
                <a:cxn ang="0">
                  <a:pos x="293" y="244"/>
                </a:cxn>
                <a:cxn ang="0">
                  <a:pos x="271" y="239"/>
                </a:cxn>
                <a:cxn ang="0">
                  <a:pos x="255" y="238"/>
                </a:cxn>
                <a:cxn ang="0">
                  <a:pos x="237" y="227"/>
                </a:cxn>
                <a:cxn ang="0">
                  <a:pos x="162" y="224"/>
                </a:cxn>
                <a:cxn ang="0">
                  <a:pos x="111" y="236"/>
                </a:cxn>
                <a:cxn ang="0">
                  <a:pos x="57" y="244"/>
                </a:cxn>
                <a:cxn ang="0">
                  <a:pos x="43" y="242"/>
                </a:cxn>
                <a:cxn ang="0">
                  <a:pos x="47" y="199"/>
                </a:cxn>
                <a:cxn ang="0">
                  <a:pos x="98" y="188"/>
                </a:cxn>
                <a:cxn ang="0">
                  <a:pos x="127" y="183"/>
                </a:cxn>
                <a:cxn ang="0">
                  <a:pos x="143" y="182"/>
                </a:cxn>
                <a:cxn ang="0">
                  <a:pos x="175" y="194"/>
                </a:cxn>
                <a:cxn ang="0">
                  <a:pos x="203" y="189"/>
                </a:cxn>
                <a:cxn ang="0">
                  <a:pos x="206" y="177"/>
                </a:cxn>
                <a:cxn ang="0">
                  <a:pos x="191" y="177"/>
                </a:cxn>
                <a:cxn ang="0">
                  <a:pos x="165" y="172"/>
                </a:cxn>
                <a:cxn ang="0">
                  <a:pos x="140" y="162"/>
                </a:cxn>
                <a:cxn ang="0">
                  <a:pos x="120" y="163"/>
                </a:cxn>
              </a:cxnLst>
              <a:rect l="0" t="0" r="r" b="b"/>
              <a:pathLst>
                <a:path w="344" h="244">
                  <a:moveTo>
                    <a:pt x="55" y="174"/>
                  </a:moveTo>
                  <a:lnTo>
                    <a:pt x="54" y="174"/>
                  </a:lnTo>
                  <a:lnTo>
                    <a:pt x="50" y="168"/>
                  </a:lnTo>
                  <a:lnTo>
                    <a:pt x="43" y="160"/>
                  </a:lnTo>
                  <a:lnTo>
                    <a:pt x="41" y="147"/>
                  </a:lnTo>
                  <a:lnTo>
                    <a:pt x="39" y="144"/>
                  </a:lnTo>
                  <a:lnTo>
                    <a:pt x="33" y="138"/>
                  </a:lnTo>
                  <a:lnTo>
                    <a:pt x="28" y="129"/>
                  </a:lnTo>
                  <a:lnTo>
                    <a:pt x="18" y="119"/>
                  </a:lnTo>
                  <a:lnTo>
                    <a:pt x="14" y="112"/>
                  </a:lnTo>
                  <a:lnTo>
                    <a:pt x="9" y="112"/>
                  </a:lnTo>
                  <a:lnTo>
                    <a:pt x="7" y="113"/>
                  </a:lnTo>
                  <a:lnTo>
                    <a:pt x="4" y="117"/>
                  </a:lnTo>
                  <a:lnTo>
                    <a:pt x="1" y="112"/>
                  </a:lnTo>
                  <a:lnTo>
                    <a:pt x="0" y="109"/>
                  </a:lnTo>
                  <a:lnTo>
                    <a:pt x="1" y="107"/>
                  </a:lnTo>
                  <a:lnTo>
                    <a:pt x="6" y="107"/>
                  </a:lnTo>
                  <a:lnTo>
                    <a:pt x="17" y="103"/>
                  </a:lnTo>
                  <a:lnTo>
                    <a:pt x="31" y="91"/>
                  </a:lnTo>
                  <a:lnTo>
                    <a:pt x="35" y="86"/>
                  </a:lnTo>
                  <a:lnTo>
                    <a:pt x="40" y="77"/>
                  </a:lnTo>
                  <a:lnTo>
                    <a:pt x="55" y="56"/>
                  </a:lnTo>
                  <a:lnTo>
                    <a:pt x="56" y="50"/>
                  </a:lnTo>
                  <a:lnTo>
                    <a:pt x="56" y="33"/>
                  </a:lnTo>
                  <a:lnTo>
                    <a:pt x="57" y="32"/>
                  </a:lnTo>
                  <a:lnTo>
                    <a:pt x="61" y="29"/>
                  </a:lnTo>
                  <a:lnTo>
                    <a:pt x="65" y="22"/>
                  </a:lnTo>
                  <a:lnTo>
                    <a:pt x="70" y="9"/>
                  </a:lnTo>
                  <a:lnTo>
                    <a:pt x="73" y="9"/>
                  </a:lnTo>
                  <a:lnTo>
                    <a:pt x="76" y="7"/>
                  </a:lnTo>
                  <a:lnTo>
                    <a:pt x="83" y="9"/>
                  </a:lnTo>
                  <a:lnTo>
                    <a:pt x="92" y="9"/>
                  </a:lnTo>
                  <a:lnTo>
                    <a:pt x="102" y="11"/>
                  </a:lnTo>
                  <a:lnTo>
                    <a:pt x="109" y="10"/>
                  </a:lnTo>
                  <a:lnTo>
                    <a:pt x="111" y="7"/>
                  </a:lnTo>
                  <a:lnTo>
                    <a:pt x="122" y="5"/>
                  </a:lnTo>
                  <a:lnTo>
                    <a:pt x="131" y="6"/>
                  </a:lnTo>
                  <a:lnTo>
                    <a:pt x="133" y="5"/>
                  </a:lnTo>
                  <a:lnTo>
                    <a:pt x="133" y="1"/>
                  </a:lnTo>
                  <a:lnTo>
                    <a:pt x="135" y="1"/>
                  </a:lnTo>
                  <a:lnTo>
                    <a:pt x="141" y="1"/>
                  </a:lnTo>
                  <a:lnTo>
                    <a:pt x="146" y="0"/>
                  </a:lnTo>
                  <a:lnTo>
                    <a:pt x="152" y="2"/>
                  </a:lnTo>
                  <a:lnTo>
                    <a:pt x="168" y="2"/>
                  </a:lnTo>
                  <a:lnTo>
                    <a:pt x="169" y="4"/>
                  </a:lnTo>
                  <a:lnTo>
                    <a:pt x="174" y="2"/>
                  </a:lnTo>
                  <a:lnTo>
                    <a:pt x="176" y="7"/>
                  </a:lnTo>
                  <a:lnTo>
                    <a:pt x="183" y="9"/>
                  </a:lnTo>
                  <a:lnTo>
                    <a:pt x="194" y="17"/>
                  </a:lnTo>
                  <a:lnTo>
                    <a:pt x="195" y="23"/>
                  </a:lnTo>
                  <a:lnTo>
                    <a:pt x="202" y="31"/>
                  </a:lnTo>
                  <a:lnTo>
                    <a:pt x="206" y="29"/>
                  </a:lnTo>
                  <a:lnTo>
                    <a:pt x="212" y="28"/>
                  </a:lnTo>
                  <a:lnTo>
                    <a:pt x="212" y="32"/>
                  </a:lnTo>
                  <a:lnTo>
                    <a:pt x="216" y="33"/>
                  </a:lnTo>
                  <a:lnTo>
                    <a:pt x="221" y="29"/>
                  </a:lnTo>
                  <a:lnTo>
                    <a:pt x="223" y="29"/>
                  </a:lnTo>
                  <a:lnTo>
                    <a:pt x="233" y="44"/>
                  </a:lnTo>
                  <a:lnTo>
                    <a:pt x="238" y="54"/>
                  </a:lnTo>
                  <a:lnTo>
                    <a:pt x="238" y="58"/>
                  </a:lnTo>
                  <a:lnTo>
                    <a:pt x="242" y="59"/>
                  </a:lnTo>
                  <a:lnTo>
                    <a:pt x="245" y="64"/>
                  </a:lnTo>
                  <a:lnTo>
                    <a:pt x="245" y="66"/>
                  </a:lnTo>
                  <a:lnTo>
                    <a:pt x="248" y="68"/>
                  </a:lnTo>
                  <a:lnTo>
                    <a:pt x="251" y="66"/>
                  </a:lnTo>
                  <a:lnTo>
                    <a:pt x="253" y="66"/>
                  </a:lnTo>
                  <a:lnTo>
                    <a:pt x="255" y="74"/>
                  </a:lnTo>
                  <a:lnTo>
                    <a:pt x="258" y="75"/>
                  </a:lnTo>
                  <a:lnTo>
                    <a:pt x="260" y="79"/>
                  </a:lnTo>
                  <a:lnTo>
                    <a:pt x="256" y="80"/>
                  </a:lnTo>
                  <a:lnTo>
                    <a:pt x="256" y="81"/>
                  </a:lnTo>
                  <a:lnTo>
                    <a:pt x="261" y="82"/>
                  </a:lnTo>
                  <a:lnTo>
                    <a:pt x="264" y="86"/>
                  </a:lnTo>
                  <a:lnTo>
                    <a:pt x="267" y="88"/>
                  </a:lnTo>
                  <a:lnTo>
                    <a:pt x="271" y="88"/>
                  </a:lnTo>
                  <a:lnTo>
                    <a:pt x="277" y="91"/>
                  </a:lnTo>
                  <a:lnTo>
                    <a:pt x="280" y="95"/>
                  </a:lnTo>
                  <a:lnTo>
                    <a:pt x="281" y="99"/>
                  </a:lnTo>
                  <a:lnTo>
                    <a:pt x="283" y="101"/>
                  </a:lnTo>
                  <a:lnTo>
                    <a:pt x="289" y="103"/>
                  </a:lnTo>
                  <a:lnTo>
                    <a:pt x="296" y="109"/>
                  </a:lnTo>
                  <a:lnTo>
                    <a:pt x="298" y="112"/>
                  </a:lnTo>
                  <a:lnTo>
                    <a:pt x="299" y="115"/>
                  </a:lnTo>
                  <a:lnTo>
                    <a:pt x="297" y="123"/>
                  </a:lnTo>
                  <a:lnTo>
                    <a:pt x="297" y="129"/>
                  </a:lnTo>
                  <a:lnTo>
                    <a:pt x="299" y="129"/>
                  </a:lnTo>
                  <a:lnTo>
                    <a:pt x="301" y="133"/>
                  </a:lnTo>
                  <a:lnTo>
                    <a:pt x="302" y="133"/>
                  </a:lnTo>
                  <a:lnTo>
                    <a:pt x="305" y="136"/>
                  </a:lnTo>
                  <a:lnTo>
                    <a:pt x="307" y="144"/>
                  </a:lnTo>
                  <a:lnTo>
                    <a:pt x="307" y="150"/>
                  </a:lnTo>
                  <a:lnTo>
                    <a:pt x="309" y="156"/>
                  </a:lnTo>
                  <a:lnTo>
                    <a:pt x="310" y="160"/>
                  </a:lnTo>
                  <a:lnTo>
                    <a:pt x="305" y="167"/>
                  </a:lnTo>
                  <a:lnTo>
                    <a:pt x="305" y="169"/>
                  </a:lnTo>
                  <a:lnTo>
                    <a:pt x="313" y="181"/>
                  </a:lnTo>
                  <a:lnTo>
                    <a:pt x="315" y="187"/>
                  </a:lnTo>
                  <a:lnTo>
                    <a:pt x="316" y="188"/>
                  </a:lnTo>
                  <a:lnTo>
                    <a:pt x="320" y="188"/>
                  </a:lnTo>
                  <a:lnTo>
                    <a:pt x="323" y="185"/>
                  </a:lnTo>
                  <a:lnTo>
                    <a:pt x="328" y="185"/>
                  </a:lnTo>
                  <a:lnTo>
                    <a:pt x="328" y="189"/>
                  </a:lnTo>
                  <a:lnTo>
                    <a:pt x="331" y="193"/>
                  </a:lnTo>
                  <a:lnTo>
                    <a:pt x="332" y="197"/>
                  </a:lnTo>
                  <a:lnTo>
                    <a:pt x="335" y="199"/>
                  </a:lnTo>
                  <a:lnTo>
                    <a:pt x="337" y="204"/>
                  </a:lnTo>
                  <a:lnTo>
                    <a:pt x="341" y="209"/>
                  </a:lnTo>
                  <a:lnTo>
                    <a:pt x="342" y="212"/>
                  </a:lnTo>
                  <a:lnTo>
                    <a:pt x="341" y="212"/>
                  </a:lnTo>
                  <a:lnTo>
                    <a:pt x="340" y="214"/>
                  </a:lnTo>
                  <a:lnTo>
                    <a:pt x="342" y="217"/>
                  </a:lnTo>
                  <a:lnTo>
                    <a:pt x="342" y="221"/>
                  </a:lnTo>
                  <a:lnTo>
                    <a:pt x="339" y="225"/>
                  </a:lnTo>
                  <a:lnTo>
                    <a:pt x="340" y="232"/>
                  </a:lnTo>
                  <a:lnTo>
                    <a:pt x="344" y="236"/>
                  </a:lnTo>
                  <a:lnTo>
                    <a:pt x="344" y="238"/>
                  </a:lnTo>
                  <a:lnTo>
                    <a:pt x="341" y="239"/>
                  </a:lnTo>
                  <a:lnTo>
                    <a:pt x="331" y="239"/>
                  </a:lnTo>
                  <a:lnTo>
                    <a:pt x="325" y="242"/>
                  </a:lnTo>
                  <a:lnTo>
                    <a:pt x="321" y="242"/>
                  </a:lnTo>
                  <a:lnTo>
                    <a:pt x="310" y="241"/>
                  </a:lnTo>
                  <a:lnTo>
                    <a:pt x="308" y="242"/>
                  </a:lnTo>
                  <a:lnTo>
                    <a:pt x="301" y="242"/>
                  </a:lnTo>
                  <a:lnTo>
                    <a:pt x="293" y="244"/>
                  </a:lnTo>
                  <a:lnTo>
                    <a:pt x="287" y="244"/>
                  </a:lnTo>
                  <a:lnTo>
                    <a:pt x="282" y="242"/>
                  </a:lnTo>
                  <a:lnTo>
                    <a:pt x="278" y="242"/>
                  </a:lnTo>
                  <a:lnTo>
                    <a:pt x="271" y="239"/>
                  </a:lnTo>
                  <a:lnTo>
                    <a:pt x="264" y="239"/>
                  </a:lnTo>
                  <a:lnTo>
                    <a:pt x="258" y="233"/>
                  </a:lnTo>
                  <a:lnTo>
                    <a:pt x="255" y="235"/>
                  </a:lnTo>
                  <a:lnTo>
                    <a:pt x="255" y="238"/>
                  </a:lnTo>
                  <a:lnTo>
                    <a:pt x="248" y="237"/>
                  </a:lnTo>
                  <a:lnTo>
                    <a:pt x="248" y="231"/>
                  </a:lnTo>
                  <a:lnTo>
                    <a:pt x="245" y="228"/>
                  </a:lnTo>
                  <a:lnTo>
                    <a:pt x="237" y="227"/>
                  </a:lnTo>
                  <a:lnTo>
                    <a:pt x="231" y="228"/>
                  </a:lnTo>
                  <a:lnTo>
                    <a:pt x="226" y="225"/>
                  </a:lnTo>
                  <a:lnTo>
                    <a:pt x="212" y="224"/>
                  </a:lnTo>
                  <a:lnTo>
                    <a:pt x="162" y="224"/>
                  </a:lnTo>
                  <a:lnTo>
                    <a:pt x="159" y="225"/>
                  </a:lnTo>
                  <a:lnTo>
                    <a:pt x="135" y="225"/>
                  </a:lnTo>
                  <a:lnTo>
                    <a:pt x="122" y="231"/>
                  </a:lnTo>
                  <a:lnTo>
                    <a:pt x="111" y="236"/>
                  </a:lnTo>
                  <a:lnTo>
                    <a:pt x="102" y="238"/>
                  </a:lnTo>
                  <a:lnTo>
                    <a:pt x="72" y="237"/>
                  </a:lnTo>
                  <a:lnTo>
                    <a:pt x="68" y="239"/>
                  </a:lnTo>
                  <a:lnTo>
                    <a:pt x="57" y="244"/>
                  </a:lnTo>
                  <a:lnTo>
                    <a:pt x="50" y="244"/>
                  </a:lnTo>
                  <a:lnTo>
                    <a:pt x="46" y="243"/>
                  </a:lnTo>
                  <a:lnTo>
                    <a:pt x="45" y="241"/>
                  </a:lnTo>
                  <a:lnTo>
                    <a:pt x="43" y="242"/>
                  </a:lnTo>
                  <a:lnTo>
                    <a:pt x="44" y="241"/>
                  </a:lnTo>
                  <a:lnTo>
                    <a:pt x="41" y="239"/>
                  </a:lnTo>
                  <a:lnTo>
                    <a:pt x="43" y="205"/>
                  </a:lnTo>
                  <a:lnTo>
                    <a:pt x="47" y="199"/>
                  </a:lnTo>
                  <a:lnTo>
                    <a:pt x="86" y="195"/>
                  </a:lnTo>
                  <a:lnTo>
                    <a:pt x="94" y="195"/>
                  </a:lnTo>
                  <a:lnTo>
                    <a:pt x="95" y="195"/>
                  </a:lnTo>
                  <a:lnTo>
                    <a:pt x="98" y="188"/>
                  </a:lnTo>
                  <a:lnTo>
                    <a:pt x="103" y="187"/>
                  </a:lnTo>
                  <a:lnTo>
                    <a:pt x="106" y="188"/>
                  </a:lnTo>
                  <a:lnTo>
                    <a:pt x="119" y="187"/>
                  </a:lnTo>
                  <a:lnTo>
                    <a:pt x="127" y="183"/>
                  </a:lnTo>
                  <a:lnTo>
                    <a:pt x="131" y="178"/>
                  </a:lnTo>
                  <a:lnTo>
                    <a:pt x="133" y="177"/>
                  </a:lnTo>
                  <a:lnTo>
                    <a:pt x="140" y="178"/>
                  </a:lnTo>
                  <a:lnTo>
                    <a:pt x="143" y="182"/>
                  </a:lnTo>
                  <a:lnTo>
                    <a:pt x="151" y="184"/>
                  </a:lnTo>
                  <a:lnTo>
                    <a:pt x="159" y="189"/>
                  </a:lnTo>
                  <a:lnTo>
                    <a:pt x="167" y="190"/>
                  </a:lnTo>
                  <a:lnTo>
                    <a:pt x="175" y="194"/>
                  </a:lnTo>
                  <a:lnTo>
                    <a:pt x="183" y="194"/>
                  </a:lnTo>
                  <a:lnTo>
                    <a:pt x="185" y="195"/>
                  </a:lnTo>
                  <a:lnTo>
                    <a:pt x="191" y="192"/>
                  </a:lnTo>
                  <a:lnTo>
                    <a:pt x="203" y="189"/>
                  </a:lnTo>
                  <a:lnTo>
                    <a:pt x="207" y="185"/>
                  </a:lnTo>
                  <a:lnTo>
                    <a:pt x="207" y="182"/>
                  </a:lnTo>
                  <a:lnTo>
                    <a:pt x="207" y="177"/>
                  </a:lnTo>
                  <a:lnTo>
                    <a:pt x="206" y="177"/>
                  </a:lnTo>
                  <a:lnTo>
                    <a:pt x="203" y="177"/>
                  </a:lnTo>
                  <a:lnTo>
                    <a:pt x="200" y="176"/>
                  </a:lnTo>
                  <a:lnTo>
                    <a:pt x="195" y="176"/>
                  </a:lnTo>
                  <a:lnTo>
                    <a:pt x="191" y="177"/>
                  </a:lnTo>
                  <a:lnTo>
                    <a:pt x="180" y="182"/>
                  </a:lnTo>
                  <a:lnTo>
                    <a:pt x="175" y="181"/>
                  </a:lnTo>
                  <a:lnTo>
                    <a:pt x="169" y="178"/>
                  </a:lnTo>
                  <a:lnTo>
                    <a:pt x="165" y="172"/>
                  </a:lnTo>
                  <a:lnTo>
                    <a:pt x="164" y="171"/>
                  </a:lnTo>
                  <a:lnTo>
                    <a:pt x="152" y="171"/>
                  </a:lnTo>
                  <a:lnTo>
                    <a:pt x="146" y="163"/>
                  </a:lnTo>
                  <a:lnTo>
                    <a:pt x="140" y="162"/>
                  </a:lnTo>
                  <a:lnTo>
                    <a:pt x="137" y="161"/>
                  </a:lnTo>
                  <a:lnTo>
                    <a:pt x="131" y="162"/>
                  </a:lnTo>
                  <a:lnTo>
                    <a:pt x="126" y="165"/>
                  </a:lnTo>
                  <a:lnTo>
                    <a:pt x="120" y="163"/>
                  </a:lnTo>
                  <a:lnTo>
                    <a:pt x="115" y="168"/>
                  </a:lnTo>
                  <a:lnTo>
                    <a:pt x="111" y="174"/>
                  </a:lnTo>
                  <a:lnTo>
                    <a:pt x="55" y="17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48" name="Tanzania (United Republic)"/>
            <p:cNvSpPr>
              <a:spLocks noChangeAspect="1"/>
            </p:cNvSpPr>
            <p:nvPr>
              <p:custDataLst>
                <p:tags r:id="rId47"/>
              </p:custDataLst>
            </p:nvPr>
          </p:nvSpPr>
          <p:spPr bwMode="gray">
            <a:xfrm>
              <a:off x="5214376" y="4653131"/>
              <a:ext cx="280872" cy="276191"/>
            </a:xfrm>
            <a:custGeom>
              <a:avLst/>
              <a:gdLst/>
              <a:ahLst/>
              <a:cxnLst>
                <a:cxn ang="0">
                  <a:pos x="450" y="144"/>
                </a:cxn>
                <a:cxn ang="0">
                  <a:pos x="521" y="238"/>
                </a:cxn>
                <a:cxn ang="0">
                  <a:pos x="505" y="292"/>
                </a:cxn>
                <a:cxn ang="0">
                  <a:pos x="538" y="325"/>
                </a:cxn>
                <a:cxn ang="0">
                  <a:pos x="537" y="349"/>
                </a:cxn>
                <a:cxn ang="0">
                  <a:pos x="536" y="380"/>
                </a:cxn>
                <a:cxn ang="0">
                  <a:pos x="528" y="402"/>
                </a:cxn>
                <a:cxn ang="0">
                  <a:pos x="542" y="432"/>
                </a:cxn>
                <a:cxn ang="0">
                  <a:pos x="550" y="467"/>
                </a:cxn>
                <a:cxn ang="0">
                  <a:pos x="561" y="488"/>
                </a:cxn>
                <a:cxn ang="0">
                  <a:pos x="587" y="514"/>
                </a:cxn>
                <a:cxn ang="0">
                  <a:pos x="593" y="526"/>
                </a:cxn>
                <a:cxn ang="0">
                  <a:pos x="541" y="557"/>
                </a:cxn>
                <a:cxn ang="0">
                  <a:pos x="476" y="564"/>
                </a:cxn>
                <a:cxn ang="0">
                  <a:pos x="436" y="583"/>
                </a:cxn>
                <a:cxn ang="0">
                  <a:pos x="378" y="589"/>
                </a:cxn>
                <a:cxn ang="0">
                  <a:pos x="355" y="580"/>
                </a:cxn>
                <a:cxn ang="0">
                  <a:pos x="331" y="584"/>
                </a:cxn>
                <a:cxn ang="0">
                  <a:pos x="280" y="567"/>
                </a:cxn>
                <a:cxn ang="0">
                  <a:pos x="270" y="531"/>
                </a:cxn>
                <a:cxn ang="0">
                  <a:pos x="249" y="476"/>
                </a:cxn>
                <a:cxn ang="0">
                  <a:pos x="229" y="473"/>
                </a:cxn>
                <a:cxn ang="0">
                  <a:pos x="208" y="475"/>
                </a:cxn>
                <a:cxn ang="0">
                  <a:pos x="178" y="459"/>
                </a:cxn>
                <a:cxn ang="0">
                  <a:pos x="125" y="440"/>
                </a:cxn>
                <a:cxn ang="0">
                  <a:pos x="95" y="418"/>
                </a:cxn>
                <a:cxn ang="0">
                  <a:pos x="65" y="386"/>
                </a:cxn>
                <a:cxn ang="0">
                  <a:pos x="49" y="328"/>
                </a:cxn>
                <a:cxn ang="0">
                  <a:pos x="11" y="278"/>
                </a:cxn>
                <a:cxn ang="0">
                  <a:pos x="9" y="231"/>
                </a:cxn>
                <a:cxn ang="0">
                  <a:pos x="0" y="187"/>
                </a:cxn>
                <a:cxn ang="0">
                  <a:pos x="39" y="159"/>
                </a:cxn>
                <a:cxn ang="0">
                  <a:pos x="64" y="121"/>
                </a:cxn>
                <a:cxn ang="0">
                  <a:pos x="52" y="102"/>
                </a:cxn>
                <a:cxn ang="0">
                  <a:pos x="49" y="83"/>
                </a:cxn>
                <a:cxn ang="0">
                  <a:pos x="66" y="46"/>
                </a:cxn>
                <a:cxn ang="0">
                  <a:pos x="66" y="5"/>
                </a:cxn>
                <a:cxn ang="0">
                  <a:pos x="119" y="7"/>
                </a:cxn>
                <a:cxn ang="0">
                  <a:pos x="118" y="83"/>
                </a:cxn>
                <a:cxn ang="0">
                  <a:pos x="133" y="88"/>
                </a:cxn>
                <a:cxn ang="0">
                  <a:pos x="148" y="75"/>
                </a:cxn>
                <a:cxn ang="0">
                  <a:pos x="173" y="86"/>
                </a:cxn>
                <a:cxn ang="0">
                  <a:pos x="186" y="84"/>
                </a:cxn>
                <a:cxn ang="0">
                  <a:pos x="214" y="79"/>
                </a:cxn>
                <a:cxn ang="0">
                  <a:pos x="209" y="66"/>
                </a:cxn>
                <a:cxn ang="0">
                  <a:pos x="209" y="48"/>
                </a:cxn>
                <a:cxn ang="0">
                  <a:pos x="225" y="35"/>
                </a:cxn>
                <a:cxn ang="0">
                  <a:pos x="238" y="21"/>
                </a:cxn>
                <a:cxn ang="0">
                  <a:pos x="251" y="0"/>
                </a:cxn>
              </a:cxnLst>
              <a:rect l="0" t="0" r="r" b="b"/>
              <a:pathLst>
                <a:path w="596" h="591">
                  <a:moveTo>
                    <a:pt x="442" y="112"/>
                  </a:moveTo>
                  <a:lnTo>
                    <a:pt x="445" y="117"/>
                  </a:lnTo>
                  <a:lnTo>
                    <a:pt x="445" y="125"/>
                  </a:lnTo>
                  <a:lnTo>
                    <a:pt x="450" y="144"/>
                  </a:lnTo>
                  <a:lnTo>
                    <a:pt x="453" y="155"/>
                  </a:lnTo>
                  <a:lnTo>
                    <a:pt x="531" y="201"/>
                  </a:lnTo>
                  <a:lnTo>
                    <a:pt x="528" y="207"/>
                  </a:lnTo>
                  <a:lnTo>
                    <a:pt x="521" y="238"/>
                  </a:lnTo>
                  <a:lnTo>
                    <a:pt x="517" y="244"/>
                  </a:lnTo>
                  <a:lnTo>
                    <a:pt x="514" y="256"/>
                  </a:lnTo>
                  <a:lnTo>
                    <a:pt x="504" y="281"/>
                  </a:lnTo>
                  <a:lnTo>
                    <a:pt x="505" y="292"/>
                  </a:lnTo>
                  <a:lnTo>
                    <a:pt x="507" y="298"/>
                  </a:lnTo>
                  <a:lnTo>
                    <a:pt x="523" y="309"/>
                  </a:lnTo>
                  <a:lnTo>
                    <a:pt x="530" y="317"/>
                  </a:lnTo>
                  <a:lnTo>
                    <a:pt x="538" y="325"/>
                  </a:lnTo>
                  <a:lnTo>
                    <a:pt x="544" y="336"/>
                  </a:lnTo>
                  <a:lnTo>
                    <a:pt x="544" y="341"/>
                  </a:lnTo>
                  <a:lnTo>
                    <a:pt x="542" y="342"/>
                  </a:lnTo>
                  <a:lnTo>
                    <a:pt x="537" y="349"/>
                  </a:lnTo>
                  <a:lnTo>
                    <a:pt x="536" y="362"/>
                  </a:lnTo>
                  <a:lnTo>
                    <a:pt x="533" y="368"/>
                  </a:lnTo>
                  <a:lnTo>
                    <a:pt x="537" y="374"/>
                  </a:lnTo>
                  <a:lnTo>
                    <a:pt x="536" y="380"/>
                  </a:lnTo>
                  <a:lnTo>
                    <a:pt x="538" y="385"/>
                  </a:lnTo>
                  <a:lnTo>
                    <a:pt x="537" y="395"/>
                  </a:lnTo>
                  <a:lnTo>
                    <a:pt x="531" y="395"/>
                  </a:lnTo>
                  <a:lnTo>
                    <a:pt x="528" y="402"/>
                  </a:lnTo>
                  <a:lnTo>
                    <a:pt x="531" y="412"/>
                  </a:lnTo>
                  <a:lnTo>
                    <a:pt x="537" y="425"/>
                  </a:lnTo>
                  <a:lnTo>
                    <a:pt x="542" y="429"/>
                  </a:lnTo>
                  <a:lnTo>
                    <a:pt x="542" y="432"/>
                  </a:lnTo>
                  <a:lnTo>
                    <a:pt x="538" y="435"/>
                  </a:lnTo>
                  <a:lnTo>
                    <a:pt x="550" y="455"/>
                  </a:lnTo>
                  <a:lnTo>
                    <a:pt x="552" y="460"/>
                  </a:lnTo>
                  <a:lnTo>
                    <a:pt x="550" y="467"/>
                  </a:lnTo>
                  <a:lnTo>
                    <a:pt x="555" y="472"/>
                  </a:lnTo>
                  <a:lnTo>
                    <a:pt x="558" y="478"/>
                  </a:lnTo>
                  <a:lnTo>
                    <a:pt x="558" y="484"/>
                  </a:lnTo>
                  <a:lnTo>
                    <a:pt x="561" y="488"/>
                  </a:lnTo>
                  <a:lnTo>
                    <a:pt x="561" y="497"/>
                  </a:lnTo>
                  <a:lnTo>
                    <a:pt x="573" y="503"/>
                  </a:lnTo>
                  <a:lnTo>
                    <a:pt x="577" y="513"/>
                  </a:lnTo>
                  <a:lnTo>
                    <a:pt x="587" y="514"/>
                  </a:lnTo>
                  <a:lnTo>
                    <a:pt x="592" y="518"/>
                  </a:lnTo>
                  <a:lnTo>
                    <a:pt x="595" y="519"/>
                  </a:lnTo>
                  <a:lnTo>
                    <a:pt x="596" y="525"/>
                  </a:lnTo>
                  <a:lnTo>
                    <a:pt x="593" y="526"/>
                  </a:lnTo>
                  <a:lnTo>
                    <a:pt x="579" y="536"/>
                  </a:lnTo>
                  <a:lnTo>
                    <a:pt x="564" y="550"/>
                  </a:lnTo>
                  <a:lnTo>
                    <a:pt x="560" y="552"/>
                  </a:lnTo>
                  <a:lnTo>
                    <a:pt x="541" y="557"/>
                  </a:lnTo>
                  <a:lnTo>
                    <a:pt x="507" y="569"/>
                  </a:lnTo>
                  <a:lnTo>
                    <a:pt x="499" y="570"/>
                  </a:lnTo>
                  <a:lnTo>
                    <a:pt x="489" y="570"/>
                  </a:lnTo>
                  <a:lnTo>
                    <a:pt x="476" y="564"/>
                  </a:lnTo>
                  <a:lnTo>
                    <a:pt x="467" y="567"/>
                  </a:lnTo>
                  <a:lnTo>
                    <a:pt x="453" y="568"/>
                  </a:lnTo>
                  <a:lnTo>
                    <a:pt x="440" y="581"/>
                  </a:lnTo>
                  <a:lnTo>
                    <a:pt x="436" y="583"/>
                  </a:lnTo>
                  <a:lnTo>
                    <a:pt x="429" y="583"/>
                  </a:lnTo>
                  <a:lnTo>
                    <a:pt x="398" y="581"/>
                  </a:lnTo>
                  <a:lnTo>
                    <a:pt x="387" y="589"/>
                  </a:lnTo>
                  <a:lnTo>
                    <a:pt x="378" y="589"/>
                  </a:lnTo>
                  <a:lnTo>
                    <a:pt x="371" y="591"/>
                  </a:lnTo>
                  <a:lnTo>
                    <a:pt x="366" y="590"/>
                  </a:lnTo>
                  <a:lnTo>
                    <a:pt x="361" y="588"/>
                  </a:lnTo>
                  <a:lnTo>
                    <a:pt x="355" y="580"/>
                  </a:lnTo>
                  <a:lnTo>
                    <a:pt x="348" y="578"/>
                  </a:lnTo>
                  <a:lnTo>
                    <a:pt x="340" y="578"/>
                  </a:lnTo>
                  <a:lnTo>
                    <a:pt x="334" y="583"/>
                  </a:lnTo>
                  <a:lnTo>
                    <a:pt x="331" y="584"/>
                  </a:lnTo>
                  <a:lnTo>
                    <a:pt x="290" y="583"/>
                  </a:lnTo>
                  <a:lnTo>
                    <a:pt x="290" y="579"/>
                  </a:lnTo>
                  <a:lnTo>
                    <a:pt x="285" y="570"/>
                  </a:lnTo>
                  <a:lnTo>
                    <a:pt x="280" y="567"/>
                  </a:lnTo>
                  <a:lnTo>
                    <a:pt x="275" y="559"/>
                  </a:lnTo>
                  <a:lnTo>
                    <a:pt x="274" y="557"/>
                  </a:lnTo>
                  <a:lnTo>
                    <a:pt x="275" y="538"/>
                  </a:lnTo>
                  <a:lnTo>
                    <a:pt x="270" y="531"/>
                  </a:lnTo>
                  <a:lnTo>
                    <a:pt x="269" y="513"/>
                  </a:lnTo>
                  <a:lnTo>
                    <a:pt x="264" y="494"/>
                  </a:lnTo>
                  <a:lnTo>
                    <a:pt x="261" y="487"/>
                  </a:lnTo>
                  <a:lnTo>
                    <a:pt x="249" y="476"/>
                  </a:lnTo>
                  <a:lnTo>
                    <a:pt x="237" y="472"/>
                  </a:lnTo>
                  <a:lnTo>
                    <a:pt x="232" y="480"/>
                  </a:lnTo>
                  <a:lnTo>
                    <a:pt x="230" y="476"/>
                  </a:lnTo>
                  <a:lnTo>
                    <a:pt x="229" y="473"/>
                  </a:lnTo>
                  <a:lnTo>
                    <a:pt x="226" y="472"/>
                  </a:lnTo>
                  <a:lnTo>
                    <a:pt x="221" y="472"/>
                  </a:lnTo>
                  <a:lnTo>
                    <a:pt x="210" y="476"/>
                  </a:lnTo>
                  <a:lnTo>
                    <a:pt x="208" y="475"/>
                  </a:lnTo>
                  <a:lnTo>
                    <a:pt x="203" y="468"/>
                  </a:lnTo>
                  <a:lnTo>
                    <a:pt x="193" y="470"/>
                  </a:lnTo>
                  <a:lnTo>
                    <a:pt x="182" y="462"/>
                  </a:lnTo>
                  <a:lnTo>
                    <a:pt x="178" y="459"/>
                  </a:lnTo>
                  <a:lnTo>
                    <a:pt x="176" y="456"/>
                  </a:lnTo>
                  <a:lnTo>
                    <a:pt x="165" y="456"/>
                  </a:lnTo>
                  <a:lnTo>
                    <a:pt x="154" y="452"/>
                  </a:lnTo>
                  <a:lnTo>
                    <a:pt x="125" y="440"/>
                  </a:lnTo>
                  <a:lnTo>
                    <a:pt x="117" y="438"/>
                  </a:lnTo>
                  <a:lnTo>
                    <a:pt x="109" y="434"/>
                  </a:lnTo>
                  <a:lnTo>
                    <a:pt x="105" y="427"/>
                  </a:lnTo>
                  <a:lnTo>
                    <a:pt x="95" y="418"/>
                  </a:lnTo>
                  <a:lnTo>
                    <a:pt x="87" y="416"/>
                  </a:lnTo>
                  <a:lnTo>
                    <a:pt x="81" y="417"/>
                  </a:lnTo>
                  <a:lnTo>
                    <a:pt x="70" y="398"/>
                  </a:lnTo>
                  <a:lnTo>
                    <a:pt x="65" y="386"/>
                  </a:lnTo>
                  <a:lnTo>
                    <a:pt x="58" y="374"/>
                  </a:lnTo>
                  <a:lnTo>
                    <a:pt x="49" y="352"/>
                  </a:lnTo>
                  <a:lnTo>
                    <a:pt x="50" y="338"/>
                  </a:lnTo>
                  <a:lnTo>
                    <a:pt x="49" y="328"/>
                  </a:lnTo>
                  <a:lnTo>
                    <a:pt x="31" y="310"/>
                  </a:lnTo>
                  <a:lnTo>
                    <a:pt x="9" y="298"/>
                  </a:lnTo>
                  <a:lnTo>
                    <a:pt x="6" y="284"/>
                  </a:lnTo>
                  <a:lnTo>
                    <a:pt x="11" y="278"/>
                  </a:lnTo>
                  <a:lnTo>
                    <a:pt x="15" y="272"/>
                  </a:lnTo>
                  <a:lnTo>
                    <a:pt x="11" y="258"/>
                  </a:lnTo>
                  <a:lnTo>
                    <a:pt x="9" y="246"/>
                  </a:lnTo>
                  <a:lnTo>
                    <a:pt x="9" y="231"/>
                  </a:lnTo>
                  <a:lnTo>
                    <a:pt x="5" y="225"/>
                  </a:lnTo>
                  <a:lnTo>
                    <a:pt x="1" y="222"/>
                  </a:lnTo>
                  <a:lnTo>
                    <a:pt x="0" y="206"/>
                  </a:lnTo>
                  <a:lnTo>
                    <a:pt x="0" y="187"/>
                  </a:lnTo>
                  <a:lnTo>
                    <a:pt x="3" y="186"/>
                  </a:lnTo>
                  <a:lnTo>
                    <a:pt x="14" y="183"/>
                  </a:lnTo>
                  <a:lnTo>
                    <a:pt x="28" y="179"/>
                  </a:lnTo>
                  <a:lnTo>
                    <a:pt x="39" y="159"/>
                  </a:lnTo>
                  <a:lnTo>
                    <a:pt x="44" y="153"/>
                  </a:lnTo>
                  <a:lnTo>
                    <a:pt x="50" y="139"/>
                  </a:lnTo>
                  <a:lnTo>
                    <a:pt x="60" y="127"/>
                  </a:lnTo>
                  <a:lnTo>
                    <a:pt x="64" y="121"/>
                  </a:lnTo>
                  <a:lnTo>
                    <a:pt x="64" y="113"/>
                  </a:lnTo>
                  <a:lnTo>
                    <a:pt x="62" y="107"/>
                  </a:lnTo>
                  <a:lnTo>
                    <a:pt x="58" y="104"/>
                  </a:lnTo>
                  <a:lnTo>
                    <a:pt x="52" y="102"/>
                  </a:lnTo>
                  <a:lnTo>
                    <a:pt x="48" y="99"/>
                  </a:lnTo>
                  <a:lnTo>
                    <a:pt x="48" y="95"/>
                  </a:lnTo>
                  <a:lnTo>
                    <a:pt x="48" y="89"/>
                  </a:lnTo>
                  <a:lnTo>
                    <a:pt x="49" y="83"/>
                  </a:lnTo>
                  <a:lnTo>
                    <a:pt x="54" y="78"/>
                  </a:lnTo>
                  <a:lnTo>
                    <a:pt x="65" y="63"/>
                  </a:lnTo>
                  <a:lnTo>
                    <a:pt x="68" y="53"/>
                  </a:lnTo>
                  <a:lnTo>
                    <a:pt x="66" y="46"/>
                  </a:lnTo>
                  <a:lnTo>
                    <a:pt x="62" y="31"/>
                  </a:lnTo>
                  <a:lnTo>
                    <a:pt x="49" y="10"/>
                  </a:lnTo>
                  <a:lnTo>
                    <a:pt x="44" y="3"/>
                  </a:lnTo>
                  <a:lnTo>
                    <a:pt x="66" y="5"/>
                  </a:lnTo>
                  <a:lnTo>
                    <a:pt x="73" y="2"/>
                  </a:lnTo>
                  <a:lnTo>
                    <a:pt x="73" y="0"/>
                  </a:lnTo>
                  <a:lnTo>
                    <a:pt x="118" y="0"/>
                  </a:lnTo>
                  <a:lnTo>
                    <a:pt x="119" y="7"/>
                  </a:lnTo>
                  <a:lnTo>
                    <a:pt x="118" y="26"/>
                  </a:lnTo>
                  <a:lnTo>
                    <a:pt x="114" y="40"/>
                  </a:lnTo>
                  <a:lnTo>
                    <a:pt x="113" y="61"/>
                  </a:lnTo>
                  <a:lnTo>
                    <a:pt x="118" y="83"/>
                  </a:lnTo>
                  <a:lnTo>
                    <a:pt x="117" y="90"/>
                  </a:lnTo>
                  <a:lnTo>
                    <a:pt x="122" y="99"/>
                  </a:lnTo>
                  <a:lnTo>
                    <a:pt x="129" y="95"/>
                  </a:lnTo>
                  <a:lnTo>
                    <a:pt x="133" y="88"/>
                  </a:lnTo>
                  <a:lnTo>
                    <a:pt x="139" y="86"/>
                  </a:lnTo>
                  <a:lnTo>
                    <a:pt x="138" y="78"/>
                  </a:lnTo>
                  <a:lnTo>
                    <a:pt x="143" y="72"/>
                  </a:lnTo>
                  <a:lnTo>
                    <a:pt x="148" y="75"/>
                  </a:lnTo>
                  <a:lnTo>
                    <a:pt x="157" y="85"/>
                  </a:lnTo>
                  <a:lnTo>
                    <a:pt x="163" y="90"/>
                  </a:lnTo>
                  <a:lnTo>
                    <a:pt x="170" y="86"/>
                  </a:lnTo>
                  <a:lnTo>
                    <a:pt x="173" y="86"/>
                  </a:lnTo>
                  <a:lnTo>
                    <a:pt x="176" y="107"/>
                  </a:lnTo>
                  <a:lnTo>
                    <a:pt x="183" y="101"/>
                  </a:lnTo>
                  <a:lnTo>
                    <a:pt x="182" y="94"/>
                  </a:lnTo>
                  <a:lnTo>
                    <a:pt x="186" y="84"/>
                  </a:lnTo>
                  <a:lnTo>
                    <a:pt x="189" y="83"/>
                  </a:lnTo>
                  <a:lnTo>
                    <a:pt x="200" y="83"/>
                  </a:lnTo>
                  <a:lnTo>
                    <a:pt x="205" y="83"/>
                  </a:lnTo>
                  <a:lnTo>
                    <a:pt x="214" y="79"/>
                  </a:lnTo>
                  <a:lnTo>
                    <a:pt x="225" y="72"/>
                  </a:lnTo>
                  <a:lnTo>
                    <a:pt x="226" y="69"/>
                  </a:lnTo>
                  <a:lnTo>
                    <a:pt x="224" y="64"/>
                  </a:lnTo>
                  <a:lnTo>
                    <a:pt x="209" y="66"/>
                  </a:lnTo>
                  <a:lnTo>
                    <a:pt x="200" y="62"/>
                  </a:lnTo>
                  <a:lnTo>
                    <a:pt x="202" y="58"/>
                  </a:lnTo>
                  <a:lnTo>
                    <a:pt x="211" y="52"/>
                  </a:lnTo>
                  <a:lnTo>
                    <a:pt x="209" y="48"/>
                  </a:lnTo>
                  <a:lnTo>
                    <a:pt x="211" y="46"/>
                  </a:lnTo>
                  <a:lnTo>
                    <a:pt x="219" y="46"/>
                  </a:lnTo>
                  <a:lnTo>
                    <a:pt x="220" y="42"/>
                  </a:lnTo>
                  <a:lnTo>
                    <a:pt x="225" y="35"/>
                  </a:lnTo>
                  <a:lnTo>
                    <a:pt x="226" y="30"/>
                  </a:lnTo>
                  <a:lnTo>
                    <a:pt x="231" y="29"/>
                  </a:lnTo>
                  <a:lnTo>
                    <a:pt x="234" y="20"/>
                  </a:lnTo>
                  <a:lnTo>
                    <a:pt x="238" y="21"/>
                  </a:lnTo>
                  <a:lnTo>
                    <a:pt x="240" y="18"/>
                  </a:lnTo>
                  <a:lnTo>
                    <a:pt x="236" y="12"/>
                  </a:lnTo>
                  <a:lnTo>
                    <a:pt x="240" y="5"/>
                  </a:lnTo>
                  <a:lnTo>
                    <a:pt x="251" y="0"/>
                  </a:lnTo>
                  <a:lnTo>
                    <a:pt x="442" y="11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49" name="Sierra Leone"/>
            <p:cNvSpPr>
              <a:spLocks noChangeAspect="1"/>
            </p:cNvSpPr>
            <p:nvPr>
              <p:custDataLst>
                <p:tags r:id="rId48"/>
              </p:custDataLst>
            </p:nvPr>
          </p:nvSpPr>
          <p:spPr bwMode="gray">
            <a:xfrm>
              <a:off x="4111953" y="4372259"/>
              <a:ext cx="77240" cy="77240"/>
            </a:xfrm>
            <a:custGeom>
              <a:avLst/>
              <a:gdLst/>
              <a:ahLst/>
              <a:cxnLst>
                <a:cxn ang="0">
                  <a:pos x="8" y="51"/>
                </a:cxn>
                <a:cxn ang="0">
                  <a:pos x="17" y="50"/>
                </a:cxn>
                <a:cxn ang="0">
                  <a:pos x="23" y="39"/>
                </a:cxn>
                <a:cxn ang="0">
                  <a:pos x="32" y="37"/>
                </a:cxn>
                <a:cxn ang="0">
                  <a:pos x="37" y="31"/>
                </a:cxn>
                <a:cxn ang="0">
                  <a:pos x="46" y="16"/>
                </a:cxn>
                <a:cxn ang="0">
                  <a:pos x="49" y="6"/>
                </a:cxn>
                <a:cxn ang="0">
                  <a:pos x="61" y="7"/>
                </a:cxn>
                <a:cxn ang="0">
                  <a:pos x="70" y="5"/>
                </a:cxn>
                <a:cxn ang="0">
                  <a:pos x="76" y="0"/>
                </a:cxn>
                <a:cxn ang="0">
                  <a:pos x="115" y="1"/>
                </a:cxn>
                <a:cxn ang="0">
                  <a:pos x="125" y="12"/>
                </a:cxn>
                <a:cxn ang="0">
                  <a:pos x="134" y="21"/>
                </a:cxn>
                <a:cxn ang="0">
                  <a:pos x="136" y="27"/>
                </a:cxn>
                <a:cxn ang="0">
                  <a:pos x="135" y="32"/>
                </a:cxn>
                <a:cxn ang="0">
                  <a:pos x="145" y="35"/>
                </a:cxn>
                <a:cxn ang="0">
                  <a:pos x="143" y="40"/>
                </a:cxn>
                <a:cxn ang="0">
                  <a:pos x="143" y="45"/>
                </a:cxn>
                <a:cxn ang="0">
                  <a:pos x="146" y="53"/>
                </a:cxn>
                <a:cxn ang="0">
                  <a:pos x="152" y="60"/>
                </a:cxn>
                <a:cxn ang="0">
                  <a:pos x="153" y="71"/>
                </a:cxn>
                <a:cxn ang="0">
                  <a:pos x="146" y="85"/>
                </a:cxn>
                <a:cxn ang="0">
                  <a:pos x="143" y="92"/>
                </a:cxn>
                <a:cxn ang="0">
                  <a:pos x="162" y="82"/>
                </a:cxn>
                <a:cxn ang="0">
                  <a:pos x="164" y="85"/>
                </a:cxn>
                <a:cxn ang="0">
                  <a:pos x="163" y="93"/>
                </a:cxn>
                <a:cxn ang="0">
                  <a:pos x="167" y="98"/>
                </a:cxn>
                <a:cxn ang="0">
                  <a:pos x="152" y="105"/>
                </a:cxn>
                <a:cxn ang="0">
                  <a:pos x="150" y="123"/>
                </a:cxn>
                <a:cxn ang="0">
                  <a:pos x="143" y="129"/>
                </a:cxn>
                <a:cxn ang="0">
                  <a:pos x="136" y="136"/>
                </a:cxn>
                <a:cxn ang="0">
                  <a:pos x="121" y="146"/>
                </a:cxn>
                <a:cxn ang="0">
                  <a:pos x="113" y="148"/>
                </a:cxn>
                <a:cxn ang="0">
                  <a:pos x="112" y="156"/>
                </a:cxn>
                <a:cxn ang="0">
                  <a:pos x="108" y="163"/>
                </a:cxn>
                <a:cxn ang="0">
                  <a:pos x="102" y="166"/>
                </a:cxn>
                <a:cxn ang="0">
                  <a:pos x="61" y="147"/>
                </a:cxn>
                <a:cxn ang="0">
                  <a:pos x="51" y="140"/>
                </a:cxn>
                <a:cxn ang="0">
                  <a:pos x="32" y="124"/>
                </a:cxn>
                <a:cxn ang="0">
                  <a:pos x="23" y="118"/>
                </a:cxn>
                <a:cxn ang="0">
                  <a:pos x="22" y="110"/>
                </a:cxn>
                <a:cxn ang="0">
                  <a:pos x="16" y="102"/>
                </a:cxn>
                <a:cxn ang="0">
                  <a:pos x="5" y="93"/>
                </a:cxn>
                <a:cxn ang="0">
                  <a:pos x="8" y="86"/>
                </a:cxn>
                <a:cxn ang="0">
                  <a:pos x="13" y="87"/>
                </a:cxn>
                <a:cxn ang="0">
                  <a:pos x="11" y="82"/>
                </a:cxn>
                <a:cxn ang="0">
                  <a:pos x="5" y="78"/>
                </a:cxn>
                <a:cxn ang="0">
                  <a:pos x="5" y="65"/>
                </a:cxn>
                <a:cxn ang="0">
                  <a:pos x="0" y="60"/>
                </a:cxn>
                <a:cxn ang="0">
                  <a:pos x="2" y="49"/>
                </a:cxn>
              </a:cxnLst>
              <a:rect l="0" t="0" r="r" b="b"/>
              <a:pathLst>
                <a:path w="167" h="166">
                  <a:moveTo>
                    <a:pt x="2" y="49"/>
                  </a:moveTo>
                  <a:lnTo>
                    <a:pt x="8" y="51"/>
                  </a:lnTo>
                  <a:lnTo>
                    <a:pt x="14" y="51"/>
                  </a:lnTo>
                  <a:lnTo>
                    <a:pt x="17" y="50"/>
                  </a:lnTo>
                  <a:lnTo>
                    <a:pt x="19" y="49"/>
                  </a:lnTo>
                  <a:lnTo>
                    <a:pt x="23" y="39"/>
                  </a:lnTo>
                  <a:lnTo>
                    <a:pt x="28" y="39"/>
                  </a:lnTo>
                  <a:lnTo>
                    <a:pt x="32" y="37"/>
                  </a:lnTo>
                  <a:lnTo>
                    <a:pt x="32" y="32"/>
                  </a:lnTo>
                  <a:lnTo>
                    <a:pt x="37" y="31"/>
                  </a:lnTo>
                  <a:lnTo>
                    <a:pt x="43" y="23"/>
                  </a:lnTo>
                  <a:lnTo>
                    <a:pt x="46" y="16"/>
                  </a:lnTo>
                  <a:lnTo>
                    <a:pt x="45" y="7"/>
                  </a:lnTo>
                  <a:lnTo>
                    <a:pt x="49" y="6"/>
                  </a:lnTo>
                  <a:lnTo>
                    <a:pt x="57" y="5"/>
                  </a:lnTo>
                  <a:lnTo>
                    <a:pt x="61" y="7"/>
                  </a:lnTo>
                  <a:lnTo>
                    <a:pt x="65" y="7"/>
                  </a:lnTo>
                  <a:lnTo>
                    <a:pt x="70" y="5"/>
                  </a:lnTo>
                  <a:lnTo>
                    <a:pt x="76" y="5"/>
                  </a:lnTo>
                  <a:lnTo>
                    <a:pt x="76" y="0"/>
                  </a:lnTo>
                  <a:lnTo>
                    <a:pt x="102" y="0"/>
                  </a:lnTo>
                  <a:lnTo>
                    <a:pt x="115" y="1"/>
                  </a:lnTo>
                  <a:lnTo>
                    <a:pt x="119" y="8"/>
                  </a:lnTo>
                  <a:lnTo>
                    <a:pt x="125" y="12"/>
                  </a:lnTo>
                  <a:lnTo>
                    <a:pt x="129" y="17"/>
                  </a:lnTo>
                  <a:lnTo>
                    <a:pt x="134" y="21"/>
                  </a:lnTo>
                  <a:lnTo>
                    <a:pt x="134" y="23"/>
                  </a:lnTo>
                  <a:lnTo>
                    <a:pt x="136" y="27"/>
                  </a:lnTo>
                  <a:lnTo>
                    <a:pt x="135" y="29"/>
                  </a:lnTo>
                  <a:lnTo>
                    <a:pt x="135" y="32"/>
                  </a:lnTo>
                  <a:lnTo>
                    <a:pt x="142" y="34"/>
                  </a:lnTo>
                  <a:lnTo>
                    <a:pt x="145" y="35"/>
                  </a:lnTo>
                  <a:lnTo>
                    <a:pt x="145" y="38"/>
                  </a:lnTo>
                  <a:lnTo>
                    <a:pt x="143" y="40"/>
                  </a:lnTo>
                  <a:lnTo>
                    <a:pt x="145" y="45"/>
                  </a:lnTo>
                  <a:lnTo>
                    <a:pt x="143" y="45"/>
                  </a:lnTo>
                  <a:lnTo>
                    <a:pt x="145" y="50"/>
                  </a:lnTo>
                  <a:lnTo>
                    <a:pt x="146" y="53"/>
                  </a:lnTo>
                  <a:lnTo>
                    <a:pt x="151" y="56"/>
                  </a:lnTo>
                  <a:lnTo>
                    <a:pt x="152" y="60"/>
                  </a:lnTo>
                  <a:lnTo>
                    <a:pt x="155" y="70"/>
                  </a:lnTo>
                  <a:lnTo>
                    <a:pt x="153" y="71"/>
                  </a:lnTo>
                  <a:lnTo>
                    <a:pt x="148" y="74"/>
                  </a:lnTo>
                  <a:lnTo>
                    <a:pt x="146" y="85"/>
                  </a:lnTo>
                  <a:lnTo>
                    <a:pt x="143" y="90"/>
                  </a:lnTo>
                  <a:lnTo>
                    <a:pt x="143" y="92"/>
                  </a:lnTo>
                  <a:lnTo>
                    <a:pt x="156" y="87"/>
                  </a:lnTo>
                  <a:lnTo>
                    <a:pt x="162" y="82"/>
                  </a:lnTo>
                  <a:lnTo>
                    <a:pt x="163" y="82"/>
                  </a:lnTo>
                  <a:lnTo>
                    <a:pt x="164" y="85"/>
                  </a:lnTo>
                  <a:lnTo>
                    <a:pt x="164" y="88"/>
                  </a:lnTo>
                  <a:lnTo>
                    <a:pt x="163" y="93"/>
                  </a:lnTo>
                  <a:lnTo>
                    <a:pt x="167" y="97"/>
                  </a:lnTo>
                  <a:lnTo>
                    <a:pt x="167" y="98"/>
                  </a:lnTo>
                  <a:lnTo>
                    <a:pt x="157" y="99"/>
                  </a:lnTo>
                  <a:lnTo>
                    <a:pt x="152" y="105"/>
                  </a:lnTo>
                  <a:lnTo>
                    <a:pt x="150" y="107"/>
                  </a:lnTo>
                  <a:lnTo>
                    <a:pt x="150" y="123"/>
                  </a:lnTo>
                  <a:lnTo>
                    <a:pt x="146" y="124"/>
                  </a:lnTo>
                  <a:lnTo>
                    <a:pt x="143" y="129"/>
                  </a:lnTo>
                  <a:lnTo>
                    <a:pt x="140" y="129"/>
                  </a:lnTo>
                  <a:lnTo>
                    <a:pt x="136" y="136"/>
                  </a:lnTo>
                  <a:lnTo>
                    <a:pt x="130" y="137"/>
                  </a:lnTo>
                  <a:lnTo>
                    <a:pt x="121" y="146"/>
                  </a:lnTo>
                  <a:lnTo>
                    <a:pt x="118" y="148"/>
                  </a:lnTo>
                  <a:lnTo>
                    <a:pt x="113" y="148"/>
                  </a:lnTo>
                  <a:lnTo>
                    <a:pt x="112" y="151"/>
                  </a:lnTo>
                  <a:lnTo>
                    <a:pt x="112" y="156"/>
                  </a:lnTo>
                  <a:lnTo>
                    <a:pt x="109" y="157"/>
                  </a:lnTo>
                  <a:lnTo>
                    <a:pt x="108" y="163"/>
                  </a:lnTo>
                  <a:lnTo>
                    <a:pt x="103" y="166"/>
                  </a:lnTo>
                  <a:lnTo>
                    <a:pt x="102" y="166"/>
                  </a:lnTo>
                  <a:lnTo>
                    <a:pt x="91" y="163"/>
                  </a:lnTo>
                  <a:lnTo>
                    <a:pt x="61" y="147"/>
                  </a:lnTo>
                  <a:lnTo>
                    <a:pt x="53" y="146"/>
                  </a:lnTo>
                  <a:lnTo>
                    <a:pt x="51" y="140"/>
                  </a:lnTo>
                  <a:lnTo>
                    <a:pt x="48" y="135"/>
                  </a:lnTo>
                  <a:lnTo>
                    <a:pt x="32" y="124"/>
                  </a:lnTo>
                  <a:lnTo>
                    <a:pt x="24" y="120"/>
                  </a:lnTo>
                  <a:lnTo>
                    <a:pt x="23" y="118"/>
                  </a:lnTo>
                  <a:lnTo>
                    <a:pt x="23" y="113"/>
                  </a:lnTo>
                  <a:lnTo>
                    <a:pt x="22" y="110"/>
                  </a:lnTo>
                  <a:lnTo>
                    <a:pt x="22" y="107"/>
                  </a:lnTo>
                  <a:lnTo>
                    <a:pt x="16" y="102"/>
                  </a:lnTo>
                  <a:lnTo>
                    <a:pt x="10" y="102"/>
                  </a:lnTo>
                  <a:lnTo>
                    <a:pt x="5" y="93"/>
                  </a:lnTo>
                  <a:lnTo>
                    <a:pt x="5" y="86"/>
                  </a:lnTo>
                  <a:lnTo>
                    <a:pt x="8" y="86"/>
                  </a:lnTo>
                  <a:lnTo>
                    <a:pt x="10" y="87"/>
                  </a:lnTo>
                  <a:lnTo>
                    <a:pt x="13" y="87"/>
                  </a:lnTo>
                  <a:lnTo>
                    <a:pt x="13" y="86"/>
                  </a:lnTo>
                  <a:lnTo>
                    <a:pt x="11" y="82"/>
                  </a:lnTo>
                  <a:lnTo>
                    <a:pt x="7" y="81"/>
                  </a:lnTo>
                  <a:lnTo>
                    <a:pt x="5" y="78"/>
                  </a:lnTo>
                  <a:lnTo>
                    <a:pt x="6" y="71"/>
                  </a:lnTo>
                  <a:lnTo>
                    <a:pt x="5" y="65"/>
                  </a:lnTo>
                  <a:lnTo>
                    <a:pt x="3" y="62"/>
                  </a:lnTo>
                  <a:lnTo>
                    <a:pt x="0" y="60"/>
                  </a:lnTo>
                  <a:lnTo>
                    <a:pt x="0" y="55"/>
                  </a:lnTo>
                  <a:lnTo>
                    <a:pt x="2" y="4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50" name="Cote d'Ivore"/>
            <p:cNvSpPr>
              <a:spLocks noChangeAspect="1"/>
            </p:cNvSpPr>
            <p:nvPr>
              <p:custDataLst>
                <p:tags r:id="rId49"/>
              </p:custDataLst>
            </p:nvPr>
          </p:nvSpPr>
          <p:spPr bwMode="gray">
            <a:xfrm>
              <a:off x="4233665" y="4353534"/>
              <a:ext cx="156820" cy="163842"/>
            </a:xfrm>
            <a:custGeom>
              <a:avLst/>
              <a:gdLst/>
              <a:ahLst/>
              <a:cxnLst>
                <a:cxn ang="0">
                  <a:pos x="97" y="342"/>
                </a:cxn>
                <a:cxn ang="0">
                  <a:pos x="173" y="317"/>
                </a:cxn>
                <a:cxn ang="0">
                  <a:pos x="258" y="307"/>
                </a:cxn>
                <a:cxn ang="0">
                  <a:pos x="301" y="315"/>
                </a:cxn>
                <a:cxn ang="0">
                  <a:pos x="317" y="310"/>
                </a:cxn>
                <a:cxn ang="0">
                  <a:pos x="318" y="280"/>
                </a:cxn>
                <a:cxn ang="0">
                  <a:pos x="296" y="238"/>
                </a:cxn>
                <a:cxn ang="0">
                  <a:pos x="307" y="199"/>
                </a:cxn>
                <a:cxn ang="0">
                  <a:pos x="318" y="161"/>
                </a:cxn>
                <a:cxn ang="0">
                  <a:pos x="332" y="144"/>
                </a:cxn>
                <a:cxn ang="0">
                  <a:pos x="327" y="95"/>
                </a:cxn>
                <a:cxn ang="0">
                  <a:pos x="326" y="82"/>
                </a:cxn>
                <a:cxn ang="0">
                  <a:pos x="322" y="70"/>
                </a:cxn>
                <a:cxn ang="0">
                  <a:pos x="307" y="54"/>
                </a:cxn>
                <a:cxn ang="0">
                  <a:pos x="290" y="48"/>
                </a:cxn>
                <a:cxn ang="0">
                  <a:pos x="250" y="49"/>
                </a:cxn>
                <a:cxn ang="0">
                  <a:pos x="230" y="61"/>
                </a:cxn>
                <a:cxn ang="0">
                  <a:pos x="218" y="57"/>
                </a:cxn>
                <a:cxn ang="0">
                  <a:pos x="205" y="50"/>
                </a:cxn>
                <a:cxn ang="0">
                  <a:pos x="197" y="39"/>
                </a:cxn>
                <a:cxn ang="0">
                  <a:pos x="188" y="30"/>
                </a:cxn>
                <a:cxn ang="0">
                  <a:pos x="173" y="25"/>
                </a:cxn>
                <a:cxn ang="0">
                  <a:pos x="154" y="16"/>
                </a:cxn>
                <a:cxn ang="0">
                  <a:pos x="140" y="27"/>
                </a:cxn>
                <a:cxn ang="0">
                  <a:pos x="129" y="10"/>
                </a:cxn>
                <a:cxn ang="0">
                  <a:pos x="124" y="1"/>
                </a:cxn>
                <a:cxn ang="0">
                  <a:pos x="108" y="5"/>
                </a:cxn>
                <a:cxn ang="0">
                  <a:pos x="105" y="18"/>
                </a:cxn>
                <a:cxn ang="0">
                  <a:pos x="86" y="27"/>
                </a:cxn>
                <a:cxn ang="0">
                  <a:pos x="73" y="25"/>
                </a:cxn>
                <a:cxn ang="0">
                  <a:pos x="65" y="27"/>
                </a:cxn>
                <a:cxn ang="0">
                  <a:pos x="53" y="18"/>
                </a:cxn>
                <a:cxn ang="0">
                  <a:pos x="42" y="25"/>
                </a:cxn>
                <a:cxn ang="0">
                  <a:pos x="26" y="39"/>
                </a:cxn>
                <a:cxn ang="0">
                  <a:pos x="24" y="70"/>
                </a:cxn>
                <a:cxn ang="0">
                  <a:pos x="37" y="90"/>
                </a:cxn>
                <a:cxn ang="0">
                  <a:pos x="42" y="97"/>
                </a:cxn>
                <a:cxn ang="0">
                  <a:pos x="41" y="111"/>
                </a:cxn>
                <a:cxn ang="0">
                  <a:pos x="47" y="125"/>
                </a:cxn>
                <a:cxn ang="0">
                  <a:pos x="41" y="129"/>
                </a:cxn>
                <a:cxn ang="0">
                  <a:pos x="17" y="128"/>
                </a:cxn>
                <a:cxn ang="0">
                  <a:pos x="17" y="139"/>
                </a:cxn>
                <a:cxn ang="0">
                  <a:pos x="31" y="145"/>
                </a:cxn>
                <a:cxn ang="0">
                  <a:pos x="28" y="152"/>
                </a:cxn>
                <a:cxn ang="0">
                  <a:pos x="22" y="177"/>
                </a:cxn>
                <a:cxn ang="0">
                  <a:pos x="8" y="192"/>
                </a:cxn>
                <a:cxn ang="0">
                  <a:pos x="17" y="202"/>
                </a:cxn>
                <a:cxn ang="0">
                  <a:pos x="0" y="233"/>
                </a:cxn>
                <a:cxn ang="0">
                  <a:pos x="8" y="236"/>
                </a:cxn>
                <a:cxn ang="0">
                  <a:pos x="22" y="245"/>
                </a:cxn>
                <a:cxn ang="0">
                  <a:pos x="38" y="256"/>
                </a:cxn>
                <a:cxn ang="0">
                  <a:pos x="52" y="267"/>
                </a:cxn>
                <a:cxn ang="0">
                  <a:pos x="65" y="280"/>
                </a:cxn>
                <a:cxn ang="0">
                  <a:pos x="66" y="300"/>
                </a:cxn>
                <a:cxn ang="0">
                  <a:pos x="57" y="311"/>
                </a:cxn>
                <a:cxn ang="0">
                  <a:pos x="57" y="350"/>
                </a:cxn>
              </a:cxnLst>
              <a:rect l="0" t="0" r="r" b="b"/>
              <a:pathLst>
                <a:path w="337" h="354">
                  <a:moveTo>
                    <a:pt x="57" y="350"/>
                  </a:moveTo>
                  <a:lnTo>
                    <a:pt x="58" y="353"/>
                  </a:lnTo>
                  <a:lnTo>
                    <a:pt x="74" y="354"/>
                  </a:lnTo>
                  <a:lnTo>
                    <a:pt x="97" y="342"/>
                  </a:lnTo>
                  <a:lnTo>
                    <a:pt x="121" y="332"/>
                  </a:lnTo>
                  <a:lnTo>
                    <a:pt x="135" y="326"/>
                  </a:lnTo>
                  <a:lnTo>
                    <a:pt x="160" y="318"/>
                  </a:lnTo>
                  <a:lnTo>
                    <a:pt x="173" y="317"/>
                  </a:lnTo>
                  <a:lnTo>
                    <a:pt x="208" y="311"/>
                  </a:lnTo>
                  <a:lnTo>
                    <a:pt x="219" y="310"/>
                  </a:lnTo>
                  <a:lnTo>
                    <a:pt x="240" y="307"/>
                  </a:lnTo>
                  <a:lnTo>
                    <a:pt x="258" y="307"/>
                  </a:lnTo>
                  <a:lnTo>
                    <a:pt x="274" y="312"/>
                  </a:lnTo>
                  <a:lnTo>
                    <a:pt x="295" y="316"/>
                  </a:lnTo>
                  <a:lnTo>
                    <a:pt x="299" y="316"/>
                  </a:lnTo>
                  <a:lnTo>
                    <a:pt x="301" y="315"/>
                  </a:lnTo>
                  <a:lnTo>
                    <a:pt x="305" y="308"/>
                  </a:lnTo>
                  <a:lnTo>
                    <a:pt x="307" y="307"/>
                  </a:lnTo>
                  <a:lnTo>
                    <a:pt x="313" y="307"/>
                  </a:lnTo>
                  <a:lnTo>
                    <a:pt x="317" y="310"/>
                  </a:lnTo>
                  <a:lnTo>
                    <a:pt x="323" y="308"/>
                  </a:lnTo>
                  <a:lnTo>
                    <a:pt x="323" y="294"/>
                  </a:lnTo>
                  <a:lnTo>
                    <a:pt x="321" y="281"/>
                  </a:lnTo>
                  <a:lnTo>
                    <a:pt x="318" y="280"/>
                  </a:lnTo>
                  <a:lnTo>
                    <a:pt x="311" y="279"/>
                  </a:lnTo>
                  <a:lnTo>
                    <a:pt x="307" y="274"/>
                  </a:lnTo>
                  <a:lnTo>
                    <a:pt x="304" y="258"/>
                  </a:lnTo>
                  <a:lnTo>
                    <a:pt x="296" y="238"/>
                  </a:lnTo>
                  <a:lnTo>
                    <a:pt x="296" y="230"/>
                  </a:lnTo>
                  <a:lnTo>
                    <a:pt x="297" y="213"/>
                  </a:lnTo>
                  <a:lnTo>
                    <a:pt x="301" y="206"/>
                  </a:lnTo>
                  <a:lnTo>
                    <a:pt x="307" y="199"/>
                  </a:lnTo>
                  <a:lnTo>
                    <a:pt x="310" y="194"/>
                  </a:lnTo>
                  <a:lnTo>
                    <a:pt x="310" y="183"/>
                  </a:lnTo>
                  <a:lnTo>
                    <a:pt x="312" y="174"/>
                  </a:lnTo>
                  <a:lnTo>
                    <a:pt x="318" y="161"/>
                  </a:lnTo>
                  <a:lnTo>
                    <a:pt x="322" y="152"/>
                  </a:lnTo>
                  <a:lnTo>
                    <a:pt x="324" y="150"/>
                  </a:lnTo>
                  <a:lnTo>
                    <a:pt x="328" y="145"/>
                  </a:lnTo>
                  <a:lnTo>
                    <a:pt x="332" y="144"/>
                  </a:lnTo>
                  <a:lnTo>
                    <a:pt x="332" y="139"/>
                  </a:lnTo>
                  <a:lnTo>
                    <a:pt x="337" y="138"/>
                  </a:lnTo>
                  <a:lnTo>
                    <a:pt x="334" y="122"/>
                  </a:lnTo>
                  <a:lnTo>
                    <a:pt x="327" y="95"/>
                  </a:lnTo>
                  <a:lnTo>
                    <a:pt x="324" y="91"/>
                  </a:lnTo>
                  <a:lnTo>
                    <a:pt x="321" y="90"/>
                  </a:lnTo>
                  <a:lnTo>
                    <a:pt x="321" y="87"/>
                  </a:lnTo>
                  <a:lnTo>
                    <a:pt x="326" y="82"/>
                  </a:lnTo>
                  <a:lnTo>
                    <a:pt x="323" y="77"/>
                  </a:lnTo>
                  <a:lnTo>
                    <a:pt x="324" y="74"/>
                  </a:lnTo>
                  <a:lnTo>
                    <a:pt x="324" y="68"/>
                  </a:lnTo>
                  <a:lnTo>
                    <a:pt x="322" y="70"/>
                  </a:lnTo>
                  <a:lnTo>
                    <a:pt x="316" y="70"/>
                  </a:lnTo>
                  <a:lnTo>
                    <a:pt x="313" y="69"/>
                  </a:lnTo>
                  <a:lnTo>
                    <a:pt x="308" y="59"/>
                  </a:lnTo>
                  <a:lnTo>
                    <a:pt x="307" y="54"/>
                  </a:lnTo>
                  <a:lnTo>
                    <a:pt x="302" y="53"/>
                  </a:lnTo>
                  <a:lnTo>
                    <a:pt x="296" y="43"/>
                  </a:lnTo>
                  <a:lnTo>
                    <a:pt x="295" y="43"/>
                  </a:lnTo>
                  <a:lnTo>
                    <a:pt x="290" y="48"/>
                  </a:lnTo>
                  <a:lnTo>
                    <a:pt x="279" y="43"/>
                  </a:lnTo>
                  <a:lnTo>
                    <a:pt x="272" y="43"/>
                  </a:lnTo>
                  <a:lnTo>
                    <a:pt x="262" y="46"/>
                  </a:lnTo>
                  <a:lnTo>
                    <a:pt x="250" y="49"/>
                  </a:lnTo>
                  <a:lnTo>
                    <a:pt x="242" y="52"/>
                  </a:lnTo>
                  <a:lnTo>
                    <a:pt x="236" y="53"/>
                  </a:lnTo>
                  <a:lnTo>
                    <a:pt x="234" y="59"/>
                  </a:lnTo>
                  <a:lnTo>
                    <a:pt x="230" y="61"/>
                  </a:lnTo>
                  <a:lnTo>
                    <a:pt x="223" y="58"/>
                  </a:lnTo>
                  <a:lnTo>
                    <a:pt x="221" y="54"/>
                  </a:lnTo>
                  <a:lnTo>
                    <a:pt x="220" y="54"/>
                  </a:lnTo>
                  <a:lnTo>
                    <a:pt x="218" y="57"/>
                  </a:lnTo>
                  <a:lnTo>
                    <a:pt x="214" y="57"/>
                  </a:lnTo>
                  <a:lnTo>
                    <a:pt x="214" y="58"/>
                  </a:lnTo>
                  <a:lnTo>
                    <a:pt x="207" y="54"/>
                  </a:lnTo>
                  <a:lnTo>
                    <a:pt x="205" y="50"/>
                  </a:lnTo>
                  <a:lnTo>
                    <a:pt x="202" y="47"/>
                  </a:lnTo>
                  <a:lnTo>
                    <a:pt x="198" y="47"/>
                  </a:lnTo>
                  <a:lnTo>
                    <a:pt x="198" y="42"/>
                  </a:lnTo>
                  <a:lnTo>
                    <a:pt x="197" y="39"/>
                  </a:lnTo>
                  <a:lnTo>
                    <a:pt x="194" y="38"/>
                  </a:lnTo>
                  <a:lnTo>
                    <a:pt x="191" y="32"/>
                  </a:lnTo>
                  <a:lnTo>
                    <a:pt x="189" y="31"/>
                  </a:lnTo>
                  <a:lnTo>
                    <a:pt x="188" y="30"/>
                  </a:lnTo>
                  <a:lnTo>
                    <a:pt x="187" y="25"/>
                  </a:lnTo>
                  <a:lnTo>
                    <a:pt x="187" y="23"/>
                  </a:lnTo>
                  <a:lnTo>
                    <a:pt x="184" y="22"/>
                  </a:lnTo>
                  <a:lnTo>
                    <a:pt x="173" y="25"/>
                  </a:lnTo>
                  <a:lnTo>
                    <a:pt x="171" y="23"/>
                  </a:lnTo>
                  <a:lnTo>
                    <a:pt x="167" y="17"/>
                  </a:lnTo>
                  <a:lnTo>
                    <a:pt x="165" y="16"/>
                  </a:lnTo>
                  <a:lnTo>
                    <a:pt x="154" y="16"/>
                  </a:lnTo>
                  <a:lnTo>
                    <a:pt x="150" y="16"/>
                  </a:lnTo>
                  <a:lnTo>
                    <a:pt x="148" y="23"/>
                  </a:lnTo>
                  <a:lnTo>
                    <a:pt x="144" y="23"/>
                  </a:lnTo>
                  <a:lnTo>
                    <a:pt x="140" y="27"/>
                  </a:lnTo>
                  <a:lnTo>
                    <a:pt x="130" y="27"/>
                  </a:lnTo>
                  <a:lnTo>
                    <a:pt x="132" y="25"/>
                  </a:lnTo>
                  <a:lnTo>
                    <a:pt x="130" y="14"/>
                  </a:lnTo>
                  <a:lnTo>
                    <a:pt x="129" y="10"/>
                  </a:lnTo>
                  <a:lnTo>
                    <a:pt x="129" y="9"/>
                  </a:lnTo>
                  <a:lnTo>
                    <a:pt x="129" y="4"/>
                  </a:lnTo>
                  <a:lnTo>
                    <a:pt x="127" y="0"/>
                  </a:lnTo>
                  <a:lnTo>
                    <a:pt x="124" y="1"/>
                  </a:lnTo>
                  <a:lnTo>
                    <a:pt x="118" y="1"/>
                  </a:lnTo>
                  <a:lnTo>
                    <a:pt x="116" y="9"/>
                  </a:lnTo>
                  <a:lnTo>
                    <a:pt x="114" y="9"/>
                  </a:lnTo>
                  <a:lnTo>
                    <a:pt x="108" y="5"/>
                  </a:lnTo>
                  <a:lnTo>
                    <a:pt x="106" y="5"/>
                  </a:lnTo>
                  <a:lnTo>
                    <a:pt x="103" y="9"/>
                  </a:lnTo>
                  <a:lnTo>
                    <a:pt x="103" y="12"/>
                  </a:lnTo>
                  <a:lnTo>
                    <a:pt x="105" y="18"/>
                  </a:lnTo>
                  <a:lnTo>
                    <a:pt x="103" y="21"/>
                  </a:lnTo>
                  <a:lnTo>
                    <a:pt x="92" y="21"/>
                  </a:lnTo>
                  <a:lnTo>
                    <a:pt x="86" y="23"/>
                  </a:lnTo>
                  <a:lnTo>
                    <a:pt x="86" y="27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76" y="30"/>
                  </a:lnTo>
                  <a:lnTo>
                    <a:pt x="73" y="25"/>
                  </a:lnTo>
                  <a:lnTo>
                    <a:pt x="70" y="25"/>
                  </a:lnTo>
                  <a:lnTo>
                    <a:pt x="68" y="26"/>
                  </a:lnTo>
                  <a:lnTo>
                    <a:pt x="66" y="27"/>
                  </a:lnTo>
                  <a:lnTo>
                    <a:pt x="65" y="27"/>
                  </a:lnTo>
                  <a:lnTo>
                    <a:pt x="64" y="21"/>
                  </a:lnTo>
                  <a:lnTo>
                    <a:pt x="60" y="16"/>
                  </a:lnTo>
                  <a:lnTo>
                    <a:pt x="57" y="15"/>
                  </a:lnTo>
                  <a:lnTo>
                    <a:pt x="53" y="18"/>
                  </a:lnTo>
                  <a:lnTo>
                    <a:pt x="48" y="17"/>
                  </a:lnTo>
                  <a:lnTo>
                    <a:pt x="46" y="18"/>
                  </a:lnTo>
                  <a:lnTo>
                    <a:pt x="43" y="21"/>
                  </a:lnTo>
                  <a:lnTo>
                    <a:pt x="42" y="25"/>
                  </a:lnTo>
                  <a:lnTo>
                    <a:pt x="39" y="28"/>
                  </a:lnTo>
                  <a:lnTo>
                    <a:pt x="33" y="30"/>
                  </a:lnTo>
                  <a:lnTo>
                    <a:pt x="32" y="32"/>
                  </a:lnTo>
                  <a:lnTo>
                    <a:pt x="26" y="39"/>
                  </a:lnTo>
                  <a:lnTo>
                    <a:pt x="25" y="42"/>
                  </a:lnTo>
                  <a:lnTo>
                    <a:pt x="22" y="44"/>
                  </a:lnTo>
                  <a:lnTo>
                    <a:pt x="24" y="53"/>
                  </a:lnTo>
                  <a:lnTo>
                    <a:pt x="24" y="70"/>
                  </a:lnTo>
                  <a:lnTo>
                    <a:pt x="24" y="73"/>
                  </a:lnTo>
                  <a:lnTo>
                    <a:pt x="31" y="76"/>
                  </a:lnTo>
                  <a:lnTo>
                    <a:pt x="38" y="76"/>
                  </a:lnTo>
                  <a:lnTo>
                    <a:pt x="37" y="90"/>
                  </a:lnTo>
                  <a:lnTo>
                    <a:pt x="41" y="89"/>
                  </a:lnTo>
                  <a:lnTo>
                    <a:pt x="44" y="93"/>
                  </a:lnTo>
                  <a:lnTo>
                    <a:pt x="44" y="96"/>
                  </a:lnTo>
                  <a:lnTo>
                    <a:pt x="42" y="97"/>
                  </a:lnTo>
                  <a:lnTo>
                    <a:pt x="38" y="101"/>
                  </a:lnTo>
                  <a:lnTo>
                    <a:pt x="35" y="109"/>
                  </a:lnTo>
                  <a:lnTo>
                    <a:pt x="37" y="109"/>
                  </a:lnTo>
                  <a:lnTo>
                    <a:pt x="41" y="111"/>
                  </a:lnTo>
                  <a:lnTo>
                    <a:pt x="44" y="111"/>
                  </a:lnTo>
                  <a:lnTo>
                    <a:pt x="44" y="117"/>
                  </a:lnTo>
                  <a:lnTo>
                    <a:pt x="47" y="120"/>
                  </a:lnTo>
                  <a:lnTo>
                    <a:pt x="47" y="125"/>
                  </a:lnTo>
                  <a:lnTo>
                    <a:pt x="48" y="134"/>
                  </a:lnTo>
                  <a:lnTo>
                    <a:pt x="47" y="134"/>
                  </a:lnTo>
                  <a:lnTo>
                    <a:pt x="44" y="128"/>
                  </a:lnTo>
                  <a:lnTo>
                    <a:pt x="41" y="129"/>
                  </a:lnTo>
                  <a:lnTo>
                    <a:pt x="38" y="129"/>
                  </a:lnTo>
                  <a:lnTo>
                    <a:pt x="35" y="125"/>
                  </a:lnTo>
                  <a:lnTo>
                    <a:pt x="26" y="124"/>
                  </a:lnTo>
                  <a:lnTo>
                    <a:pt x="17" y="128"/>
                  </a:lnTo>
                  <a:lnTo>
                    <a:pt x="17" y="129"/>
                  </a:lnTo>
                  <a:lnTo>
                    <a:pt x="19" y="129"/>
                  </a:lnTo>
                  <a:lnTo>
                    <a:pt x="20" y="134"/>
                  </a:lnTo>
                  <a:lnTo>
                    <a:pt x="17" y="139"/>
                  </a:lnTo>
                  <a:lnTo>
                    <a:pt x="20" y="141"/>
                  </a:lnTo>
                  <a:lnTo>
                    <a:pt x="26" y="141"/>
                  </a:lnTo>
                  <a:lnTo>
                    <a:pt x="30" y="141"/>
                  </a:lnTo>
                  <a:lnTo>
                    <a:pt x="31" y="145"/>
                  </a:lnTo>
                  <a:lnTo>
                    <a:pt x="30" y="147"/>
                  </a:lnTo>
                  <a:lnTo>
                    <a:pt x="32" y="147"/>
                  </a:lnTo>
                  <a:lnTo>
                    <a:pt x="33" y="150"/>
                  </a:lnTo>
                  <a:lnTo>
                    <a:pt x="28" y="152"/>
                  </a:lnTo>
                  <a:lnTo>
                    <a:pt x="27" y="157"/>
                  </a:lnTo>
                  <a:lnTo>
                    <a:pt x="27" y="166"/>
                  </a:lnTo>
                  <a:lnTo>
                    <a:pt x="22" y="172"/>
                  </a:lnTo>
                  <a:lnTo>
                    <a:pt x="22" y="177"/>
                  </a:lnTo>
                  <a:lnTo>
                    <a:pt x="9" y="176"/>
                  </a:lnTo>
                  <a:lnTo>
                    <a:pt x="5" y="178"/>
                  </a:lnTo>
                  <a:lnTo>
                    <a:pt x="6" y="183"/>
                  </a:lnTo>
                  <a:lnTo>
                    <a:pt x="8" y="192"/>
                  </a:lnTo>
                  <a:lnTo>
                    <a:pt x="10" y="193"/>
                  </a:lnTo>
                  <a:lnTo>
                    <a:pt x="12" y="197"/>
                  </a:lnTo>
                  <a:lnTo>
                    <a:pt x="12" y="198"/>
                  </a:lnTo>
                  <a:lnTo>
                    <a:pt x="17" y="202"/>
                  </a:lnTo>
                  <a:lnTo>
                    <a:pt x="14" y="217"/>
                  </a:lnTo>
                  <a:lnTo>
                    <a:pt x="12" y="220"/>
                  </a:lnTo>
                  <a:lnTo>
                    <a:pt x="4" y="227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3" y="235"/>
                  </a:lnTo>
                  <a:lnTo>
                    <a:pt x="4" y="237"/>
                  </a:lnTo>
                  <a:lnTo>
                    <a:pt x="8" y="236"/>
                  </a:lnTo>
                  <a:lnTo>
                    <a:pt x="9" y="238"/>
                  </a:lnTo>
                  <a:lnTo>
                    <a:pt x="11" y="240"/>
                  </a:lnTo>
                  <a:lnTo>
                    <a:pt x="15" y="240"/>
                  </a:lnTo>
                  <a:lnTo>
                    <a:pt x="22" y="245"/>
                  </a:lnTo>
                  <a:lnTo>
                    <a:pt x="32" y="245"/>
                  </a:lnTo>
                  <a:lnTo>
                    <a:pt x="35" y="245"/>
                  </a:lnTo>
                  <a:lnTo>
                    <a:pt x="38" y="252"/>
                  </a:lnTo>
                  <a:lnTo>
                    <a:pt x="38" y="256"/>
                  </a:lnTo>
                  <a:lnTo>
                    <a:pt x="41" y="257"/>
                  </a:lnTo>
                  <a:lnTo>
                    <a:pt x="44" y="262"/>
                  </a:lnTo>
                  <a:lnTo>
                    <a:pt x="46" y="265"/>
                  </a:lnTo>
                  <a:lnTo>
                    <a:pt x="52" y="267"/>
                  </a:lnTo>
                  <a:lnTo>
                    <a:pt x="57" y="272"/>
                  </a:lnTo>
                  <a:lnTo>
                    <a:pt x="63" y="270"/>
                  </a:lnTo>
                  <a:lnTo>
                    <a:pt x="63" y="275"/>
                  </a:lnTo>
                  <a:lnTo>
                    <a:pt x="65" y="280"/>
                  </a:lnTo>
                  <a:lnTo>
                    <a:pt x="66" y="286"/>
                  </a:lnTo>
                  <a:lnTo>
                    <a:pt x="64" y="294"/>
                  </a:lnTo>
                  <a:lnTo>
                    <a:pt x="66" y="299"/>
                  </a:lnTo>
                  <a:lnTo>
                    <a:pt x="66" y="300"/>
                  </a:lnTo>
                  <a:lnTo>
                    <a:pt x="62" y="300"/>
                  </a:lnTo>
                  <a:lnTo>
                    <a:pt x="60" y="303"/>
                  </a:lnTo>
                  <a:lnTo>
                    <a:pt x="60" y="311"/>
                  </a:lnTo>
                  <a:lnTo>
                    <a:pt x="57" y="311"/>
                  </a:lnTo>
                  <a:lnTo>
                    <a:pt x="57" y="313"/>
                  </a:lnTo>
                  <a:lnTo>
                    <a:pt x="57" y="318"/>
                  </a:lnTo>
                  <a:lnTo>
                    <a:pt x="55" y="323"/>
                  </a:lnTo>
                  <a:lnTo>
                    <a:pt x="57" y="35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51" name="Togo"/>
            <p:cNvSpPr>
              <a:spLocks noChangeAspect="1"/>
            </p:cNvSpPr>
            <p:nvPr>
              <p:custDataLst>
                <p:tags r:id="rId50"/>
              </p:custDataLst>
            </p:nvPr>
          </p:nvSpPr>
          <p:spPr bwMode="gray">
            <a:xfrm>
              <a:off x="4449000" y="4341831"/>
              <a:ext cx="56174" cy="133414"/>
            </a:xfrm>
            <a:custGeom>
              <a:avLst/>
              <a:gdLst/>
              <a:ahLst/>
              <a:cxnLst>
                <a:cxn ang="0">
                  <a:pos x="80" y="281"/>
                </a:cxn>
                <a:cxn ang="0">
                  <a:pos x="77" y="279"/>
                </a:cxn>
                <a:cxn ang="0">
                  <a:pos x="61" y="262"/>
                </a:cxn>
                <a:cxn ang="0">
                  <a:pos x="53" y="252"/>
                </a:cxn>
                <a:cxn ang="0">
                  <a:pos x="48" y="241"/>
                </a:cxn>
                <a:cxn ang="0">
                  <a:pos x="47" y="231"/>
                </a:cxn>
                <a:cxn ang="0">
                  <a:pos x="46" y="209"/>
                </a:cxn>
                <a:cxn ang="0">
                  <a:pos x="47" y="188"/>
                </a:cxn>
                <a:cxn ang="0">
                  <a:pos x="43" y="148"/>
                </a:cxn>
                <a:cxn ang="0">
                  <a:pos x="42" y="114"/>
                </a:cxn>
                <a:cxn ang="0">
                  <a:pos x="41" y="101"/>
                </a:cxn>
                <a:cxn ang="0">
                  <a:pos x="38" y="95"/>
                </a:cxn>
                <a:cxn ang="0">
                  <a:pos x="34" y="89"/>
                </a:cxn>
                <a:cxn ang="0">
                  <a:pos x="32" y="68"/>
                </a:cxn>
                <a:cxn ang="0">
                  <a:pos x="29" y="53"/>
                </a:cxn>
                <a:cxn ang="0">
                  <a:pos x="25" y="48"/>
                </a:cxn>
                <a:cxn ang="0">
                  <a:pos x="18" y="41"/>
                </a:cxn>
                <a:cxn ang="0">
                  <a:pos x="14" y="33"/>
                </a:cxn>
                <a:cxn ang="0">
                  <a:pos x="5" y="27"/>
                </a:cxn>
                <a:cxn ang="0">
                  <a:pos x="4" y="21"/>
                </a:cxn>
                <a:cxn ang="0">
                  <a:pos x="8" y="16"/>
                </a:cxn>
                <a:cxn ang="0">
                  <a:pos x="8" y="11"/>
                </a:cxn>
                <a:cxn ang="0">
                  <a:pos x="11" y="6"/>
                </a:cxn>
                <a:cxn ang="0">
                  <a:pos x="10" y="5"/>
                </a:cxn>
                <a:cxn ang="0">
                  <a:pos x="2" y="4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35" y="6"/>
                </a:cxn>
                <a:cxn ang="0">
                  <a:pos x="38" y="11"/>
                </a:cxn>
                <a:cxn ang="0">
                  <a:pos x="42" y="11"/>
                </a:cxn>
                <a:cxn ang="0">
                  <a:pos x="45" y="8"/>
                </a:cxn>
                <a:cxn ang="0">
                  <a:pos x="59" y="9"/>
                </a:cxn>
                <a:cxn ang="0">
                  <a:pos x="61" y="8"/>
                </a:cxn>
                <a:cxn ang="0">
                  <a:pos x="58" y="10"/>
                </a:cxn>
                <a:cxn ang="0">
                  <a:pos x="57" y="17"/>
                </a:cxn>
                <a:cxn ang="0">
                  <a:pos x="53" y="25"/>
                </a:cxn>
                <a:cxn ang="0">
                  <a:pos x="52" y="35"/>
                </a:cxn>
                <a:cxn ang="0">
                  <a:pos x="52" y="43"/>
                </a:cxn>
                <a:cxn ang="0">
                  <a:pos x="57" y="47"/>
                </a:cxn>
                <a:cxn ang="0">
                  <a:pos x="63" y="51"/>
                </a:cxn>
                <a:cxn ang="0">
                  <a:pos x="67" y="51"/>
                </a:cxn>
                <a:cxn ang="0">
                  <a:pos x="72" y="53"/>
                </a:cxn>
                <a:cxn ang="0">
                  <a:pos x="84" y="69"/>
                </a:cxn>
                <a:cxn ang="0">
                  <a:pos x="93" y="89"/>
                </a:cxn>
                <a:cxn ang="0">
                  <a:pos x="99" y="110"/>
                </a:cxn>
                <a:cxn ang="0">
                  <a:pos x="102" y="119"/>
                </a:cxn>
                <a:cxn ang="0">
                  <a:pos x="104" y="125"/>
                </a:cxn>
                <a:cxn ang="0">
                  <a:pos x="106" y="134"/>
                </a:cxn>
                <a:cxn ang="0">
                  <a:pos x="108" y="145"/>
                </a:cxn>
                <a:cxn ang="0">
                  <a:pos x="110" y="164"/>
                </a:cxn>
                <a:cxn ang="0">
                  <a:pos x="110" y="215"/>
                </a:cxn>
                <a:cxn ang="0">
                  <a:pos x="106" y="238"/>
                </a:cxn>
                <a:cxn ang="0">
                  <a:pos x="106" y="248"/>
                </a:cxn>
                <a:cxn ang="0">
                  <a:pos x="110" y="261"/>
                </a:cxn>
                <a:cxn ang="0">
                  <a:pos x="112" y="268"/>
                </a:cxn>
                <a:cxn ang="0">
                  <a:pos x="113" y="269"/>
                </a:cxn>
                <a:cxn ang="0">
                  <a:pos x="120" y="270"/>
                </a:cxn>
                <a:cxn ang="0">
                  <a:pos x="99" y="275"/>
                </a:cxn>
                <a:cxn ang="0">
                  <a:pos x="80" y="281"/>
                </a:cxn>
              </a:cxnLst>
              <a:rect l="0" t="0" r="r" b="b"/>
              <a:pathLst>
                <a:path w="120" h="281">
                  <a:moveTo>
                    <a:pt x="80" y="281"/>
                  </a:moveTo>
                  <a:lnTo>
                    <a:pt x="77" y="279"/>
                  </a:lnTo>
                  <a:lnTo>
                    <a:pt x="61" y="262"/>
                  </a:lnTo>
                  <a:lnTo>
                    <a:pt x="53" y="252"/>
                  </a:lnTo>
                  <a:lnTo>
                    <a:pt x="48" y="241"/>
                  </a:lnTo>
                  <a:lnTo>
                    <a:pt x="47" y="231"/>
                  </a:lnTo>
                  <a:lnTo>
                    <a:pt x="46" y="209"/>
                  </a:lnTo>
                  <a:lnTo>
                    <a:pt x="47" y="188"/>
                  </a:lnTo>
                  <a:lnTo>
                    <a:pt x="43" y="148"/>
                  </a:lnTo>
                  <a:lnTo>
                    <a:pt x="42" y="114"/>
                  </a:lnTo>
                  <a:lnTo>
                    <a:pt x="41" y="101"/>
                  </a:lnTo>
                  <a:lnTo>
                    <a:pt x="38" y="95"/>
                  </a:lnTo>
                  <a:lnTo>
                    <a:pt x="34" y="89"/>
                  </a:lnTo>
                  <a:lnTo>
                    <a:pt x="32" y="68"/>
                  </a:lnTo>
                  <a:lnTo>
                    <a:pt x="29" y="53"/>
                  </a:lnTo>
                  <a:lnTo>
                    <a:pt x="25" y="48"/>
                  </a:lnTo>
                  <a:lnTo>
                    <a:pt x="18" y="41"/>
                  </a:lnTo>
                  <a:lnTo>
                    <a:pt x="14" y="33"/>
                  </a:lnTo>
                  <a:lnTo>
                    <a:pt x="5" y="27"/>
                  </a:lnTo>
                  <a:lnTo>
                    <a:pt x="4" y="21"/>
                  </a:lnTo>
                  <a:lnTo>
                    <a:pt x="8" y="16"/>
                  </a:lnTo>
                  <a:lnTo>
                    <a:pt x="8" y="11"/>
                  </a:lnTo>
                  <a:lnTo>
                    <a:pt x="11" y="6"/>
                  </a:lnTo>
                  <a:lnTo>
                    <a:pt x="10" y="5"/>
                  </a:lnTo>
                  <a:lnTo>
                    <a:pt x="2" y="4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1"/>
                  </a:lnTo>
                  <a:lnTo>
                    <a:pt x="35" y="6"/>
                  </a:lnTo>
                  <a:lnTo>
                    <a:pt x="38" y="11"/>
                  </a:lnTo>
                  <a:lnTo>
                    <a:pt x="42" y="11"/>
                  </a:lnTo>
                  <a:lnTo>
                    <a:pt x="45" y="8"/>
                  </a:lnTo>
                  <a:lnTo>
                    <a:pt x="59" y="9"/>
                  </a:lnTo>
                  <a:lnTo>
                    <a:pt x="61" y="8"/>
                  </a:lnTo>
                  <a:lnTo>
                    <a:pt x="58" y="10"/>
                  </a:lnTo>
                  <a:lnTo>
                    <a:pt x="57" y="17"/>
                  </a:lnTo>
                  <a:lnTo>
                    <a:pt x="53" y="25"/>
                  </a:lnTo>
                  <a:lnTo>
                    <a:pt x="52" y="35"/>
                  </a:lnTo>
                  <a:lnTo>
                    <a:pt x="52" y="43"/>
                  </a:lnTo>
                  <a:lnTo>
                    <a:pt x="57" y="47"/>
                  </a:lnTo>
                  <a:lnTo>
                    <a:pt x="63" y="51"/>
                  </a:lnTo>
                  <a:lnTo>
                    <a:pt x="67" y="51"/>
                  </a:lnTo>
                  <a:lnTo>
                    <a:pt x="72" y="53"/>
                  </a:lnTo>
                  <a:lnTo>
                    <a:pt x="84" y="69"/>
                  </a:lnTo>
                  <a:lnTo>
                    <a:pt x="93" y="89"/>
                  </a:lnTo>
                  <a:lnTo>
                    <a:pt x="99" y="110"/>
                  </a:lnTo>
                  <a:lnTo>
                    <a:pt x="102" y="119"/>
                  </a:lnTo>
                  <a:lnTo>
                    <a:pt x="104" y="125"/>
                  </a:lnTo>
                  <a:lnTo>
                    <a:pt x="106" y="134"/>
                  </a:lnTo>
                  <a:lnTo>
                    <a:pt x="108" y="145"/>
                  </a:lnTo>
                  <a:lnTo>
                    <a:pt x="110" y="164"/>
                  </a:lnTo>
                  <a:lnTo>
                    <a:pt x="110" y="215"/>
                  </a:lnTo>
                  <a:lnTo>
                    <a:pt x="106" y="238"/>
                  </a:lnTo>
                  <a:lnTo>
                    <a:pt x="106" y="248"/>
                  </a:lnTo>
                  <a:lnTo>
                    <a:pt x="110" y="261"/>
                  </a:lnTo>
                  <a:lnTo>
                    <a:pt x="112" y="268"/>
                  </a:lnTo>
                  <a:lnTo>
                    <a:pt x="113" y="269"/>
                  </a:lnTo>
                  <a:lnTo>
                    <a:pt x="120" y="270"/>
                  </a:lnTo>
                  <a:lnTo>
                    <a:pt x="99" y="275"/>
                  </a:lnTo>
                  <a:lnTo>
                    <a:pt x="80" y="28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52" name="DR Congo"/>
            <p:cNvSpPr>
              <a:spLocks noChangeAspect="1"/>
            </p:cNvSpPr>
            <p:nvPr>
              <p:custDataLst>
                <p:tags r:id="rId51"/>
              </p:custDataLst>
            </p:nvPr>
          </p:nvSpPr>
          <p:spPr bwMode="gray">
            <a:xfrm>
              <a:off x="4767322" y="4493970"/>
              <a:ext cx="489185" cy="477482"/>
            </a:xfrm>
            <a:custGeom>
              <a:avLst/>
              <a:gdLst/>
              <a:ahLst/>
              <a:cxnLst>
                <a:cxn ang="0">
                  <a:pos x="960" y="671"/>
                </a:cxn>
                <a:cxn ang="0">
                  <a:pos x="939" y="609"/>
                </a:cxn>
                <a:cxn ang="0">
                  <a:pos x="933" y="528"/>
                </a:cxn>
                <a:cxn ang="0">
                  <a:pos x="933" y="488"/>
                </a:cxn>
                <a:cxn ang="0">
                  <a:pos x="927" y="435"/>
                </a:cxn>
                <a:cxn ang="0">
                  <a:pos x="934" y="392"/>
                </a:cxn>
                <a:cxn ang="0">
                  <a:pos x="960" y="337"/>
                </a:cxn>
                <a:cxn ang="0">
                  <a:pos x="979" y="248"/>
                </a:cxn>
                <a:cxn ang="0">
                  <a:pos x="1015" y="202"/>
                </a:cxn>
                <a:cxn ang="0">
                  <a:pos x="1043" y="167"/>
                </a:cxn>
                <a:cxn ang="0">
                  <a:pos x="1020" y="143"/>
                </a:cxn>
                <a:cxn ang="0">
                  <a:pos x="1019" y="90"/>
                </a:cxn>
                <a:cxn ang="0">
                  <a:pos x="955" y="36"/>
                </a:cxn>
                <a:cxn ang="0">
                  <a:pos x="892" y="52"/>
                </a:cxn>
                <a:cxn ang="0">
                  <a:pos x="839" y="5"/>
                </a:cxn>
                <a:cxn ang="0">
                  <a:pos x="771" y="0"/>
                </a:cxn>
                <a:cxn ang="0">
                  <a:pos x="697" y="16"/>
                </a:cxn>
                <a:cxn ang="0">
                  <a:pos x="676" y="10"/>
                </a:cxn>
                <a:cxn ang="0">
                  <a:pos x="601" y="27"/>
                </a:cxn>
                <a:cxn ang="0">
                  <a:pos x="509" y="53"/>
                </a:cxn>
                <a:cxn ang="0">
                  <a:pos x="436" y="25"/>
                </a:cxn>
                <a:cxn ang="0">
                  <a:pos x="384" y="16"/>
                </a:cxn>
                <a:cxn ang="0">
                  <a:pos x="359" y="75"/>
                </a:cxn>
                <a:cxn ang="0">
                  <a:pos x="326" y="159"/>
                </a:cxn>
                <a:cxn ang="0">
                  <a:pos x="298" y="327"/>
                </a:cxn>
                <a:cxn ang="0">
                  <a:pos x="217" y="423"/>
                </a:cxn>
                <a:cxn ang="0">
                  <a:pos x="181" y="516"/>
                </a:cxn>
                <a:cxn ang="0">
                  <a:pos x="112" y="531"/>
                </a:cxn>
                <a:cxn ang="0">
                  <a:pos x="68" y="551"/>
                </a:cxn>
                <a:cxn ang="0">
                  <a:pos x="18" y="560"/>
                </a:cxn>
                <a:cxn ang="0">
                  <a:pos x="3" y="612"/>
                </a:cxn>
                <a:cxn ang="0">
                  <a:pos x="9" y="624"/>
                </a:cxn>
                <a:cxn ang="0">
                  <a:pos x="70" y="606"/>
                </a:cxn>
                <a:cxn ang="0">
                  <a:pos x="155" y="606"/>
                </a:cxn>
                <a:cxn ang="0">
                  <a:pos x="225" y="613"/>
                </a:cxn>
                <a:cxn ang="0">
                  <a:pos x="244" y="654"/>
                </a:cxn>
                <a:cxn ang="0">
                  <a:pos x="289" y="727"/>
                </a:cxn>
                <a:cxn ang="0">
                  <a:pos x="366" y="725"/>
                </a:cxn>
                <a:cxn ang="0">
                  <a:pos x="393" y="694"/>
                </a:cxn>
                <a:cxn ang="0">
                  <a:pos x="444" y="664"/>
                </a:cxn>
                <a:cxn ang="0">
                  <a:pos x="520" y="699"/>
                </a:cxn>
                <a:cxn ang="0">
                  <a:pos x="527" y="781"/>
                </a:cxn>
                <a:cxn ang="0">
                  <a:pos x="541" y="850"/>
                </a:cxn>
                <a:cxn ang="0">
                  <a:pos x="531" y="894"/>
                </a:cxn>
                <a:cxn ang="0">
                  <a:pos x="549" y="908"/>
                </a:cxn>
                <a:cxn ang="0">
                  <a:pos x="613" y="891"/>
                </a:cxn>
                <a:cxn ang="0">
                  <a:pos x="645" y="882"/>
                </a:cxn>
                <a:cxn ang="0">
                  <a:pos x="667" y="903"/>
                </a:cxn>
                <a:cxn ang="0">
                  <a:pos x="697" y="901"/>
                </a:cxn>
                <a:cxn ang="0">
                  <a:pos x="736" y="925"/>
                </a:cxn>
                <a:cxn ang="0">
                  <a:pos x="799" y="934"/>
                </a:cxn>
                <a:cxn ang="0">
                  <a:pos x="858" y="961"/>
                </a:cxn>
                <a:cxn ang="0">
                  <a:pos x="898" y="999"/>
                </a:cxn>
                <a:cxn ang="0">
                  <a:pos x="941" y="1010"/>
                </a:cxn>
                <a:cxn ang="0">
                  <a:pos x="959" y="1018"/>
                </a:cxn>
                <a:cxn ang="0">
                  <a:pos x="956" y="958"/>
                </a:cxn>
                <a:cxn ang="0">
                  <a:pos x="911" y="955"/>
                </a:cxn>
                <a:cxn ang="0">
                  <a:pos x="895" y="917"/>
                </a:cxn>
                <a:cxn ang="0">
                  <a:pos x="912" y="820"/>
                </a:cxn>
                <a:cxn ang="0">
                  <a:pos x="914" y="772"/>
                </a:cxn>
                <a:cxn ang="0">
                  <a:pos x="941" y="748"/>
                </a:cxn>
              </a:cxnLst>
              <a:rect l="0" t="0" r="r" b="b"/>
              <a:pathLst>
                <a:path w="1045" h="1018">
                  <a:moveTo>
                    <a:pt x="1003" y="735"/>
                  </a:moveTo>
                  <a:lnTo>
                    <a:pt x="995" y="700"/>
                  </a:lnTo>
                  <a:lnTo>
                    <a:pt x="986" y="688"/>
                  </a:lnTo>
                  <a:lnTo>
                    <a:pt x="972" y="684"/>
                  </a:lnTo>
                  <a:lnTo>
                    <a:pt x="960" y="671"/>
                  </a:lnTo>
                  <a:lnTo>
                    <a:pt x="952" y="662"/>
                  </a:lnTo>
                  <a:lnTo>
                    <a:pt x="945" y="646"/>
                  </a:lnTo>
                  <a:lnTo>
                    <a:pt x="940" y="639"/>
                  </a:lnTo>
                  <a:lnTo>
                    <a:pt x="936" y="622"/>
                  </a:lnTo>
                  <a:lnTo>
                    <a:pt x="939" y="609"/>
                  </a:lnTo>
                  <a:lnTo>
                    <a:pt x="939" y="597"/>
                  </a:lnTo>
                  <a:lnTo>
                    <a:pt x="933" y="585"/>
                  </a:lnTo>
                  <a:lnTo>
                    <a:pt x="927" y="566"/>
                  </a:lnTo>
                  <a:lnTo>
                    <a:pt x="928" y="551"/>
                  </a:lnTo>
                  <a:lnTo>
                    <a:pt x="933" y="528"/>
                  </a:lnTo>
                  <a:lnTo>
                    <a:pt x="932" y="517"/>
                  </a:lnTo>
                  <a:lnTo>
                    <a:pt x="928" y="520"/>
                  </a:lnTo>
                  <a:lnTo>
                    <a:pt x="927" y="515"/>
                  </a:lnTo>
                  <a:lnTo>
                    <a:pt x="928" y="503"/>
                  </a:lnTo>
                  <a:lnTo>
                    <a:pt x="933" y="488"/>
                  </a:lnTo>
                  <a:lnTo>
                    <a:pt x="934" y="478"/>
                  </a:lnTo>
                  <a:lnTo>
                    <a:pt x="938" y="471"/>
                  </a:lnTo>
                  <a:lnTo>
                    <a:pt x="935" y="447"/>
                  </a:lnTo>
                  <a:lnTo>
                    <a:pt x="933" y="441"/>
                  </a:lnTo>
                  <a:lnTo>
                    <a:pt x="927" y="435"/>
                  </a:lnTo>
                  <a:lnTo>
                    <a:pt x="922" y="428"/>
                  </a:lnTo>
                  <a:lnTo>
                    <a:pt x="920" y="424"/>
                  </a:lnTo>
                  <a:lnTo>
                    <a:pt x="920" y="417"/>
                  </a:lnTo>
                  <a:lnTo>
                    <a:pt x="930" y="403"/>
                  </a:lnTo>
                  <a:lnTo>
                    <a:pt x="934" y="392"/>
                  </a:lnTo>
                  <a:lnTo>
                    <a:pt x="941" y="379"/>
                  </a:lnTo>
                  <a:lnTo>
                    <a:pt x="949" y="367"/>
                  </a:lnTo>
                  <a:lnTo>
                    <a:pt x="956" y="360"/>
                  </a:lnTo>
                  <a:lnTo>
                    <a:pt x="959" y="358"/>
                  </a:lnTo>
                  <a:lnTo>
                    <a:pt x="960" y="337"/>
                  </a:lnTo>
                  <a:lnTo>
                    <a:pt x="962" y="309"/>
                  </a:lnTo>
                  <a:lnTo>
                    <a:pt x="962" y="295"/>
                  </a:lnTo>
                  <a:lnTo>
                    <a:pt x="970" y="264"/>
                  </a:lnTo>
                  <a:lnTo>
                    <a:pt x="976" y="253"/>
                  </a:lnTo>
                  <a:lnTo>
                    <a:pt x="979" y="248"/>
                  </a:lnTo>
                  <a:lnTo>
                    <a:pt x="992" y="234"/>
                  </a:lnTo>
                  <a:lnTo>
                    <a:pt x="1003" y="221"/>
                  </a:lnTo>
                  <a:lnTo>
                    <a:pt x="1009" y="215"/>
                  </a:lnTo>
                  <a:lnTo>
                    <a:pt x="1011" y="209"/>
                  </a:lnTo>
                  <a:lnTo>
                    <a:pt x="1015" y="202"/>
                  </a:lnTo>
                  <a:lnTo>
                    <a:pt x="1026" y="197"/>
                  </a:lnTo>
                  <a:lnTo>
                    <a:pt x="1032" y="192"/>
                  </a:lnTo>
                  <a:lnTo>
                    <a:pt x="1041" y="183"/>
                  </a:lnTo>
                  <a:lnTo>
                    <a:pt x="1045" y="175"/>
                  </a:lnTo>
                  <a:lnTo>
                    <a:pt x="1043" y="167"/>
                  </a:lnTo>
                  <a:lnTo>
                    <a:pt x="1041" y="162"/>
                  </a:lnTo>
                  <a:lnTo>
                    <a:pt x="1032" y="160"/>
                  </a:lnTo>
                  <a:lnTo>
                    <a:pt x="1027" y="156"/>
                  </a:lnTo>
                  <a:lnTo>
                    <a:pt x="1022" y="151"/>
                  </a:lnTo>
                  <a:lnTo>
                    <a:pt x="1020" y="143"/>
                  </a:lnTo>
                  <a:lnTo>
                    <a:pt x="1019" y="121"/>
                  </a:lnTo>
                  <a:lnTo>
                    <a:pt x="1022" y="103"/>
                  </a:lnTo>
                  <a:lnTo>
                    <a:pt x="1025" y="94"/>
                  </a:lnTo>
                  <a:lnTo>
                    <a:pt x="1025" y="90"/>
                  </a:lnTo>
                  <a:lnTo>
                    <a:pt x="1019" y="90"/>
                  </a:lnTo>
                  <a:lnTo>
                    <a:pt x="1013" y="85"/>
                  </a:lnTo>
                  <a:lnTo>
                    <a:pt x="1004" y="76"/>
                  </a:lnTo>
                  <a:lnTo>
                    <a:pt x="990" y="68"/>
                  </a:lnTo>
                  <a:lnTo>
                    <a:pt x="966" y="42"/>
                  </a:lnTo>
                  <a:lnTo>
                    <a:pt x="955" y="36"/>
                  </a:lnTo>
                  <a:lnTo>
                    <a:pt x="943" y="46"/>
                  </a:lnTo>
                  <a:lnTo>
                    <a:pt x="932" y="47"/>
                  </a:lnTo>
                  <a:lnTo>
                    <a:pt x="905" y="41"/>
                  </a:lnTo>
                  <a:lnTo>
                    <a:pt x="898" y="49"/>
                  </a:lnTo>
                  <a:lnTo>
                    <a:pt x="892" y="52"/>
                  </a:lnTo>
                  <a:lnTo>
                    <a:pt x="869" y="43"/>
                  </a:lnTo>
                  <a:lnTo>
                    <a:pt x="864" y="33"/>
                  </a:lnTo>
                  <a:lnTo>
                    <a:pt x="858" y="25"/>
                  </a:lnTo>
                  <a:lnTo>
                    <a:pt x="846" y="16"/>
                  </a:lnTo>
                  <a:lnTo>
                    <a:pt x="839" y="5"/>
                  </a:lnTo>
                  <a:lnTo>
                    <a:pt x="811" y="5"/>
                  </a:lnTo>
                  <a:lnTo>
                    <a:pt x="803" y="16"/>
                  </a:lnTo>
                  <a:lnTo>
                    <a:pt x="791" y="9"/>
                  </a:lnTo>
                  <a:lnTo>
                    <a:pt x="784" y="16"/>
                  </a:lnTo>
                  <a:lnTo>
                    <a:pt x="771" y="0"/>
                  </a:lnTo>
                  <a:lnTo>
                    <a:pt x="756" y="5"/>
                  </a:lnTo>
                  <a:lnTo>
                    <a:pt x="733" y="9"/>
                  </a:lnTo>
                  <a:lnTo>
                    <a:pt x="713" y="4"/>
                  </a:lnTo>
                  <a:lnTo>
                    <a:pt x="709" y="16"/>
                  </a:lnTo>
                  <a:lnTo>
                    <a:pt x="697" y="16"/>
                  </a:lnTo>
                  <a:lnTo>
                    <a:pt x="690" y="19"/>
                  </a:lnTo>
                  <a:lnTo>
                    <a:pt x="682" y="16"/>
                  </a:lnTo>
                  <a:lnTo>
                    <a:pt x="683" y="16"/>
                  </a:lnTo>
                  <a:lnTo>
                    <a:pt x="682" y="10"/>
                  </a:lnTo>
                  <a:lnTo>
                    <a:pt x="676" y="10"/>
                  </a:lnTo>
                  <a:lnTo>
                    <a:pt x="665" y="16"/>
                  </a:lnTo>
                  <a:lnTo>
                    <a:pt x="639" y="21"/>
                  </a:lnTo>
                  <a:lnTo>
                    <a:pt x="628" y="27"/>
                  </a:lnTo>
                  <a:lnTo>
                    <a:pt x="610" y="32"/>
                  </a:lnTo>
                  <a:lnTo>
                    <a:pt x="601" y="27"/>
                  </a:lnTo>
                  <a:lnTo>
                    <a:pt x="583" y="24"/>
                  </a:lnTo>
                  <a:lnTo>
                    <a:pt x="569" y="32"/>
                  </a:lnTo>
                  <a:lnTo>
                    <a:pt x="567" y="49"/>
                  </a:lnTo>
                  <a:lnTo>
                    <a:pt x="559" y="53"/>
                  </a:lnTo>
                  <a:lnTo>
                    <a:pt x="509" y="53"/>
                  </a:lnTo>
                  <a:lnTo>
                    <a:pt x="486" y="47"/>
                  </a:lnTo>
                  <a:lnTo>
                    <a:pt x="472" y="37"/>
                  </a:lnTo>
                  <a:lnTo>
                    <a:pt x="465" y="46"/>
                  </a:lnTo>
                  <a:lnTo>
                    <a:pt x="457" y="43"/>
                  </a:lnTo>
                  <a:lnTo>
                    <a:pt x="436" y="25"/>
                  </a:lnTo>
                  <a:lnTo>
                    <a:pt x="434" y="16"/>
                  </a:lnTo>
                  <a:lnTo>
                    <a:pt x="427" y="6"/>
                  </a:lnTo>
                  <a:lnTo>
                    <a:pt x="411" y="5"/>
                  </a:lnTo>
                  <a:lnTo>
                    <a:pt x="397" y="5"/>
                  </a:lnTo>
                  <a:lnTo>
                    <a:pt x="384" y="16"/>
                  </a:lnTo>
                  <a:lnTo>
                    <a:pt x="378" y="22"/>
                  </a:lnTo>
                  <a:lnTo>
                    <a:pt x="371" y="37"/>
                  </a:lnTo>
                  <a:lnTo>
                    <a:pt x="363" y="42"/>
                  </a:lnTo>
                  <a:lnTo>
                    <a:pt x="360" y="56"/>
                  </a:lnTo>
                  <a:lnTo>
                    <a:pt x="359" y="75"/>
                  </a:lnTo>
                  <a:lnTo>
                    <a:pt x="362" y="84"/>
                  </a:lnTo>
                  <a:lnTo>
                    <a:pt x="349" y="86"/>
                  </a:lnTo>
                  <a:lnTo>
                    <a:pt x="352" y="103"/>
                  </a:lnTo>
                  <a:lnTo>
                    <a:pt x="347" y="122"/>
                  </a:lnTo>
                  <a:lnTo>
                    <a:pt x="326" y="159"/>
                  </a:lnTo>
                  <a:lnTo>
                    <a:pt x="316" y="183"/>
                  </a:lnTo>
                  <a:lnTo>
                    <a:pt x="307" y="227"/>
                  </a:lnTo>
                  <a:lnTo>
                    <a:pt x="306" y="293"/>
                  </a:lnTo>
                  <a:lnTo>
                    <a:pt x="299" y="323"/>
                  </a:lnTo>
                  <a:lnTo>
                    <a:pt x="298" y="327"/>
                  </a:lnTo>
                  <a:lnTo>
                    <a:pt x="283" y="340"/>
                  </a:lnTo>
                  <a:lnTo>
                    <a:pt x="264" y="350"/>
                  </a:lnTo>
                  <a:lnTo>
                    <a:pt x="247" y="366"/>
                  </a:lnTo>
                  <a:lnTo>
                    <a:pt x="224" y="402"/>
                  </a:lnTo>
                  <a:lnTo>
                    <a:pt x="217" y="423"/>
                  </a:lnTo>
                  <a:lnTo>
                    <a:pt x="213" y="444"/>
                  </a:lnTo>
                  <a:lnTo>
                    <a:pt x="213" y="462"/>
                  </a:lnTo>
                  <a:lnTo>
                    <a:pt x="209" y="480"/>
                  </a:lnTo>
                  <a:lnTo>
                    <a:pt x="196" y="501"/>
                  </a:lnTo>
                  <a:lnTo>
                    <a:pt x="181" y="516"/>
                  </a:lnTo>
                  <a:lnTo>
                    <a:pt x="167" y="523"/>
                  </a:lnTo>
                  <a:lnTo>
                    <a:pt x="144" y="544"/>
                  </a:lnTo>
                  <a:lnTo>
                    <a:pt x="123" y="552"/>
                  </a:lnTo>
                  <a:lnTo>
                    <a:pt x="113" y="549"/>
                  </a:lnTo>
                  <a:lnTo>
                    <a:pt x="112" y="531"/>
                  </a:lnTo>
                  <a:lnTo>
                    <a:pt x="110" y="526"/>
                  </a:lnTo>
                  <a:lnTo>
                    <a:pt x="96" y="530"/>
                  </a:lnTo>
                  <a:lnTo>
                    <a:pt x="83" y="532"/>
                  </a:lnTo>
                  <a:lnTo>
                    <a:pt x="75" y="538"/>
                  </a:lnTo>
                  <a:lnTo>
                    <a:pt x="68" y="551"/>
                  </a:lnTo>
                  <a:lnTo>
                    <a:pt x="56" y="554"/>
                  </a:lnTo>
                  <a:lnTo>
                    <a:pt x="40" y="544"/>
                  </a:lnTo>
                  <a:lnTo>
                    <a:pt x="36" y="546"/>
                  </a:lnTo>
                  <a:lnTo>
                    <a:pt x="27" y="552"/>
                  </a:lnTo>
                  <a:lnTo>
                    <a:pt x="18" y="560"/>
                  </a:lnTo>
                  <a:lnTo>
                    <a:pt x="14" y="576"/>
                  </a:lnTo>
                  <a:lnTo>
                    <a:pt x="11" y="591"/>
                  </a:lnTo>
                  <a:lnTo>
                    <a:pt x="10" y="603"/>
                  </a:lnTo>
                  <a:lnTo>
                    <a:pt x="2" y="608"/>
                  </a:lnTo>
                  <a:lnTo>
                    <a:pt x="3" y="612"/>
                  </a:lnTo>
                  <a:lnTo>
                    <a:pt x="3" y="619"/>
                  </a:lnTo>
                  <a:lnTo>
                    <a:pt x="0" y="625"/>
                  </a:lnTo>
                  <a:lnTo>
                    <a:pt x="2" y="629"/>
                  </a:lnTo>
                  <a:lnTo>
                    <a:pt x="3" y="627"/>
                  </a:lnTo>
                  <a:lnTo>
                    <a:pt x="9" y="624"/>
                  </a:lnTo>
                  <a:lnTo>
                    <a:pt x="27" y="619"/>
                  </a:lnTo>
                  <a:lnTo>
                    <a:pt x="41" y="612"/>
                  </a:lnTo>
                  <a:lnTo>
                    <a:pt x="54" y="607"/>
                  </a:lnTo>
                  <a:lnTo>
                    <a:pt x="63" y="607"/>
                  </a:lnTo>
                  <a:lnTo>
                    <a:pt x="70" y="606"/>
                  </a:lnTo>
                  <a:lnTo>
                    <a:pt x="94" y="607"/>
                  </a:lnTo>
                  <a:lnTo>
                    <a:pt x="116" y="605"/>
                  </a:lnTo>
                  <a:lnTo>
                    <a:pt x="123" y="607"/>
                  </a:lnTo>
                  <a:lnTo>
                    <a:pt x="142" y="608"/>
                  </a:lnTo>
                  <a:lnTo>
                    <a:pt x="155" y="606"/>
                  </a:lnTo>
                  <a:lnTo>
                    <a:pt x="169" y="606"/>
                  </a:lnTo>
                  <a:lnTo>
                    <a:pt x="202" y="603"/>
                  </a:lnTo>
                  <a:lnTo>
                    <a:pt x="218" y="605"/>
                  </a:lnTo>
                  <a:lnTo>
                    <a:pt x="220" y="606"/>
                  </a:lnTo>
                  <a:lnTo>
                    <a:pt x="225" y="613"/>
                  </a:lnTo>
                  <a:lnTo>
                    <a:pt x="229" y="614"/>
                  </a:lnTo>
                  <a:lnTo>
                    <a:pt x="233" y="613"/>
                  </a:lnTo>
                  <a:lnTo>
                    <a:pt x="237" y="622"/>
                  </a:lnTo>
                  <a:lnTo>
                    <a:pt x="242" y="640"/>
                  </a:lnTo>
                  <a:lnTo>
                    <a:pt x="244" y="654"/>
                  </a:lnTo>
                  <a:lnTo>
                    <a:pt x="245" y="659"/>
                  </a:lnTo>
                  <a:lnTo>
                    <a:pt x="252" y="671"/>
                  </a:lnTo>
                  <a:lnTo>
                    <a:pt x="256" y="687"/>
                  </a:lnTo>
                  <a:lnTo>
                    <a:pt x="268" y="700"/>
                  </a:lnTo>
                  <a:lnTo>
                    <a:pt x="289" y="727"/>
                  </a:lnTo>
                  <a:lnTo>
                    <a:pt x="301" y="732"/>
                  </a:lnTo>
                  <a:lnTo>
                    <a:pt x="315" y="732"/>
                  </a:lnTo>
                  <a:lnTo>
                    <a:pt x="336" y="725"/>
                  </a:lnTo>
                  <a:lnTo>
                    <a:pt x="349" y="722"/>
                  </a:lnTo>
                  <a:lnTo>
                    <a:pt x="366" y="725"/>
                  </a:lnTo>
                  <a:lnTo>
                    <a:pt x="386" y="725"/>
                  </a:lnTo>
                  <a:lnTo>
                    <a:pt x="389" y="710"/>
                  </a:lnTo>
                  <a:lnTo>
                    <a:pt x="390" y="703"/>
                  </a:lnTo>
                  <a:lnTo>
                    <a:pt x="392" y="698"/>
                  </a:lnTo>
                  <a:lnTo>
                    <a:pt x="393" y="694"/>
                  </a:lnTo>
                  <a:lnTo>
                    <a:pt x="395" y="689"/>
                  </a:lnTo>
                  <a:lnTo>
                    <a:pt x="396" y="678"/>
                  </a:lnTo>
                  <a:lnTo>
                    <a:pt x="398" y="670"/>
                  </a:lnTo>
                  <a:lnTo>
                    <a:pt x="441" y="670"/>
                  </a:lnTo>
                  <a:lnTo>
                    <a:pt x="444" y="664"/>
                  </a:lnTo>
                  <a:lnTo>
                    <a:pt x="467" y="664"/>
                  </a:lnTo>
                  <a:lnTo>
                    <a:pt x="466" y="686"/>
                  </a:lnTo>
                  <a:lnTo>
                    <a:pt x="514" y="687"/>
                  </a:lnTo>
                  <a:lnTo>
                    <a:pt x="518" y="691"/>
                  </a:lnTo>
                  <a:lnTo>
                    <a:pt x="520" y="699"/>
                  </a:lnTo>
                  <a:lnTo>
                    <a:pt x="522" y="731"/>
                  </a:lnTo>
                  <a:lnTo>
                    <a:pt x="525" y="743"/>
                  </a:lnTo>
                  <a:lnTo>
                    <a:pt x="525" y="759"/>
                  </a:lnTo>
                  <a:lnTo>
                    <a:pt x="527" y="775"/>
                  </a:lnTo>
                  <a:lnTo>
                    <a:pt x="527" y="781"/>
                  </a:lnTo>
                  <a:lnTo>
                    <a:pt x="524" y="792"/>
                  </a:lnTo>
                  <a:lnTo>
                    <a:pt x="524" y="806"/>
                  </a:lnTo>
                  <a:lnTo>
                    <a:pt x="526" y="815"/>
                  </a:lnTo>
                  <a:lnTo>
                    <a:pt x="535" y="829"/>
                  </a:lnTo>
                  <a:lnTo>
                    <a:pt x="541" y="850"/>
                  </a:lnTo>
                  <a:lnTo>
                    <a:pt x="547" y="866"/>
                  </a:lnTo>
                  <a:lnTo>
                    <a:pt x="547" y="874"/>
                  </a:lnTo>
                  <a:lnTo>
                    <a:pt x="542" y="881"/>
                  </a:lnTo>
                  <a:lnTo>
                    <a:pt x="531" y="892"/>
                  </a:lnTo>
                  <a:lnTo>
                    <a:pt x="531" y="894"/>
                  </a:lnTo>
                  <a:lnTo>
                    <a:pt x="532" y="897"/>
                  </a:lnTo>
                  <a:lnTo>
                    <a:pt x="534" y="898"/>
                  </a:lnTo>
                  <a:lnTo>
                    <a:pt x="537" y="899"/>
                  </a:lnTo>
                  <a:lnTo>
                    <a:pt x="543" y="907"/>
                  </a:lnTo>
                  <a:lnTo>
                    <a:pt x="549" y="908"/>
                  </a:lnTo>
                  <a:lnTo>
                    <a:pt x="552" y="907"/>
                  </a:lnTo>
                  <a:lnTo>
                    <a:pt x="554" y="901"/>
                  </a:lnTo>
                  <a:lnTo>
                    <a:pt x="557" y="893"/>
                  </a:lnTo>
                  <a:lnTo>
                    <a:pt x="562" y="891"/>
                  </a:lnTo>
                  <a:lnTo>
                    <a:pt x="613" y="891"/>
                  </a:lnTo>
                  <a:lnTo>
                    <a:pt x="623" y="887"/>
                  </a:lnTo>
                  <a:lnTo>
                    <a:pt x="632" y="890"/>
                  </a:lnTo>
                  <a:lnTo>
                    <a:pt x="634" y="890"/>
                  </a:lnTo>
                  <a:lnTo>
                    <a:pt x="644" y="882"/>
                  </a:lnTo>
                  <a:lnTo>
                    <a:pt x="645" y="882"/>
                  </a:lnTo>
                  <a:lnTo>
                    <a:pt x="655" y="880"/>
                  </a:lnTo>
                  <a:lnTo>
                    <a:pt x="659" y="880"/>
                  </a:lnTo>
                  <a:lnTo>
                    <a:pt x="661" y="881"/>
                  </a:lnTo>
                  <a:lnTo>
                    <a:pt x="667" y="891"/>
                  </a:lnTo>
                  <a:lnTo>
                    <a:pt x="667" y="903"/>
                  </a:lnTo>
                  <a:lnTo>
                    <a:pt x="669" y="908"/>
                  </a:lnTo>
                  <a:lnTo>
                    <a:pt x="672" y="908"/>
                  </a:lnTo>
                  <a:lnTo>
                    <a:pt x="686" y="902"/>
                  </a:lnTo>
                  <a:lnTo>
                    <a:pt x="691" y="901"/>
                  </a:lnTo>
                  <a:lnTo>
                    <a:pt x="697" y="901"/>
                  </a:lnTo>
                  <a:lnTo>
                    <a:pt x="708" y="896"/>
                  </a:lnTo>
                  <a:lnTo>
                    <a:pt x="714" y="904"/>
                  </a:lnTo>
                  <a:lnTo>
                    <a:pt x="718" y="913"/>
                  </a:lnTo>
                  <a:lnTo>
                    <a:pt x="723" y="919"/>
                  </a:lnTo>
                  <a:lnTo>
                    <a:pt x="736" y="925"/>
                  </a:lnTo>
                  <a:lnTo>
                    <a:pt x="748" y="933"/>
                  </a:lnTo>
                  <a:lnTo>
                    <a:pt x="766" y="940"/>
                  </a:lnTo>
                  <a:lnTo>
                    <a:pt x="778" y="941"/>
                  </a:lnTo>
                  <a:lnTo>
                    <a:pt x="787" y="939"/>
                  </a:lnTo>
                  <a:lnTo>
                    <a:pt x="799" y="934"/>
                  </a:lnTo>
                  <a:lnTo>
                    <a:pt x="809" y="931"/>
                  </a:lnTo>
                  <a:lnTo>
                    <a:pt x="814" y="933"/>
                  </a:lnTo>
                  <a:lnTo>
                    <a:pt x="833" y="951"/>
                  </a:lnTo>
                  <a:lnTo>
                    <a:pt x="847" y="957"/>
                  </a:lnTo>
                  <a:lnTo>
                    <a:pt x="858" y="961"/>
                  </a:lnTo>
                  <a:lnTo>
                    <a:pt x="869" y="962"/>
                  </a:lnTo>
                  <a:lnTo>
                    <a:pt x="876" y="968"/>
                  </a:lnTo>
                  <a:lnTo>
                    <a:pt x="881" y="980"/>
                  </a:lnTo>
                  <a:lnTo>
                    <a:pt x="885" y="987"/>
                  </a:lnTo>
                  <a:lnTo>
                    <a:pt x="898" y="999"/>
                  </a:lnTo>
                  <a:lnTo>
                    <a:pt x="912" y="1007"/>
                  </a:lnTo>
                  <a:lnTo>
                    <a:pt x="922" y="1011"/>
                  </a:lnTo>
                  <a:lnTo>
                    <a:pt x="932" y="1012"/>
                  </a:lnTo>
                  <a:lnTo>
                    <a:pt x="935" y="1012"/>
                  </a:lnTo>
                  <a:lnTo>
                    <a:pt x="941" y="1010"/>
                  </a:lnTo>
                  <a:lnTo>
                    <a:pt x="945" y="1009"/>
                  </a:lnTo>
                  <a:lnTo>
                    <a:pt x="946" y="1010"/>
                  </a:lnTo>
                  <a:lnTo>
                    <a:pt x="951" y="1017"/>
                  </a:lnTo>
                  <a:lnTo>
                    <a:pt x="955" y="1018"/>
                  </a:lnTo>
                  <a:lnTo>
                    <a:pt x="959" y="1018"/>
                  </a:lnTo>
                  <a:lnTo>
                    <a:pt x="961" y="1016"/>
                  </a:lnTo>
                  <a:lnTo>
                    <a:pt x="961" y="1009"/>
                  </a:lnTo>
                  <a:lnTo>
                    <a:pt x="960" y="1001"/>
                  </a:lnTo>
                  <a:lnTo>
                    <a:pt x="959" y="966"/>
                  </a:lnTo>
                  <a:lnTo>
                    <a:pt x="956" y="958"/>
                  </a:lnTo>
                  <a:lnTo>
                    <a:pt x="950" y="957"/>
                  </a:lnTo>
                  <a:lnTo>
                    <a:pt x="941" y="962"/>
                  </a:lnTo>
                  <a:lnTo>
                    <a:pt x="930" y="960"/>
                  </a:lnTo>
                  <a:lnTo>
                    <a:pt x="918" y="960"/>
                  </a:lnTo>
                  <a:lnTo>
                    <a:pt x="911" y="955"/>
                  </a:lnTo>
                  <a:lnTo>
                    <a:pt x="901" y="942"/>
                  </a:lnTo>
                  <a:lnTo>
                    <a:pt x="895" y="936"/>
                  </a:lnTo>
                  <a:lnTo>
                    <a:pt x="893" y="934"/>
                  </a:lnTo>
                  <a:lnTo>
                    <a:pt x="892" y="924"/>
                  </a:lnTo>
                  <a:lnTo>
                    <a:pt x="895" y="917"/>
                  </a:lnTo>
                  <a:lnTo>
                    <a:pt x="897" y="905"/>
                  </a:lnTo>
                  <a:lnTo>
                    <a:pt x="912" y="866"/>
                  </a:lnTo>
                  <a:lnTo>
                    <a:pt x="913" y="859"/>
                  </a:lnTo>
                  <a:lnTo>
                    <a:pt x="914" y="834"/>
                  </a:lnTo>
                  <a:lnTo>
                    <a:pt x="912" y="820"/>
                  </a:lnTo>
                  <a:lnTo>
                    <a:pt x="905" y="801"/>
                  </a:lnTo>
                  <a:lnTo>
                    <a:pt x="905" y="791"/>
                  </a:lnTo>
                  <a:lnTo>
                    <a:pt x="907" y="788"/>
                  </a:lnTo>
                  <a:lnTo>
                    <a:pt x="909" y="779"/>
                  </a:lnTo>
                  <a:lnTo>
                    <a:pt x="914" y="772"/>
                  </a:lnTo>
                  <a:lnTo>
                    <a:pt x="922" y="758"/>
                  </a:lnTo>
                  <a:lnTo>
                    <a:pt x="924" y="756"/>
                  </a:lnTo>
                  <a:lnTo>
                    <a:pt x="929" y="752"/>
                  </a:lnTo>
                  <a:lnTo>
                    <a:pt x="932" y="752"/>
                  </a:lnTo>
                  <a:lnTo>
                    <a:pt x="941" y="748"/>
                  </a:lnTo>
                  <a:lnTo>
                    <a:pt x="1003" y="73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53" name="Tasmania"/>
            <p:cNvSpPr>
              <a:spLocks noChangeAspect="1"/>
            </p:cNvSpPr>
            <p:nvPr>
              <p:custDataLst>
                <p:tags r:id="rId52"/>
              </p:custDataLst>
            </p:nvPr>
          </p:nvSpPr>
          <p:spPr bwMode="gray">
            <a:xfrm>
              <a:off x="8168214" y="5767257"/>
              <a:ext cx="93624" cy="100646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20" y="11"/>
                </a:cxn>
                <a:cxn ang="0">
                  <a:pos x="30" y="7"/>
                </a:cxn>
                <a:cxn ang="0">
                  <a:pos x="68" y="32"/>
                </a:cxn>
                <a:cxn ang="0">
                  <a:pos x="105" y="36"/>
                </a:cxn>
                <a:cxn ang="0">
                  <a:pos x="127" y="23"/>
                </a:cxn>
                <a:cxn ang="0">
                  <a:pos x="148" y="22"/>
                </a:cxn>
                <a:cxn ang="0">
                  <a:pos x="165" y="13"/>
                </a:cxn>
                <a:cxn ang="0">
                  <a:pos x="176" y="7"/>
                </a:cxn>
                <a:cxn ang="0">
                  <a:pos x="193" y="22"/>
                </a:cxn>
                <a:cxn ang="0">
                  <a:pos x="198" y="54"/>
                </a:cxn>
                <a:cxn ang="0">
                  <a:pos x="196" y="85"/>
                </a:cxn>
                <a:cxn ang="0">
                  <a:pos x="201" y="109"/>
                </a:cxn>
                <a:cxn ang="0">
                  <a:pos x="198" y="112"/>
                </a:cxn>
                <a:cxn ang="0">
                  <a:pos x="194" y="94"/>
                </a:cxn>
                <a:cxn ang="0">
                  <a:pos x="182" y="119"/>
                </a:cxn>
                <a:cxn ang="0">
                  <a:pos x="177" y="135"/>
                </a:cxn>
                <a:cxn ang="0">
                  <a:pos x="172" y="157"/>
                </a:cxn>
                <a:cxn ang="0">
                  <a:pos x="156" y="155"/>
                </a:cxn>
                <a:cxn ang="0">
                  <a:pos x="154" y="167"/>
                </a:cxn>
                <a:cxn ang="0">
                  <a:pos x="143" y="179"/>
                </a:cxn>
                <a:cxn ang="0">
                  <a:pos x="137" y="184"/>
                </a:cxn>
                <a:cxn ang="0">
                  <a:pos x="127" y="187"/>
                </a:cxn>
                <a:cxn ang="0">
                  <a:pos x="124" y="206"/>
                </a:cxn>
                <a:cxn ang="0">
                  <a:pos x="111" y="216"/>
                </a:cxn>
                <a:cxn ang="0">
                  <a:pos x="99" y="209"/>
                </a:cxn>
                <a:cxn ang="0">
                  <a:pos x="83" y="208"/>
                </a:cxn>
                <a:cxn ang="0">
                  <a:pos x="69" y="201"/>
                </a:cxn>
                <a:cxn ang="0">
                  <a:pos x="80" y="193"/>
                </a:cxn>
                <a:cxn ang="0">
                  <a:pos x="62" y="188"/>
                </a:cxn>
                <a:cxn ang="0">
                  <a:pos x="41" y="157"/>
                </a:cxn>
                <a:cxn ang="0">
                  <a:pos x="25" y="107"/>
                </a:cxn>
                <a:cxn ang="0">
                  <a:pos x="45" y="118"/>
                </a:cxn>
                <a:cxn ang="0">
                  <a:pos x="25" y="92"/>
                </a:cxn>
                <a:cxn ang="0">
                  <a:pos x="2" y="24"/>
                </a:cxn>
              </a:cxnLst>
              <a:rect l="0" t="0" r="r" b="b"/>
              <a:pathLst>
                <a:path w="201" h="216">
                  <a:moveTo>
                    <a:pt x="2" y="0"/>
                  </a:moveTo>
                  <a:lnTo>
                    <a:pt x="4" y="4"/>
                  </a:lnTo>
                  <a:lnTo>
                    <a:pt x="13" y="6"/>
                  </a:lnTo>
                  <a:lnTo>
                    <a:pt x="20" y="11"/>
                  </a:lnTo>
                  <a:lnTo>
                    <a:pt x="26" y="7"/>
                  </a:lnTo>
                  <a:lnTo>
                    <a:pt x="30" y="7"/>
                  </a:lnTo>
                  <a:lnTo>
                    <a:pt x="43" y="13"/>
                  </a:lnTo>
                  <a:lnTo>
                    <a:pt x="68" y="32"/>
                  </a:lnTo>
                  <a:lnTo>
                    <a:pt x="100" y="36"/>
                  </a:lnTo>
                  <a:lnTo>
                    <a:pt x="105" y="36"/>
                  </a:lnTo>
                  <a:lnTo>
                    <a:pt x="116" y="28"/>
                  </a:lnTo>
                  <a:lnTo>
                    <a:pt x="127" y="23"/>
                  </a:lnTo>
                  <a:lnTo>
                    <a:pt x="137" y="24"/>
                  </a:lnTo>
                  <a:lnTo>
                    <a:pt x="148" y="22"/>
                  </a:lnTo>
                  <a:lnTo>
                    <a:pt x="159" y="11"/>
                  </a:lnTo>
                  <a:lnTo>
                    <a:pt x="165" y="13"/>
                  </a:lnTo>
                  <a:lnTo>
                    <a:pt x="172" y="16"/>
                  </a:lnTo>
                  <a:lnTo>
                    <a:pt x="176" y="7"/>
                  </a:lnTo>
                  <a:lnTo>
                    <a:pt x="185" y="11"/>
                  </a:lnTo>
                  <a:lnTo>
                    <a:pt x="193" y="22"/>
                  </a:lnTo>
                  <a:lnTo>
                    <a:pt x="197" y="44"/>
                  </a:lnTo>
                  <a:lnTo>
                    <a:pt x="198" y="54"/>
                  </a:lnTo>
                  <a:lnTo>
                    <a:pt x="196" y="65"/>
                  </a:lnTo>
                  <a:lnTo>
                    <a:pt x="196" y="85"/>
                  </a:lnTo>
                  <a:lnTo>
                    <a:pt x="198" y="103"/>
                  </a:lnTo>
                  <a:lnTo>
                    <a:pt x="201" y="109"/>
                  </a:lnTo>
                  <a:lnTo>
                    <a:pt x="198" y="122"/>
                  </a:lnTo>
                  <a:lnTo>
                    <a:pt x="198" y="112"/>
                  </a:lnTo>
                  <a:lnTo>
                    <a:pt x="197" y="102"/>
                  </a:lnTo>
                  <a:lnTo>
                    <a:pt x="194" y="94"/>
                  </a:lnTo>
                  <a:lnTo>
                    <a:pt x="192" y="101"/>
                  </a:lnTo>
                  <a:lnTo>
                    <a:pt x="182" y="119"/>
                  </a:lnTo>
                  <a:lnTo>
                    <a:pt x="182" y="134"/>
                  </a:lnTo>
                  <a:lnTo>
                    <a:pt x="177" y="135"/>
                  </a:lnTo>
                  <a:lnTo>
                    <a:pt x="177" y="153"/>
                  </a:lnTo>
                  <a:lnTo>
                    <a:pt x="172" y="157"/>
                  </a:lnTo>
                  <a:lnTo>
                    <a:pt x="166" y="157"/>
                  </a:lnTo>
                  <a:lnTo>
                    <a:pt x="156" y="155"/>
                  </a:lnTo>
                  <a:lnTo>
                    <a:pt x="154" y="158"/>
                  </a:lnTo>
                  <a:lnTo>
                    <a:pt x="154" y="167"/>
                  </a:lnTo>
                  <a:lnTo>
                    <a:pt x="150" y="176"/>
                  </a:lnTo>
                  <a:lnTo>
                    <a:pt x="143" y="179"/>
                  </a:lnTo>
                  <a:lnTo>
                    <a:pt x="140" y="190"/>
                  </a:lnTo>
                  <a:lnTo>
                    <a:pt x="137" y="184"/>
                  </a:lnTo>
                  <a:lnTo>
                    <a:pt x="131" y="182"/>
                  </a:lnTo>
                  <a:lnTo>
                    <a:pt x="127" y="187"/>
                  </a:lnTo>
                  <a:lnTo>
                    <a:pt x="124" y="198"/>
                  </a:lnTo>
                  <a:lnTo>
                    <a:pt x="124" y="206"/>
                  </a:lnTo>
                  <a:lnTo>
                    <a:pt x="117" y="215"/>
                  </a:lnTo>
                  <a:lnTo>
                    <a:pt x="111" y="216"/>
                  </a:lnTo>
                  <a:lnTo>
                    <a:pt x="105" y="211"/>
                  </a:lnTo>
                  <a:lnTo>
                    <a:pt x="99" y="209"/>
                  </a:lnTo>
                  <a:lnTo>
                    <a:pt x="94" y="212"/>
                  </a:lnTo>
                  <a:lnTo>
                    <a:pt x="83" y="208"/>
                  </a:lnTo>
                  <a:lnTo>
                    <a:pt x="73" y="208"/>
                  </a:lnTo>
                  <a:lnTo>
                    <a:pt x="69" y="201"/>
                  </a:lnTo>
                  <a:lnTo>
                    <a:pt x="77" y="200"/>
                  </a:lnTo>
                  <a:lnTo>
                    <a:pt x="80" y="193"/>
                  </a:lnTo>
                  <a:lnTo>
                    <a:pt x="70" y="193"/>
                  </a:lnTo>
                  <a:lnTo>
                    <a:pt x="62" y="188"/>
                  </a:lnTo>
                  <a:lnTo>
                    <a:pt x="49" y="165"/>
                  </a:lnTo>
                  <a:lnTo>
                    <a:pt x="41" y="157"/>
                  </a:lnTo>
                  <a:lnTo>
                    <a:pt x="37" y="151"/>
                  </a:lnTo>
                  <a:lnTo>
                    <a:pt x="25" y="107"/>
                  </a:lnTo>
                  <a:lnTo>
                    <a:pt x="37" y="129"/>
                  </a:lnTo>
                  <a:lnTo>
                    <a:pt x="45" y="118"/>
                  </a:lnTo>
                  <a:lnTo>
                    <a:pt x="37" y="113"/>
                  </a:lnTo>
                  <a:lnTo>
                    <a:pt x="25" y="92"/>
                  </a:lnTo>
                  <a:lnTo>
                    <a:pt x="0" y="39"/>
                  </a:lnTo>
                  <a:lnTo>
                    <a:pt x="2" y="2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54" name="Australia"/>
            <p:cNvSpPr>
              <a:spLocks noChangeAspect="1"/>
            </p:cNvSpPr>
            <p:nvPr>
              <p:custDataLst>
                <p:tags r:id="rId53"/>
              </p:custDataLst>
            </p:nvPr>
          </p:nvSpPr>
          <p:spPr bwMode="gray">
            <a:xfrm>
              <a:off x="7356025" y="4903575"/>
              <a:ext cx="1039227" cy="812188"/>
            </a:xfrm>
            <a:custGeom>
              <a:avLst/>
              <a:gdLst/>
              <a:ahLst/>
              <a:cxnLst>
                <a:cxn ang="0">
                  <a:pos x="80" y="633"/>
                </a:cxn>
                <a:cxn ang="0">
                  <a:pos x="198" y="560"/>
                </a:cxn>
                <a:cxn ang="0">
                  <a:pos x="357" y="522"/>
                </a:cxn>
                <a:cxn ang="0">
                  <a:pos x="497" y="418"/>
                </a:cxn>
                <a:cxn ang="0">
                  <a:pos x="533" y="330"/>
                </a:cxn>
                <a:cxn ang="0">
                  <a:pos x="566" y="326"/>
                </a:cxn>
                <a:cxn ang="0">
                  <a:pos x="634" y="262"/>
                </a:cxn>
                <a:cxn ang="0">
                  <a:pos x="688" y="222"/>
                </a:cxn>
                <a:cxn ang="0">
                  <a:pos x="739" y="187"/>
                </a:cxn>
                <a:cxn ang="0">
                  <a:pos x="818" y="257"/>
                </a:cxn>
                <a:cxn ang="0">
                  <a:pos x="898" y="254"/>
                </a:cxn>
                <a:cxn ang="0">
                  <a:pos x="921" y="160"/>
                </a:cxn>
                <a:cxn ang="0">
                  <a:pos x="974" y="108"/>
                </a:cxn>
                <a:cxn ang="0">
                  <a:pos x="1045" y="48"/>
                </a:cxn>
                <a:cxn ang="0">
                  <a:pos x="1044" y="29"/>
                </a:cxn>
                <a:cxn ang="0">
                  <a:pos x="1116" y="65"/>
                </a:cxn>
                <a:cxn ang="0">
                  <a:pos x="1205" y="90"/>
                </a:cxn>
                <a:cxn ang="0">
                  <a:pos x="1264" y="90"/>
                </a:cxn>
                <a:cxn ang="0">
                  <a:pos x="1279" y="118"/>
                </a:cxn>
                <a:cxn ang="0">
                  <a:pos x="1243" y="165"/>
                </a:cxn>
                <a:cxn ang="0">
                  <a:pos x="1269" y="264"/>
                </a:cxn>
                <a:cxn ang="0">
                  <a:pos x="1384" y="339"/>
                </a:cxn>
                <a:cxn ang="0">
                  <a:pos x="1553" y="270"/>
                </a:cxn>
                <a:cxn ang="0">
                  <a:pos x="1575" y="72"/>
                </a:cxn>
                <a:cxn ang="0">
                  <a:pos x="1623" y="17"/>
                </a:cxn>
                <a:cxn ang="0">
                  <a:pos x="1667" y="171"/>
                </a:cxn>
                <a:cxn ang="0">
                  <a:pos x="1761" y="252"/>
                </a:cxn>
                <a:cxn ang="0">
                  <a:pos x="1806" y="416"/>
                </a:cxn>
                <a:cxn ang="0">
                  <a:pos x="1851" y="485"/>
                </a:cxn>
                <a:cxn ang="0">
                  <a:pos x="1954" y="540"/>
                </a:cxn>
                <a:cxn ang="0">
                  <a:pos x="1994" y="645"/>
                </a:cxn>
                <a:cxn ang="0">
                  <a:pos x="2054" y="661"/>
                </a:cxn>
                <a:cxn ang="0">
                  <a:pos x="2132" y="791"/>
                </a:cxn>
                <a:cxn ang="0">
                  <a:pos x="2191" y="911"/>
                </a:cxn>
                <a:cxn ang="0">
                  <a:pos x="2206" y="1090"/>
                </a:cxn>
                <a:cxn ang="0">
                  <a:pos x="2158" y="1285"/>
                </a:cxn>
                <a:cxn ang="0">
                  <a:pos x="2089" y="1365"/>
                </a:cxn>
                <a:cxn ang="0">
                  <a:pos x="2034" y="1506"/>
                </a:cxn>
                <a:cxn ang="0">
                  <a:pos x="2008" y="1625"/>
                </a:cxn>
                <a:cxn ang="0">
                  <a:pos x="1823" y="1705"/>
                </a:cxn>
                <a:cxn ang="0">
                  <a:pos x="1785" y="1704"/>
                </a:cxn>
                <a:cxn ang="0">
                  <a:pos x="1715" y="1661"/>
                </a:cxn>
                <a:cxn ang="0">
                  <a:pos x="1572" y="1674"/>
                </a:cxn>
                <a:cxn ang="0">
                  <a:pos x="1453" y="1530"/>
                </a:cxn>
                <a:cxn ang="0">
                  <a:pos x="1376" y="1406"/>
                </a:cxn>
                <a:cxn ang="0">
                  <a:pos x="1330" y="1443"/>
                </a:cxn>
                <a:cxn ang="0">
                  <a:pos x="1358" y="1317"/>
                </a:cxn>
                <a:cxn ang="0">
                  <a:pos x="1302" y="1370"/>
                </a:cxn>
                <a:cxn ang="0">
                  <a:pos x="1220" y="1433"/>
                </a:cxn>
                <a:cxn ang="0">
                  <a:pos x="1177" y="1335"/>
                </a:cxn>
                <a:cxn ang="0">
                  <a:pos x="1062" y="1253"/>
                </a:cxn>
                <a:cxn ang="0">
                  <a:pos x="779" y="1270"/>
                </a:cxn>
                <a:cxn ang="0">
                  <a:pos x="587" y="1354"/>
                </a:cxn>
                <a:cxn ang="0">
                  <a:pos x="419" y="1379"/>
                </a:cxn>
                <a:cxn ang="0">
                  <a:pos x="271" y="1452"/>
                </a:cxn>
                <a:cxn ang="0">
                  <a:pos x="130" y="1405"/>
                </a:cxn>
                <a:cxn ang="0">
                  <a:pos x="142" y="1286"/>
                </a:cxn>
                <a:cxn ang="0">
                  <a:pos x="66" y="1024"/>
                </a:cxn>
                <a:cxn ang="0">
                  <a:pos x="12" y="897"/>
                </a:cxn>
                <a:cxn ang="0">
                  <a:pos x="35" y="884"/>
                </a:cxn>
                <a:cxn ang="0">
                  <a:pos x="8" y="758"/>
                </a:cxn>
              </a:cxnLst>
              <a:rect l="0" t="0" r="r" b="b"/>
              <a:pathLst>
                <a:path w="2217" h="1736">
                  <a:moveTo>
                    <a:pt x="43" y="634"/>
                  </a:moveTo>
                  <a:lnTo>
                    <a:pt x="49" y="629"/>
                  </a:lnTo>
                  <a:lnTo>
                    <a:pt x="48" y="645"/>
                  </a:lnTo>
                  <a:lnTo>
                    <a:pt x="48" y="647"/>
                  </a:lnTo>
                  <a:lnTo>
                    <a:pt x="45" y="651"/>
                  </a:lnTo>
                  <a:lnTo>
                    <a:pt x="44" y="656"/>
                  </a:lnTo>
                  <a:lnTo>
                    <a:pt x="48" y="658"/>
                  </a:lnTo>
                  <a:lnTo>
                    <a:pt x="46" y="666"/>
                  </a:lnTo>
                  <a:lnTo>
                    <a:pt x="45" y="671"/>
                  </a:lnTo>
                  <a:lnTo>
                    <a:pt x="50" y="673"/>
                  </a:lnTo>
                  <a:lnTo>
                    <a:pt x="59" y="666"/>
                  </a:lnTo>
                  <a:lnTo>
                    <a:pt x="62" y="652"/>
                  </a:lnTo>
                  <a:lnTo>
                    <a:pt x="72" y="636"/>
                  </a:lnTo>
                  <a:lnTo>
                    <a:pt x="80" y="633"/>
                  </a:lnTo>
                  <a:lnTo>
                    <a:pt x="87" y="628"/>
                  </a:lnTo>
                  <a:lnTo>
                    <a:pt x="94" y="626"/>
                  </a:lnTo>
                  <a:lnTo>
                    <a:pt x="102" y="620"/>
                  </a:lnTo>
                  <a:lnTo>
                    <a:pt x="120" y="617"/>
                  </a:lnTo>
                  <a:lnTo>
                    <a:pt x="125" y="608"/>
                  </a:lnTo>
                  <a:lnTo>
                    <a:pt x="132" y="601"/>
                  </a:lnTo>
                  <a:lnTo>
                    <a:pt x="140" y="596"/>
                  </a:lnTo>
                  <a:lnTo>
                    <a:pt x="146" y="586"/>
                  </a:lnTo>
                  <a:lnTo>
                    <a:pt x="161" y="580"/>
                  </a:lnTo>
                  <a:lnTo>
                    <a:pt x="167" y="575"/>
                  </a:lnTo>
                  <a:lnTo>
                    <a:pt x="174" y="571"/>
                  </a:lnTo>
                  <a:lnTo>
                    <a:pt x="191" y="559"/>
                  </a:lnTo>
                  <a:lnTo>
                    <a:pt x="195" y="558"/>
                  </a:lnTo>
                  <a:lnTo>
                    <a:pt x="198" y="560"/>
                  </a:lnTo>
                  <a:lnTo>
                    <a:pt x="214" y="561"/>
                  </a:lnTo>
                  <a:lnTo>
                    <a:pt x="222" y="564"/>
                  </a:lnTo>
                  <a:lnTo>
                    <a:pt x="232" y="565"/>
                  </a:lnTo>
                  <a:lnTo>
                    <a:pt x="241" y="564"/>
                  </a:lnTo>
                  <a:lnTo>
                    <a:pt x="249" y="561"/>
                  </a:lnTo>
                  <a:lnTo>
                    <a:pt x="260" y="553"/>
                  </a:lnTo>
                  <a:lnTo>
                    <a:pt x="270" y="547"/>
                  </a:lnTo>
                  <a:lnTo>
                    <a:pt x="280" y="544"/>
                  </a:lnTo>
                  <a:lnTo>
                    <a:pt x="291" y="544"/>
                  </a:lnTo>
                  <a:lnTo>
                    <a:pt x="301" y="542"/>
                  </a:lnTo>
                  <a:lnTo>
                    <a:pt x="322" y="522"/>
                  </a:lnTo>
                  <a:lnTo>
                    <a:pt x="335" y="522"/>
                  </a:lnTo>
                  <a:lnTo>
                    <a:pt x="345" y="527"/>
                  </a:lnTo>
                  <a:lnTo>
                    <a:pt x="357" y="522"/>
                  </a:lnTo>
                  <a:lnTo>
                    <a:pt x="370" y="522"/>
                  </a:lnTo>
                  <a:lnTo>
                    <a:pt x="378" y="520"/>
                  </a:lnTo>
                  <a:lnTo>
                    <a:pt x="388" y="515"/>
                  </a:lnTo>
                  <a:lnTo>
                    <a:pt x="413" y="510"/>
                  </a:lnTo>
                  <a:lnTo>
                    <a:pt x="424" y="504"/>
                  </a:lnTo>
                  <a:lnTo>
                    <a:pt x="432" y="499"/>
                  </a:lnTo>
                  <a:lnTo>
                    <a:pt x="454" y="478"/>
                  </a:lnTo>
                  <a:lnTo>
                    <a:pt x="458" y="470"/>
                  </a:lnTo>
                  <a:lnTo>
                    <a:pt x="459" y="461"/>
                  </a:lnTo>
                  <a:lnTo>
                    <a:pt x="467" y="450"/>
                  </a:lnTo>
                  <a:lnTo>
                    <a:pt x="469" y="445"/>
                  </a:lnTo>
                  <a:lnTo>
                    <a:pt x="469" y="439"/>
                  </a:lnTo>
                  <a:lnTo>
                    <a:pt x="476" y="440"/>
                  </a:lnTo>
                  <a:lnTo>
                    <a:pt x="497" y="418"/>
                  </a:lnTo>
                  <a:lnTo>
                    <a:pt x="500" y="413"/>
                  </a:lnTo>
                  <a:lnTo>
                    <a:pt x="497" y="410"/>
                  </a:lnTo>
                  <a:lnTo>
                    <a:pt x="490" y="381"/>
                  </a:lnTo>
                  <a:lnTo>
                    <a:pt x="491" y="369"/>
                  </a:lnTo>
                  <a:lnTo>
                    <a:pt x="499" y="355"/>
                  </a:lnTo>
                  <a:lnTo>
                    <a:pt x="502" y="353"/>
                  </a:lnTo>
                  <a:lnTo>
                    <a:pt x="508" y="353"/>
                  </a:lnTo>
                  <a:lnTo>
                    <a:pt x="512" y="345"/>
                  </a:lnTo>
                  <a:lnTo>
                    <a:pt x="521" y="338"/>
                  </a:lnTo>
                  <a:lnTo>
                    <a:pt x="524" y="338"/>
                  </a:lnTo>
                  <a:lnTo>
                    <a:pt x="523" y="333"/>
                  </a:lnTo>
                  <a:lnTo>
                    <a:pt x="528" y="322"/>
                  </a:lnTo>
                  <a:lnTo>
                    <a:pt x="530" y="321"/>
                  </a:lnTo>
                  <a:lnTo>
                    <a:pt x="533" y="330"/>
                  </a:lnTo>
                  <a:lnTo>
                    <a:pt x="537" y="337"/>
                  </a:lnTo>
                  <a:lnTo>
                    <a:pt x="543" y="353"/>
                  </a:lnTo>
                  <a:lnTo>
                    <a:pt x="549" y="365"/>
                  </a:lnTo>
                  <a:lnTo>
                    <a:pt x="555" y="372"/>
                  </a:lnTo>
                  <a:lnTo>
                    <a:pt x="560" y="381"/>
                  </a:lnTo>
                  <a:lnTo>
                    <a:pt x="564" y="386"/>
                  </a:lnTo>
                  <a:lnTo>
                    <a:pt x="569" y="375"/>
                  </a:lnTo>
                  <a:lnTo>
                    <a:pt x="569" y="360"/>
                  </a:lnTo>
                  <a:lnTo>
                    <a:pt x="571" y="360"/>
                  </a:lnTo>
                  <a:lnTo>
                    <a:pt x="578" y="359"/>
                  </a:lnTo>
                  <a:lnTo>
                    <a:pt x="576" y="346"/>
                  </a:lnTo>
                  <a:lnTo>
                    <a:pt x="570" y="335"/>
                  </a:lnTo>
                  <a:lnTo>
                    <a:pt x="564" y="330"/>
                  </a:lnTo>
                  <a:lnTo>
                    <a:pt x="566" y="326"/>
                  </a:lnTo>
                  <a:lnTo>
                    <a:pt x="565" y="310"/>
                  </a:lnTo>
                  <a:lnTo>
                    <a:pt x="570" y="305"/>
                  </a:lnTo>
                  <a:lnTo>
                    <a:pt x="580" y="310"/>
                  </a:lnTo>
                  <a:lnTo>
                    <a:pt x="588" y="308"/>
                  </a:lnTo>
                  <a:lnTo>
                    <a:pt x="601" y="324"/>
                  </a:lnTo>
                  <a:lnTo>
                    <a:pt x="618" y="327"/>
                  </a:lnTo>
                  <a:lnTo>
                    <a:pt x="619" y="319"/>
                  </a:lnTo>
                  <a:lnTo>
                    <a:pt x="610" y="316"/>
                  </a:lnTo>
                  <a:lnTo>
                    <a:pt x="613" y="303"/>
                  </a:lnTo>
                  <a:lnTo>
                    <a:pt x="623" y="294"/>
                  </a:lnTo>
                  <a:lnTo>
                    <a:pt x="625" y="287"/>
                  </a:lnTo>
                  <a:lnTo>
                    <a:pt x="620" y="270"/>
                  </a:lnTo>
                  <a:lnTo>
                    <a:pt x="625" y="264"/>
                  </a:lnTo>
                  <a:lnTo>
                    <a:pt x="634" y="262"/>
                  </a:lnTo>
                  <a:lnTo>
                    <a:pt x="645" y="268"/>
                  </a:lnTo>
                  <a:lnTo>
                    <a:pt x="647" y="265"/>
                  </a:lnTo>
                  <a:lnTo>
                    <a:pt x="641" y="253"/>
                  </a:lnTo>
                  <a:lnTo>
                    <a:pt x="642" y="247"/>
                  </a:lnTo>
                  <a:lnTo>
                    <a:pt x="646" y="242"/>
                  </a:lnTo>
                  <a:lnTo>
                    <a:pt x="663" y="248"/>
                  </a:lnTo>
                  <a:lnTo>
                    <a:pt x="663" y="243"/>
                  </a:lnTo>
                  <a:lnTo>
                    <a:pt x="657" y="233"/>
                  </a:lnTo>
                  <a:lnTo>
                    <a:pt x="657" y="221"/>
                  </a:lnTo>
                  <a:lnTo>
                    <a:pt x="666" y="217"/>
                  </a:lnTo>
                  <a:lnTo>
                    <a:pt x="671" y="217"/>
                  </a:lnTo>
                  <a:lnTo>
                    <a:pt x="677" y="215"/>
                  </a:lnTo>
                  <a:lnTo>
                    <a:pt x="687" y="214"/>
                  </a:lnTo>
                  <a:lnTo>
                    <a:pt x="688" y="222"/>
                  </a:lnTo>
                  <a:lnTo>
                    <a:pt x="693" y="220"/>
                  </a:lnTo>
                  <a:lnTo>
                    <a:pt x="700" y="214"/>
                  </a:lnTo>
                  <a:lnTo>
                    <a:pt x="705" y="201"/>
                  </a:lnTo>
                  <a:lnTo>
                    <a:pt x="705" y="197"/>
                  </a:lnTo>
                  <a:lnTo>
                    <a:pt x="699" y="189"/>
                  </a:lnTo>
                  <a:lnTo>
                    <a:pt x="702" y="183"/>
                  </a:lnTo>
                  <a:lnTo>
                    <a:pt x="707" y="189"/>
                  </a:lnTo>
                  <a:lnTo>
                    <a:pt x="709" y="198"/>
                  </a:lnTo>
                  <a:lnTo>
                    <a:pt x="715" y="194"/>
                  </a:lnTo>
                  <a:lnTo>
                    <a:pt x="718" y="188"/>
                  </a:lnTo>
                  <a:lnTo>
                    <a:pt x="721" y="189"/>
                  </a:lnTo>
                  <a:lnTo>
                    <a:pt x="722" y="194"/>
                  </a:lnTo>
                  <a:lnTo>
                    <a:pt x="728" y="193"/>
                  </a:lnTo>
                  <a:lnTo>
                    <a:pt x="739" y="187"/>
                  </a:lnTo>
                  <a:lnTo>
                    <a:pt x="743" y="183"/>
                  </a:lnTo>
                  <a:lnTo>
                    <a:pt x="741" y="176"/>
                  </a:lnTo>
                  <a:lnTo>
                    <a:pt x="749" y="174"/>
                  </a:lnTo>
                  <a:lnTo>
                    <a:pt x="753" y="177"/>
                  </a:lnTo>
                  <a:lnTo>
                    <a:pt x="761" y="181"/>
                  </a:lnTo>
                  <a:lnTo>
                    <a:pt x="770" y="181"/>
                  </a:lnTo>
                  <a:lnTo>
                    <a:pt x="780" y="187"/>
                  </a:lnTo>
                  <a:lnTo>
                    <a:pt x="788" y="193"/>
                  </a:lnTo>
                  <a:lnTo>
                    <a:pt x="804" y="215"/>
                  </a:lnTo>
                  <a:lnTo>
                    <a:pt x="818" y="226"/>
                  </a:lnTo>
                  <a:lnTo>
                    <a:pt x="814" y="242"/>
                  </a:lnTo>
                  <a:lnTo>
                    <a:pt x="814" y="253"/>
                  </a:lnTo>
                  <a:lnTo>
                    <a:pt x="815" y="255"/>
                  </a:lnTo>
                  <a:lnTo>
                    <a:pt x="818" y="257"/>
                  </a:lnTo>
                  <a:lnTo>
                    <a:pt x="819" y="254"/>
                  </a:lnTo>
                  <a:lnTo>
                    <a:pt x="822" y="247"/>
                  </a:lnTo>
                  <a:lnTo>
                    <a:pt x="820" y="243"/>
                  </a:lnTo>
                  <a:lnTo>
                    <a:pt x="825" y="238"/>
                  </a:lnTo>
                  <a:lnTo>
                    <a:pt x="829" y="240"/>
                  </a:lnTo>
                  <a:lnTo>
                    <a:pt x="830" y="237"/>
                  </a:lnTo>
                  <a:lnTo>
                    <a:pt x="836" y="240"/>
                  </a:lnTo>
                  <a:lnTo>
                    <a:pt x="836" y="232"/>
                  </a:lnTo>
                  <a:lnTo>
                    <a:pt x="839" y="231"/>
                  </a:lnTo>
                  <a:lnTo>
                    <a:pt x="849" y="233"/>
                  </a:lnTo>
                  <a:lnTo>
                    <a:pt x="862" y="233"/>
                  </a:lnTo>
                  <a:lnTo>
                    <a:pt x="873" y="232"/>
                  </a:lnTo>
                  <a:lnTo>
                    <a:pt x="881" y="236"/>
                  </a:lnTo>
                  <a:lnTo>
                    <a:pt x="898" y="254"/>
                  </a:lnTo>
                  <a:lnTo>
                    <a:pt x="903" y="253"/>
                  </a:lnTo>
                  <a:lnTo>
                    <a:pt x="903" y="249"/>
                  </a:lnTo>
                  <a:lnTo>
                    <a:pt x="899" y="237"/>
                  </a:lnTo>
                  <a:lnTo>
                    <a:pt x="906" y="233"/>
                  </a:lnTo>
                  <a:lnTo>
                    <a:pt x="908" y="232"/>
                  </a:lnTo>
                  <a:lnTo>
                    <a:pt x="894" y="217"/>
                  </a:lnTo>
                  <a:lnTo>
                    <a:pt x="886" y="205"/>
                  </a:lnTo>
                  <a:lnTo>
                    <a:pt x="890" y="189"/>
                  </a:lnTo>
                  <a:lnTo>
                    <a:pt x="893" y="192"/>
                  </a:lnTo>
                  <a:lnTo>
                    <a:pt x="898" y="189"/>
                  </a:lnTo>
                  <a:lnTo>
                    <a:pt x="909" y="172"/>
                  </a:lnTo>
                  <a:lnTo>
                    <a:pt x="909" y="165"/>
                  </a:lnTo>
                  <a:lnTo>
                    <a:pt x="914" y="158"/>
                  </a:lnTo>
                  <a:lnTo>
                    <a:pt x="921" y="160"/>
                  </a:lnTo>
                  <a:lnTo>
                    <a:pt x="931" y="160"/>
                  </a:lnTo>
                  <a:lnTo>
                    <a:pt x="937" y="154"/>
                  </a:lnTo>
                  <a:lnTo>
                    <a:pt x="936" y="141"/>
                  </a:lnTo>
                  <a:lnTo>
                    <a:pt x="929" y="141"/>
                  </a:lnTo>
                  <a:lnTo>
                    <a:pt x="930" y="135"/>
                  </a:lnTo>
                  <a:lnTo>
                    <a:pt x="931" y="125"/>
                  </a:lnTo>
                  <a:lnTo>
                    <a:pt x="935" y="115"/>
                  </a:lnTo>
                  <a:lnTo>
                    <a:pt x="944" y="113"/>
                  </a:lnTo>
                  <a:lnTo>
                    <a:pt x="953" y="109"/>
                  </a:lnTo>
                  <a:lnTo>
                    <a:pt x="954" y="102"/>
                  </a:lnTo>
                  <a:lnTo>
                    <a:pt x="962" y="103"/>
                  </a:lnTo>
                  <a:lnTo>
                    <a:pt x="969" y="108"/>
                  </a:lnTo>
                  <a:lnTo>
                    <a:pt x="973" y="115"/>
                  </a:lnTo>
                  <a:lnTo>
                    <a:pt x="974" y="108"/>
                  </a:lnTo>
                  <a:lnTo>
                    <a:pt x="968" y="98"/>
                  </a:lnTo>
                  <a:lnTo>
                    <a:pt x="971" y="96"/>
                  </a:lnTo>
                  <a:lnTo>
                    <a:pt x="978" y="88"/>
                  </a:lnTo>
                  <a:lnTo>
                    <a:pt x="991" y="92"/>
                  </a:lnTo>
                  <a:lnTo>
                    <a:pt x="992" y="87"/>
                  </a:lnTo>
                  <a:lnTo>
                    <a:pt x="1003" y="90"/>
                  </a:lnTo>
                  <a:lnTo>
                    <a:pt x="1016" y="88"/>
                  </a:lnTo>
                  <a:lnTo>
                    <a:pt x="1026" y="91"/>
                  </a:lnTo>
                  <a:lnTo>
                    <a:pt x="1034" y="91"/>
                  </a:lnTo>
                  <a:lnTo>
                    <a:pt x="1054" y="85"/>
                  </a:lnTo>
                  <a:lnTo>
                    <a:pt x="1062" y="79"/>
                  </a:lnTo>
                  <a:lnTo>
                    <a:pt x="1062" y="55"/>
                  </a:lnTo>
                  <a:lnTo>
                    <a:pt x="1056" y="49"/>
                  </a:lnTo>
                  <a:lnTo>
                    <a:pt x="1045" y="48"/>
                  </a:lnTo>
                  <a:lnTo>
                    <a:pt x="1038" y="49"/>
                  </a:lnTo>
                  <a:lnTo>
                    <a:pt x="1030" y="44"/>
                  </a:lnTo>
                  <a:lnTo>
                    <a:pt x="1026" y="38"/>
                  </a:lnTo>
                  <a:lnTo>
                    <a:pt x="1017" y="34"/>
                  </a:lnTo>
                  <a:lnTo>
                    <a:pt x="1017" y="33"/>
                  </a:lnTo>
                  <a:lnTo>
                    <a:pt x="1021" y="32"/>
                  </a:lnTo>
                  <a:lnTo>
                    <a:pt x="1024" y="34"/>
                  </a:lnTo>
                  <a:lnTo>
                    <a:pt x="1027" y="29"/>
                  </a:lnTo>
                  <a:lnTo>
                    <a:pt x="1029" y="27"/>
                  </a:lnTo>
                  <a:lnTo>
                    <a:pt x="1032" y="31"/>
                  </a:lnTo>
                  <a:lnTo>
                    <a:pt x="1035" y="45"/>
                  </a:lnTo>
                  <a:lnTo>
                    <a:pt x="1039" y="38"/>
                  </a:lnTo>
                  <a:lnTo>
                    <a:pt x="1039" y="29"/>
                  </a:lnTo>
                  <a:lnTo>
                    <a:pt x="1044" y="29"/>
                  </a:lnTo>
                  <a:lnTo>
                    <a:pt x="1046" y="33"/>
                  </a:lnTo>
                  <a:lnTo>
                    <a:pt x="1051" y="32"/>
                  </a:lnTo>
                  <a:lnTo>
                    <a:pt x="1055" y="38"/>
                  </a:lnTo>
                  <a:lnTo>
                    <a:pt x="1059" y="43"/>
                  </a:lnTo>
                  <a:lnTo>
                    <a:pt x="1067" y="49"/>
                  </a:lnTo>
                  <a:lnTo>
                    <a:pt x="1070" y="42"/>
                  </a:lnTo>
                  <a:lnTo>
                    <a:pt x="1075" y="41"/>
                  </a:lnTo>
                  <a:lnTo>
                    <a:pt x="1080" y="44"/>
                  </a:lnTo>
                  <a:lnTo>
                    <a:pt x="1082" y="50"/>
                  </a:lnTo>
                  <a:lnTo>
                    <a:pt x="1089" y="58"/>
                  </a:lnTo>
                  <a:lnTo>
                    <a:pt x="1104" y="61"/>
                  </a:lnTo>
                  <a:lnTo>
                    <a:pt x="1108" y="61"/>
                  </a:lnTo>
                  <a:lnTo>
                    <a:pt x="1113" y="63"/>
                  </a:lnTo>
                  <a:lnTo>
                    <a:pt x="1116" y="65"/>
                  </a:lnTo>
                  <a:lnTo>
                    <a:pt x="1123" y="60"/>
                  </a:lnTo>
                  <a:lnTo>
                    <a:pt x="1126" y="59"/>
                  </a:lnTo>
                  <a:lnTo>
                    <a:pt x="1126" y="66"/>
                  </a:lnTo>
                  <a:lnTo>
                    <a:pt x="1131" y="69"/>
                  </a:lnTo>
                  <a:lnTo>
                    <a:pt x="1141" y="69"/>
                  </a:lnTo>
                  <a:lnTo>
                    <a:pt x="1151" y="76"/>
                  </a:lnTo>
                  <a:lnTo>
                    <a:pt x="1159" y="75"/>
                  </a:lnTo>
                  <a:lnTo>
                    <a:pt x="1167" y="79"/>
                  </a:lnTo>
                  <a:lnTo>
                    <a:pt x="1177" y="74"/>
                  </a:lnTo>
                  <a:lnTo>
                    <a:pt x="1179" y="74"/>
                  </a:lnTo>
                  <a:lnTo>
                    <a:pt x="1184" y="81"/>
                  </a:lnTo>
                  <a:lnTo>
                    <a:pt x="1195" y="81"/>
                  </a:lnTo>
                  <a:lnTo>
                    <a:pt x="1200" y="84"/>
                  </a:lnTo>
                  <a:lnTo>
                    <a:pt x="1205" y="90"/>
                  </a:lnTo>
                  <a:lnTo>
                    <a:pt x="1216" y="79"/>
                  </a:lnTo>
                  <a:lnTo>
                    <a:pt x="1221" y="76"/>
                  </a:lnTo>
                  <a:lnTo>
                    <a:pt x="1225" y="75"/>
                  </a:lnTo>
                  <a:lnTo>
                    <a:pt x="1234" y="76"/>
                  </a:lnTo>
                  <a:lnTo>
                    <a:pt x="1244" y="71"/>
                  </a:lnTo>
                  <a:lnTo>
                    <a:pt x="1238" y="82"/>
                  </a:lnTo>
                  <a:lnTo>
                    <a:pt x="1241" y="85"/>
                  </a:lnTo>
                  <a:lnTo>
                    <a:pt x="1243" y="86"/>
                  </a:lnTo>
                  <a:lnTo>
                    <a:pt x="1248" y="81"/>
                  </a:lnTo>
                  <a:lnTo>
                    <a:pt x="1249" y="85"/>
                  </a:lnTo>
                  <a:lnTo>
                    <a:pt x="1248" y="101"/>
                  </a:lnTo>
                  <a:lnTo>
                    <a:pt x="1249" y="104"/>
                  </a:lnTo>
                  <a:lnTo>
                    <a:pt x="1259" y="101"/>
                  </a:lnTo>
                  <a:lnTo>
                    <a:pt x="1264" y="90"/>
                  </a:lnTo>
                  <a:lnTo>
                    <a:pt x="1263" y="88"/>
                  </a:lnTo>
                  <a:lnTo>
                    <a:pt x="1264" y="79"/>
                  </a:lnTo>
                  <a:lnTo>
                    <a:pt x="1274" y="70"/>
                  </a:lnTo>
                  <a:lnTo>
                    <a:pt x="1276" y="72"/>
                  </a:lnTo>
                  <a:lnTo>
                    <a:pt x="1279" y="77"/>
                  </a:lnTo>
                  <a:lnTo>
                    <a:pt x="1280" y="92"/>
                  </a:lnTo>
                  <a:lnTo>
                    <a:pt x="1288" y="87"/>
                  </a:lnTo>
                  <a:lnTo>
                    <a:pt x="1295" y="87"/>
                  </a:lnTo>
                  <a:lnTo>
                    <a:pt x="1299" y="91"/>
                  </a:lnTo>
                  <a:lnTo>
                    <a:pt x="1297" y="96"/>
                  </a:lnTo>
                  <a:lnTo>
                    <a:pt x="1293" y="106"/>
                  </a:lnTo>
                  <a:lnTo>
                    <a:pt x="1287" y="115"/>
                  </a:lnTo>
                  <a:lnTo>
                    <a:pt x="1284" y="119"/>
                  </a:lnTo>
                  <a:lnTo>
                    <a:pt x="1279" y="118"/>
                  </a:lnTo>
                  <a:lnTo>
                    <a:pt x="1277" y="122"/>
                  </a:lnTo>
                  <a:lnTo>
                    <a:pt x="1284" y="130"/>
                  </a:lnTo>
                  <a:lnTo>
                    <a:pt x="1276" y="141"/>
                  </a:lnTo>
                  <a:lnTo>
                    <a:pt x="1272" y="144"/>
                  </a:lnTo>
                  <a:lnTo>
                    <a:pt x="1264" y="141"/>
                  </a:lnTo>
                  <a:lnTo>
                    <a:pt x="1263" y="136"/>
                  </a:lnTo>
                  <a:lnTo>
                    <a:pt x="1258" y="142"/>
                  </a:lnTo>
                  <a:lnTo>
                    <a:pt x="1259" y="151"/>
                  </a:lnTo>
                  <a:lnTo>
                    <a:pt x="1261" y="156"/>
                  </a:lnTo>
                  <a:lnTo>
                    <a:pt x="1258" y="152"/>
                  </a:lnTo>
                  <a:lnTo>
                    <a:pt x="1253" y="145"/>
                  </a:lnTo>
                  <a:lnTo>
                    <a:pt x="1248" y="144"/>
                  </a:lnTo>
                  <a:lnTo>
                    <a:pt x="1247" y="156"/>
                  </a:lnTo>
                  <a:lnTo>
                    <a:pt x="1243" y="165"/>
                  </a:lnTo>
                  <a:lnTo>
                    <a:pt x="1243" y="171"/>
                  </a:lnTo>
                  <a:lnTo>
                    <a:pt x="1253" y="168"/>
                  </a:lnTo>
                  <a:lnTo>
                    <a:pt x="1248" y="187"/>
                  </a:lnTo>
                  <a:lnTo>
                    <a:pt x="1248" y="190"/>
                  </a:lnTo>
                  <a:lnTo>
                    <a:pt x="1238" y="210"/>
                  </a:lnTo>
                  <a:lnTo>
                    <a:pt x="1234" y="221"/>
                  </a:lnTo>
                  <a:lnTo>
                    <a:pt x="1232" y="225"/>
                  </a:lnTo>
                  <a:lnTo>
                    <a:pt x="1228" y="231"/>
                  </a:lnTo>
                  <a:lnTo>
                    <a:pt x="1228" y="242"/>
                  </a:lnTo>
                  <a:lnTo>
                    <a:pt x="1234" y="246"/>
                  </a:lnTo>
                  <a:lnTo>
                    <a:pt x="1238" y="252"/>
                  </a:lnTo>
                  <a:lnTo>
                    <a:pt x="1245" y="251"/>
                  </a:lnTo>
                  <a:lnTo>
                    <a:pt x="1254" y="258"/>
                  </a:lnTo>
                  <a:lnTo>
                    <a:pt x="1269" y="264"/>
                  </a:lnTo>
                  <a:lnTo>
                    <a:pt x="1271" y="274"/>
                  </a:lnTo>
                  <a:lnTo>
                    <a:pt x="1275" y="283"/>
                  </a:lnTo>
                  <a:lnTo>
                    <a:pt x="1275" y="297"/>
                  </a:lnTo>
                  <a:lnTo>
                    <a:pt x="1285" y="290"/>
                  </a:lnTo>
                  <a:lnTo>
                    <a:pt x="1307" y="296"/>
                  </a:lnTo>
                  <a:lnTo>
                    <a:pt x="1320" y="295"/>
                  </a:lnTo>
                  <a:lnTo>
                    <a:pt x="1324" y="302"/>
                  </a:lnTo>
                  <a:lnTo>
                    <a:pt x="1335" y="308"/>
                  </a:lnTo>
                  <a:lnTo>
                    <a:pt x="1345" y="313"/>
                  </a:lnTo>
                  <a:lnTo>
                    <a:pt x="1355" y="319"/>
                  </a:lnTo>
                  <a:lnTo>
                    <a:pt x="1361" y="327"/>
                  </a:lnTo>
                  <a:lnTo>
                    <a:pt x="1370" y="334"/>
                  </a:lnTo>
                  <a:lnTo>
                    <a:pt x="1377" y="335"/>
                  </a:lnTo>
                  <a:lnTo>
                    <a:pt x="1384" y="339"/>
                  </a:lnTo>
                  <a:lnTo>
                    <a:pt x="1411" y="346"/>
                  </a:lnTo>
                  <a:lnTo>
                    <a:pt x="1421" y="354"/>
                  </a:lnTo>
                  <a:lnTo>
                    <a:pt x="1425" y="365"/>
                  </a:lnTo>
                  <a:lnTo>
                    <a:pt x="1430" y="371"/>
                  </a:lnTo>
                  <a:lnTo>
                    <a:pt x="1460" y="392"/>
                  </a:lnTo>
                  <a:lnTo>
                    <a:pt x="1475" y="398"/>
                  </a:lnTo>
                  <a:lnTo>
                    <a:pt x="1487" y="394"/>
                  </a:lnTo>
                  <a:lnTo>
                    <a:pt x="1498" y="389"/>
                  </a:lnTo>
                  <a:lnTo>
                    <a:pt x="1516" y="384"/>
                  </a:lnTo>
                  <a:lnTo>
                    <a:pt x="1521" y="377"/>
                  </a:lnTo>
                  <a:lnTo>
                    <a:pt x="1524" y="356"/>
                  </a:lnTo>
                  <a:lnTo>
                    <a:pt x="1537" y="333"/>
                  </a:lnTo>
                  <a:lnTo>
                    <a:pt x="1548" y="287"/>
                  </a:lnTo>
                  <a:lnTo>
                    <a:pt x="1553" y="270"/>
                  </a:lnTo>
                  <a:lnTo>
                    <a:pt x="1557" y="258"/>
                  </a:lnTo>
                  <a:lnTo>
                    <a:pt x="1560" y="246"/>
                  </a:lnTo>
                  <a:lnTo>
                    <a:pt x="1559" y="231"/>
                  </a:lnTo>
                  <a:lnTo>
                    <a:pt x="1553" y="213"/>
                  </a:lnTo>
                  <a:lnTo>
                    <a:pt x="1555" y="197"/>
                  </a:lnTo>
                  <a:lnTo>
                    <a:pt x="1553" y="165"/>
                  </a:lnTo>
                  <a:lnTo>
                    <a:pt x="1561" y="145"/>
                  </a:lnTo>
                  <a:lnTo>
                    <a:pt x="1560" y="128"/>
                  </a:lnTo>
                  <a:lnTo>
                    <a:pt x="1565" y="118"/>
                  </a:lnTo>
                  <a:lnTo>
                    <a:pt x="1566" y="108"/>
                  </a:lnTo>
                  <a:lnTo>
                    <a:pt x="1559" y="106"/>
                  </a:lnTo>
                  <a:lnTo>
                    <a:pt x="1560" y="95"/>
                  </a:lnTo>
                  <a:lnTo>
                    <a:pt x="1564" y="76"/>
                  </a:lnTo>
                  <a:lnTo>
                    <a:pt x="1575" y="72"/>
                  </a:lnTo>
                  <a:lnTo>
                    <a:pt x="1578" y="64"/>
                  </a:lnTo>
                  <a:lnTo>
                    <a:pt x="1583" y="45"/>
                  </a:lnTo>
                  <a:lnTo>
                    <a:pt x="1596" y="29"/>
                  </a:lnTo>
                  <a:lnTo>
                    <a:pt x="1596" y="16"/>
                  </a:lnTo>
                  <a:lnTo>
                    <a:pt x="1596" y="15"/>
                  </a:lnTo>
                  <a:lnTo>
                    <a:pt x="1599" y="11"/>
                  </a:lnTo>
                  <a:lnTo>
                    <a:pt x="1604" y="10"/>
                  </a:lnTo>
                  <a:lnTo>
                    <a:pt x="1613" y="5"/>
                  </a:lnTo>
                  <a:lnTo>
                    <a:pt x="1616" y="0"/>
                  </a:lnTo>
                  <a:lnTo>
                    <a:pt x="1623" y="2"/>
                  </a:lnTo>
                  <a:lnTo>
                    <a:pt x="1623" y="7"/>
                  </a:lnTo>
                  <a:lnTo>
                    <a:pt x="1624" y="16"/>
                  </a:lnTo>
                  <a:lnTo>
                    <a:pt x="1623" y="16"/>
                  </a:lnTo>
                  <a:lnTo>
                    <a:pt x="1623" y="17"/>
                  </a:lnTo>
                  <a:lnTo>
                    <a:pt x="1625" y="31"/>
                  </a:lnTo>
                  <a:lnTo>
                    <a:pt x="1625" y="58"/>
                  </a:lnTo>
                  <a:lnTo>
                    <a:pt x="1629" y="68"/>
                  </a:lnTo>
                  <a:lnTo>
                    <a:pt x="1639" y="68"/>
                  </a:lnTo>
                  <a:lnTo>
                    <a:pt x="1641" y="74"/>
                  </a:lnTo>
                  <a:lnTo>
                    <a:pt x="1640" y="88"/>
                  </a:lnTo>
                  <a:lnTo>
                    <a:pt x="1646" y="93"/>
                  </a:lnTo>
                  <a:lnTo>
                    <a:pt x="1650" y="103"/>
                  </a:lnTo>
                  <a:lnTo>
                    <a:pt x="1655" y="107"/>
                  </a:lnTo>
                  <a:lnTo>
                    <a:pt x="1656" y="122"/>
                  </a:lnTo>
                  <a:lnTo>
                    <a:pt x="1661" y="124"/>
                  </a:lnTo>
                  <a:lnTo>
                    <a:pt x="1663" y="139"/>
                  </a:lnTo>
                  <a:lnTo>
                    <a:pt x="1667" y="151"/>
                  </a:lnTo>
                  <a:lnTo>
                    <a:pt x="1667" y="171"/>
                  </a:lnTo>
                  <a:lnTo>
                    <a:pt x="1670" y="179"/>
                  </a:lnTo>
                  <a:lnTo>
                    <a:pt x="1672" y="189"/>
                  </a:lnTo>
                  <a:lnTo>
                    <a:pt x="1677" y="199"/>
                  </a:lnTo>
                  <a:lnTo>
                    <a:pt x="1684" y="208"/>
                  </a:lnTo>
                  <a:lnTo>
                    <a:pt x="1693" y="211"/>
                  </a:lnTo>
                  <a:lnTo>
                    <a:pt x="1705" y="200"/>
                  </a:lnTo>
                  <a:lnTo>
                    <a:pt x="1715" y="198"/>
                  </a:lnTo>
                  <a:lnTo>
                    <a:pt x="1723" y="199"/>
                  </a:lnTo>
                  <a:lnTo>
                    <a:pt x="1729" y="215"/>
                  </a:lnTo>
                  <a:lnTo>
                    <a:pt x="1739" y="219"/>
                  </a:lnTo>
                  <a:lnTo>
                    <a:pt x="1747" y="228"/>
                  </a:lnTo>
                  <a:lnTo>
                    <a:pt x="1755" y="232"/>
                  </a:lnTo>
                  <a:lnTo>
                    <a:pt x="1764" y="242"/>
                  </a:lnTo>
                  <a:lnTo>
                    <a:pt x="1761" y="252"/>
                  </a:lnTo>
                  <a:lnTo>
                    <a:pt x="1764" y="258"/>
                  </a:lnTo>
                  <a:lnTo>
                    <a:pt x="1763" y="276"/>
                  </a:lnTo>
                  <a:lnTo>
                    <a:pt x="1766" y="286"/>
                  </a:lnTo>
                  <a:lnTo>
                    <a:pt x="1766" y="295"/>
                  </a:lnTo>
                  <a:lnTo>
                    <a:pt x="1771" y="303"/>
                  </a:lnTo>
                  <a:lnTo>
                    <a:pt x="1771" y="319"/>
                  </a:lnTo>
                  <a:lnTo>
                    <a:pt x="1775" y="332"/>
                  </a:lnTo>
                  <a:lnTo>
                    <a:pt x="1787" y="349"/>
                  </a:lnTo>
                  <a:lnTo>
                    <a:pt x="1796" y="349"/>
                  </a:lnTo>
                  <a:lnTo>
                    <a:pt x="1797" y="361"/>
                  </a:lnTo>
                  <a:lnTo>
                    <a:pt x="1804" y="381"/>
                  </a:lnTo>
                  <a:lnTo>
                    <a:pt x="1807" y="393"/>
                  </a:lnTo>
                  <a:lnTo>
                    <a:pt x="1808" y="409"/>
                  </a:lnTo>
                  <a:lnTo>
                    <a:pt x="1806" y="416"/>
                  </a:lnTo>
                  <a:lnTo>
                    <a:pt x="1806" y="426"/>
                  </a:lnTo>
                  <a:lnTo>
                    <a:pt x="1808" y="437"/>
                  </a:lnTo>
                  <a:lnTo>
                    <a:pt x="1814" y="443"/>
                  </a:lnTo>
                  <a:lnTo>
                    <a:pt x="1819" y="445"/>
                  </a:lnTo>
                  <a:lnTo>
                    <a:pt x="1818" y="448"/>
                  </a:lnTo>
                  <a:lnTo>
                    <a:pt x="1822" y="445"/>
                  </a:lnTo>
                  <a:lnTo>
                    <a:pt x="1822" y="447"/>
                  </a:lnTo>
                  <a:lnTo>
                    <a:pt x="1819" y="452"/>
                  </a:lnTo>
                  <a:lnTo>
                    <a:pt x="1820" y="454"/>
                  </a:lnTo>
                  <a:lnTo>
                    <a:pt x="1820" y="461"/>
                  </a:lnTo>
                  <a:lnTo>
                    <a:pt x="1824" y="470"/>
                  </a:lnTo>
                  <a:lnTo>
                    <a:pt x="1838" y="475"/>
                  </a:lnTo>
                  <a:lnTo>
                    <a:pt x="1841" y="480"/>
                  </a:lnTo>
                  <a:lnTo>
                    <a:pt x="1851" y="485"/>
                  </a:lnTo>
                  <a:lnTo>
                    <a:pt x="1871" y="490"/>
                  </a:lnTo>
                  <a:lnTo>
                    <a:pt x="1874" y="489"/>
                  </a:lnTo>
                  <a:lnTo>
                    <a:pt x="1881" y="485"/>
                  </a:lnTo>
                  <a:lnTo>
                    <a:pt x="1884" y="502"/>
                  </a:lnTo>
                  <a:lnTo>
                    <a:pt x="1888" y="511"/>
                  </a:lnTo>
                  <a:lnTo>
                    <a:pt x="1893" y="515"/>
                  </a:lnTo>
                  <a:lnTo>
                    <a:pt x="1903" y="512"/>
                  </a:lnTo>
                  <a:lnTo>
                    <a:pt x="1911" y="517"/>
                  </a:lnTo>
                  <a:lnTo>
                    <a:pt x="1920" y="518"/>
                  </a:lnTo>
                  <a:lnTo>
                    <a:pt x="1925" y="527"/>
                  </a:lnTo>
                  <a:lnTo>
                    <a:pt x="1931" y="533"/>
                  </a:lnTo>
                  <a:lnTo>
                    <a:pt x="1937" y="529"/>
                  </a:lnTo>
                  <a:lnTo>
                    <a:pt x="1942" y="533"/>
                  </a:lnTo>
                  <a:lnTo>
                    <a:pt x="1954" y="540"/>
                  </a:lnTo>
                  <a:lnTo>
                    <a:pt x="1958" y="545"/>
                  </a:lnTo>
                  <a:lnTo>
                    <a:pt x="1960" y="556"/>
                  </a:lnTo>
                  <a:lnTo>
                    <a:pt x="1953" y="554"/>
                  </a:lnTo>
                  <a:lnTo>
                    <a:pt x="1952" y="566"/>
                  </a:lnTo>
                  <a:lnTo>
                    <a:pt x="1958" y="572"/>
                  </a:lnTo>
                  <a:lnTo>
                    <a:pt x="1968" y="574"/>
                  </a:lnTo>
                  <a:lnTo>
                    <a:pt x="1970" y="580"/>
                  </a:lnTo>
                  <a:lnTo>
                    <a:pt x="1978" y="588"/>
                  </a:lnTo>
                  <a:lnTo>
                    <a:pt x="1980" y="597"/>
                  </a:lnTo>
                  <a:lnTo>
                    <a:pt x="1983" y="603"/>
                  </a:lnTo>
                  <a:lnTo>
                    <a:pt x="1985" y="610"/>
                  </a:lnTo>
                  <a:lnTo>
                    <a:pt x="1992" y="612"/>
                  </a:lnTo>
                  <a:lnTo>
                    <a:pt x="1994" y="619"/>
                  </a:lnTo>
                  <a:lnTo>
                    <a:pt x="1994" y="645"/>
                  </a:lnTo>
                  <a:lnTo>
                    <a:pt x="1996" y="651"/>
                  </a:lnTo>
                  <a:lnTo>
                    <a:pt x="1997" y="658"/>
                  </a:lnTo>
                  <a:lnTo>
                    <a:pt x="2002" y="662"/>
                  </a:lnTo>
                  <a:lnTo>
                    <a:pt x="2005" y="671"/>
                  </a:lnTo>
                  <a:lnTo>
                    <a:pt x="2007" y="672"/>
                  </a:lnTo>
                  <a:lnTo>
                    <a:pt x="2011" y="669"/>
                  </a:lnTo>
                  <a:lnTo>
                    <a:pt x="2017" y="669"/>
                  </a:lnTo>
                  <a:lnTo>
                    <a:pt x="2017" y="655"/>
                  </a:lnTo>
                  <a:lnTo>
                    <a:pt x="2023" y="650"/>
                  </a:lnTo>
                  <a:lnTo>
                    <a:pt x="2027" y="660"/>
                  </a:lnTo>
                  <a:lnTo>
                    <a:pt x="2032" y="665"/>
                  </a:lnTo>
                  <a:lnTo>
                    <a:pt x="2043" y="669"/>
                  </a:lnTo>
                  <a:lnTo>
                    <a:pt x="2051" y="676"/>
                  </a:lnTo>
                  <a:lnTo>
                    <a:pt x="2054" y="661"/>
                  </a:lnTo>
                  <a:lnTo>
                    <a:pt x="2057" y="665"/>
                  </a:lnTo>
                  <a:lnTo>
                    <a:pt x="2059" y="671"/>
                  </a:lnTo>
                  <a:lnTo>
                    <a:pt x="2061" y="674"/>
                  </a:lnTo>
                  <a:lnTo>
                    <a:pt x="2065" y="690"/>
                  </a:lnTo>
                  <a:lnTo>
                    <a:pt x="2065" y="720"/>
                  </a:lnTo>
                  <a:lnTo>
                    <a:pt x="2068" y="733"/>
                  </a:lnTo>
                  <a:lnTo>
                    <a:pt x="2077" y="739"/>
                  </a:lnTo>
                  <a:lnTo>
                    <a:pt x="2083" y="748"/>
                  </a:lnTo>
                  <a:lnTo>
                    <a:pt x="2098" y="760"/>
                  </a:lnTo>
                  <a:lnTo>
                    <a:pt x="2110" y="760"/>
                  </a:lnTo>
                  <a:lnTo>
                    <a:pt x="2118" y="766"/>
                  </a:lnTo>
                  <a:lnTo>
                    <a:pt x="2124" y="774"/>
                  </a:lnTo>
                  <a:lnTo>
                    <a:pt x="2130" y="785"/>
                  </a:lnTo>
                  <a:lnTo>
                    <a:pt x="2132" y="791"/>
                  </a:lnTo>
                  <a:lnTo>
                    <a:pt x="2141" y="800"/>
                  </a:lnTo>
                  <a:lnTo>
                    <a:pt x="2151" y="802"/>
                  </a:lnTo>
                  <a:lnTo>
                    <a:pt x="2151" y="806"/>
                  </a:lnTo>
                  <a:lnTo>
                    <a:pt x="2163" y="824"/>
                  </a:lnTo>
                  <a:lnTo>
                    <a:pt x="2162" y="830"/>
                  </a:lnTo>
                  <a:lnTo>
                    <a:pt x="2173" y="835"/>
                  </a:lnTo>
                  <a:lnTo>
                    <a:pt x="2177" y="844"/>
                  </a:lnTo>
                  <a:lnTo>
                    <a:pt x="2178" y="862"/>
                  </a:lnTo>
                  <a:lnTo>
                    <a:pt x="2184" y="872"/>
                  </a:lnTo>
                  <a:lnTo>
                    <a:pt x="2186" y="876"/>
                  </a:lnTo>
                  <a:lnTo>
                    <a:pt x="2190" y="871"/>
                  </a:lnTo>
                  <a:lnTo>
                    <a:pt x="2191" y="886"/>
                  </a:lnTo>
                  <a:lnTo>
                    <a:pt x="2189" y="900"/>
                  </a:lnTo>
                  <a:lnTo>
                    <a:pt x="2191" y="911"/>
                  </a:lnTo>
                  <a:lnTo>
                    <a:pt x="2194" y="938"/>
                  </a:lnTo>
                  <a:lnTo>
                    <a:pt x="2197" y="948"/>
                  </a:lnTo>
                  <a:lnTo>
                    <a:pt x="2193" y="945"/>
                  </a:lnTo>
                  <a:lnTo>
                    <a:pt x="2191" y="952"/>
                  </a:lnTo>
                  <a:lnTo>
                    <a:pt x="2193" y="956"/>
                  </a:lnTo>
                  <a:lnTo>
                    <a:pt x="2194" y="963"/>
                  </a:lnTo>
                  <a:lnTo>
                    <a:pt x="2197" y="967"/>
                  </a:lnTo>
                  <a:lnTo>
                    <a:pt x="2200" y="979"/>
                  </a:lnTo>
                  <a:lnTo>
                    <a:pt x="2207" y="995"/>
                  </a:lnTo>
                  <a:lnTo>
                    <a:pt x="2216" y="1023"/>
                  </a:lnTo>
                  <a:lnTo>
                    <a:pt x="2217" y="1050"/>
                  </a:lnTo>
                  <a:lnTo>
                    <a:pt x="2215" y="1066"/>
                  </a:lnTo>
                  <a:lnTo>
                    <a:pt x="2211" y="1074"/>
                  </a:lnTo>
                  <a:lnTo>
                    <a:pt x="2206" y="1090"/>
                  </a:lnTo>
                  <a:lnTo>
                    <a:pt x="2204" y="1110"/>
                  </a:lnTo>
                  <a:lnTo>
                    <a:pt x="2199" y="1142"/>
                  </a:lnTo>
                  <a:lnTo>
                    <a:pt x="2196" y="1145"/>
                  </a:lnTo>
                  <a:lnTo>
                    <a:pt x="2189" y="1164"/>
                  </a:lnTo>
                  <a:lnTo>
                    <a:pt x="2188" y="1182"/>
                  </a:lnTo>
                  <a:lnTo>
                    <a:pt x="2190" y="1201"/>
                  </a:lnTo>
                  <a:lnTo>
                    <a:pt x="2186" y="1207"/>
                  </a:lnTo>
                  <a:lnTo>
                    <a:pt x="2186" y="1214"/>
                  </a:lnTo>
                  <a:lnTo>
                    <a:pt x="2172" y="1252"/>
                  </a:lnTo>
                  <a:lnTo>
                    <a:pt x="2167" y="1258"/>
                  </a:lnTo>
                  <a:lnTo>
                    <a:pt x="2162" y="1266"/>
                  </a:lnTo>
                  <a:lnTo>
                    <a:pt x="2156" y="1273"/>
                  </a:lnTo>
                  <a:lnTo>
                    <a:pt x="2156" y="1280"/>
                  </a:lnTo>
                  <a:lnTo>
                    <a:pt x="2158" y="1285"/>
                  </a:lnTo>
                  <a:lnTo>
                    <a:pt x="2153" y="1291"/>
                  </a:lnTo>
                  <a:lnTo>
                    <a:pt x="2145" y="1302"/>
                  </a:lnTo>
                  <a:lnTo>
                    <a:pt x="2137" y="1302"/>
                  </a:lnTo>
                  <a:lnTo>
                    <a:pt x="2135" y="1306"/>
                  </a:lnTo>
                  <a:lnTo>
                    <a:pt x="2141" y="1308"/>
                  </a:lnTo>
                  <a:lnTo>
                    <a:pt x="2130" y="1312"/>
                  </a:lnTo>
                  <a:lnTo>
                    <a:pt x="2123" y="1316"/>
                  </a:lnTo>
                  <a:lnTo>
                    <a:pt x="2120" y="1323"/>
                  </a:lnTo>
                  <a:lnTo>
                    <a:pt x="2114" y="1331"/>
                  </a:lnTo>
                  <a:lnTo>
                    <a:pt x="2108" y="1346"/>
                  </a:lnTo>
                  <a:lnTo>
                    <a:pt x="2100" y="1357"/>
                  </a:lnTo>
                  <a:lnTo>
                    <a:pt x="2094" y="1359"/>
                  </a:lnTo>
                  <a:lnTo>
                    <a:pt x="2091" y="1360"/>
                  </a:lnTo>
                  <a:lnTo>
                    <a:pt x="2089" y="1365"/>
                  </a:lnTo>
                  <a:lnTo>
                    <a:pt x="2097" y="1367"/>
                  </a:lnTo>
                  <a:lnTo>
                    <a:pt x="2096" y="1379"/>
                  </a:lnTo>
                  <a:lnTo>
                    <a:pt x="2091" y="1392"/>
                  </a:lnTo>
                  <a:lnTo>
                    <a:pt x="2088" y="1392"/>
                  </a:lnTo>
                  <a:lnTo>
                    <a:pt x="2087" y="1400"/>
                  </a:lnTo>
                  <a:lnTo>
                    <a:pt x="2078" y="1411"/>
                  </a:lnTo>
                  <a:lnTo>
                    <a:pt x="2065" y="1458"/>
                  </a:lnTo>
                  <a:lnTo>
                    <a:pt x="2065" y="1468"/>
                  </a:lnTo>
                  <a:lnTo>
                    <a:pt x="2056" y="1462"/>
                  </a:lnTo>
                  <a:lnTo>
                    <a:pt x="2049" y="1481"/>
                  </a:lnTo>
                  <a:lnTo>
                    <a:pt x="2044" y="1487"/>
                  </a:lnTo>
                  <a:lnTo>
                    <a:pt x="2041" y="1497"/>
                  </a:lnTo>
                  <a:lnTo>
                    <a:pt x="2038" y="1500"/>
                  </a:lnTo>
                  <a:lnTo>
                    <a:pt x="2034" y="1506"/>
                  </a:lnTo>
                  <a:lnTo>
                    <a:pt x="2033" y="1521"/>
                  </a:lnTo>
                  <a:lnTo>
                    <a:pt x="2029" y="1538"/>
                  </a:lnTo>
                  <a:lnTo>
                    <a:pt x="2033" y="1546"/>
                  </a:lnTo>
                  <a:lnTo>
                    <a:pt x="2030" y="1550"/>
                  </a:lnTo>
                  <a:lnTo>
                    <a:pt x="2029" y="1562"/>
                  </a:lnTo>
                  <a:lnTo>
                    <a:pt x="2023" y="1577"/>
                  </a:lnTo>
                  <a:lnTo>
                    <a:pt x="2021" y="1587"/>
                  </a:lnTo>
                  <a:lnTo>
                    <a:pt x="2021" y="1593"/>
                  </a:lnTo>
                  <a:lnTo>
                    <a:pt x="2024" y="1603"/>
                  </a:lnTo>
                  <a:lnTo>
                    <a:pt x="2024" y="1613"/>
                  </a:lnTo>
                  <a:lnTo>
                    <a:pt x="2023" y="1621"/>
                  </a:lnTo>
                  <a:lnTo>
                    <a:pt x="2021" y="1629"/>
                  </a:lnTo>
                  <a:lnTo>
                    <a:pt x="2012" y="1624"/>
                  </a:lnTo>
                  <a:lnTo>
                    <a:pt x="2008" y="1625"/>
                  </a:lnTo>
                  <a:lnTo>
                    <a:pt x="2007" y="1637"/>
                  </a:lnTo>
                  <a:lnTo>
                    <a:pt x="1987" y="1643"/>
                  </a:lnTo>
                  <a:lnTo>
                    <a:pt x="1932" y="1645"/>
                  </a:lnTo>
                  <a:lnTo>
                    <a:pt x="1920" y="1648"/>
                  </a:lnTo>
                  <a:lnTo>
                    <a:pt x="1898" y="1661"/>
                  </a:lnTo>
                  <a:lnTo>
                    <a:pt x="1888" y="1669"/>
                  </a:lnTo>
                  <a:lnTo>
                    <a:pt x="1874" y="1678"/>
                  </a:lnTo>
                  <a:lnTo>
                    <a:pt x="1868" y="1685"/>
                  </a:lnTo>
                  <a:lnTo>
                    <a:pt x="1866" y="1691"/>
                  </a:lnTo>
                  <a:lnTo>
                    <a:pt x="1854" y="1699"/>
                  </a:lnTo>
                  <a:lnTo>
                    <a:pt x="1847" y="1705"/>
                  </a:lnTo>
                  <a:lnTo>
                    <a:pt x="1844" y="1701"/>
                  </a:lnTo>
                  <a:lnTo>
                    <a:pt x="1830" y="1705"/>
                  </a:lnTo>
                  <a:lnTo>
                    <a:pt x="1823" y="1705"/>
                  </a:lnTo>
                  <a:lnTo>
                    <a:pt x="1819" y="1706"/>
                  </a:lnTo>
                  <a:lnTo>
                    <a:pt x="1818" y="1715"/>
                  </a:lnTo>
                  <a:lnTo>
                    <a:pt x="1822" y="1720"/>
                  </a:lnTo>
                  <a:lnTo>
                    <a:pt x="1825" y="1713"/>
                  </a:lnTo>
                  <a:lnTo>
                    <a:pt x="1831" y="1709"/>
                  </a:lnTo>
                  <a:lnTo>
                    <a:pt x="1836" y="1709"/>
                  </a:lnTo>
                  <a:lnTo>
                    <a:pt x="1833" y="1720"/>
                  </a:lnTo>
                  <a:lnTo>
                    <a:pt x="1831" y="1729"/>
                  </a:lnTo>
                  <a:lnTo>
                    <a:pt x="1826" y="1736"/>
                  </a:lnTo>
                  <a:lnTo>
                    <a:pt x="1813" y="1717"/>
                  </a:lnTo>
                  <a:lnTo>
                    <a:pt x="1808" y="1717"/>
                  </a:lnTo>
                  <a:lnTo>
                    <a:pt x="1799" y="1713"/>
                  </a:lnTo>
                  <a:lnTo>
                    <a:pt x="1796" y="1704"/>
                  </a:lnTo>
                  <a:lnTo>
                    <a:pt x="1785" y="1704"/>
                  </a:lnTo>
                  <a:lnTo>
                    <a:pt x="1777" y="1696"/>
                  </a:lnTo>
                  <a:lnTo>
                    <a:pt x="1776" y="1690"/>
                  </a:lnTo>
                  <a:lnTo>
                    <a:pt x="1779" y="1679"/>
                  </a:lnTo>
                  <a:lnTo>
                    <a:pt x="1772" y="1673"/>
                  </a:lnTo>
                  <a:lnTo>
                    <a:pt x="1760" y="1682"/>
                  </a:lnTo>
                  <a:lnTo>
                    <a:pt x="1750" y="1685"/>
                  </a:lnTo>
                  <a:lnTo>
                    <a:pt x="1739" y="1682"/>
                  </a:lnTo>
                  <a:lnTo>
                    <a:pt x="1736" y="1675"/>
                  </a:lnTo>
                  <a:lnTo>
                    <a:pt x="1749" y="1675"/>
                  </a:lnTo>
                  <a:lnTo>
                    <a:pt x="1752" y="1666"/>
                  </a:lnTo>
                  <a:lnTo>
                    <a:pt x="1750" y="1652"/>
                  </a:lnTo>
                  <a:lnTo>
                    <a:pt x="1741" y="1647"/>
                  </a:lnTo>
                  <a:lnTo>
                    <a:pt x="1725" y="1659"/>
                  </a:lnTo>
                  <a:lnTo>
                    <a:pt x="1715" y="1661"/>
                  </a:lnTo>
                  <a:lnTo>
                    <a:pt x="1728" y="1669"/>
                  </a:lnTo>
                  <a:lnTo>
                    <a:pt x="1729" y="1672"/>
                  </a:lnTo>
                  <a:lnTo>
                    <a:pt x="1721" y="1673"/>
                  </a:lnTo>
                  <a:lnTo>
                    <a:pt x="1710" y="1678"/>
                  </a:lnTo>
                  <a:lnTo>
                    <a:pt x="1699" y="1686"/>
                  </a:lnTo>
                  <a:lnTo>
                    <a:pt x="1690" y="1701"/>
                  </a:lnTo>
                  <a:lnTo>
                    <a:pt x="1672" y="1710"/>
                  </a:lnTo>
                  <a:lnTo>
                    <a:pt x="1658" y="1713"/>
                  </a:lnTo>
                  <a:lnTo>
                    <a:pt x="1655" y="1709"/>
                  </a:lnTo>
                  <a:lnTo>
                    <a:pt x="1635" y="1699"/>
                  </a:lnTo>
                  <a:lnTo>
                    <a:pt x="1616" y="1686"/>
                  </a:lnTo>
                  <a:lnTo>
                    <a:pt x="1607" y="1683"/>
                  </a:lnTo>
                  <a:lnTo>
                    <a:pt x="1593" y="1682"/>
                  </a:lnTo>
                  <a:lnTo>
                    <a:pt x="1572" y="1674"/>
                  </a:lnTo>
                  <a:lnTo>
                    <a:pt x="1564" y="1675"/>
                  </a:lnTo>
                  <a:lnTo>
                    <a:pt x="1555" y="1682"/>
                  </a:lnTo>
                  <a:lnTo>
                    <a:pt x="1548" y="1671"/>
                  </a:lnTo>
                  <a:lnTo>
                    <a:pt x="1529" y="1659"/>
                  </a:lnTo>
                  <a:lnTo>
                    <a:pt x="1511" y="1658"/>
                  </a:lnTo>
                  <a:lnTo>
                    <a:pt x="1496" y="1650"/>
                  </a:lnTo>
                  <a:lnTo>
                    <a:pt x="1486" y="1639"/>
                  </a:lnTo>
                  <a:lnTo>
                    <a:pt x="1481" y="1625"/>
                  </a:lnTo>
                  <a:lnTo>
                    <a:pt x="1470" y="1618"/>
                  </a:lnTo>
                  <a:lnTo>
                    <a:pt x="1458" y="1588"/>
                  </a:lnTo>
                  <a:lnTo>
                    <a:pt x="1457" y="1582"/>
                  </a:lnTo>
                  <a:lnTo>
                    <a:pt x="1462" y="1572"/>
                  </a:lnTo>
                  <a:lnTo>
                    <a:pt x="1463" y="1559"/>
                  </a:lnTo>
                  <a:lnTo>
                    <a:pt x="1453" y="1530"/>
                  </a:lnTo>
                  <a:lnTo>
                    <a:pt x="1430" y="1500"/>
                  </a:lnTo>
                  <a:lnTo>
                    <a:pt x="1437" y="1483"/>
                  </a:lnTo>
                  <a:lnTo>
                    <a:pt x="1436" y="1480"/>
                  </a:lnTo>
                  <a:lnTo>
                    <a:pt x="1421" y="1481"/>
                  </a:lnTo>
                  <a:lnTo>
                    <a:pt x="1406" y="1490"/>
                  </a:lnTo>
                  <a:lnTo>
                    <a:pt x="1389" y="1496"/>
                  </a:lnTo>
                  <a:lnTo>
                    <a:pt x="1379" y="1497"/>
                  </a:lnTo>
                  <a:lnTo>
                    <a:pt x="1372" y="1495"/>
                  </a:lnTo>
                  <a:lnTo>
                    <a:pt x="1379" y="1484"/>
                  </a:lnTo>
                  <a:lnTo>
                    <a:pt x="1387" y="1468"/>
                  </a:lnTo>
                  <a:lnTo>
                    <a:pt x="1390" y="1453"/>
                  </a:lnTo>
                  <a:lnTo>
                    <a:pt x="1390" y="1436"/>
                  </a:lnTo>
                  <a:lnTo>
                    <a:pt x="1384" y="1419"/>
                  </a:lnTo>
                  <a:lnTo>
                    <a:pt x="1376" y="1406"/>
                  </a:lnTo>
                  <a:lnTo>
                    <a:pt x="1368" y="1400"/>
                  </a:lnTo>
                  <a:lnTo>
                    <a:pt x="1356" y="1424"/>
                  </a:lnTo>
                  <a:lnTo>
                    <a:pt x="1356" y="1436"/>
                  </a:lnTo>
                  <a:lnTo>
                    <a:pt x="1352" y="1448"/>
                  </a:lnTo>
                  <a:lnTo>
                    <a:pt x="1350" y="1460"/>
                  </a:lnTo>
                  <a:lnTo>
                    <a:pt x="1349" y="1463"/>
                  </a:lnTo>
                  <a:lnTo>
                    <a:pt x="1340" y="1462"/>
                  </a:lnTo>
                  <a:lnTo>
                    <a:pt x="1329" y="1467"/>
                  </a:lnTo>
                  <a:lnTo>
                    <a:pt x="1317" y="1467"/>
                  </a:lnTo>
                  <a:lnTo>
                    <a:pt x="1307" y="1473"/>
                  </a:lnTo>
                  <a:lnTo>
                    <a:pt x="1301" y="1467"/>
                  </a:lnTo>
                  <a:lnTo>
                    <a:pt x="1306" y="1448"/>
                  </a:lnTo>
                  <a:lnTo>
                    <a:pt x="1319" y="1449"/>
                  </a:lnTo>
                  <a:lnTo>
                    <a:pt x="1330" y="1443"/>
                  </a:lnTo>
                  <a:lnTo>
                    <a:pt x="1334" y="1429"/>
                  </a:lnTo>
                  <a:lnTo>
                    <a:pt x="1335" y="1417"/>
                  </a:lnTo>
                  <a:lnTo>
                    <a:pt x="1333" y="1415"/>
                  </a:lnTo>
                  <a:lnTo>
                    <a:pt x="1333" y="1411"/>
                  </a:lnTo>
                  <a:lnTo>
                    <a:pt x="1334" y="1405"/>
                  </a:lnTo>
                  <a:lnTo>
                    <a:pt x="1334" y="1397"/>
                  </a:lnTo>
                  <a:lnTo>
                    <a:pt x="1339" y="1384"/>
                  </a:lnTo>
                  <a:lnTo>
                    <a:pt x="1345" y="1368"/>
                  </a:lnTo>
                  <a:lnTo>
                    <a:pt x="1351" y="1365"/>
                  </a:lnTo>
                  <a:lnTo>
                    <a:pt x="1357" y="1355"/>
                  </a:lnTo>
                  <a:lnTo>
                    <a:pt x="1357" y="1330"/>
                  </a:lnTo>
                  <a:lnTo>
                    <a:pt x="1363" y="1331"/>
                  </a:lnTo>
                  <a:lnTo>
                    <a:pt x="1362" y="1324"/>
                  </a:lnTo>
                  <a:lnTo>
                    <a:pt x="1358" y="1317"/>
                  </a:lnTo>
                  <a:lnTo>
                    <a:pt x="1358" y="1307"/>
                  </a:lnTo>
                  <a:lnTo>
                    <a:pt x="1355" y="1304"/>
                  </a:lnTo>
                  <a:lnTo>
                    <a:pt x="1355" y="1293"/>
                  </a:lnTo>
                  <a:lnTo>
                    <a:pt x="1350" y="1288"/>
                  </a:lnTo>
                  <a:lnTo>
                    <a:pt x="1347" y="1297"/>
                  </a:lnTo>
                  <a:lnTo>
                    <a:pt x="1347" y="1317"/>
                  </a:lnTo>
                  <a:lnTo>
                    <a:pt x="1342" y="1318"/>
                  </a:lnTo>
                  <a:lnTo>
                    <a:pt x="1335" y="1330"/>
                  </a:lnTo>
                  <a:lnTo>
                    <a:pt x="1330" y="1341"/>
                  </a:lnTo>
                  <a:lnTo>
                    <a:pt x="1324" y="1354"/>
                  </a:lnTo>
                  <a:lnTo>
                    <a:pt x="1323" y="1360"/>
                  </a:lnTo>
                  <a:lnTo>
                    <a:pt x="1318" y="1368"/>
                  </a:lnTo>
                  <a:lnTo>
                    <a:pt x="1307" y="1367"/>
                  </a:lnTo>
                  <a:lnTo>
                    <a:pt x="1302" y="1370"/>
                  </a:lnTo>
                  <a:lnTo>
                    <a:pt x="1301" y="1374"/>
                  </a:lnTo>
                  <a:lnTo>
                    <a:pt x="1287" y="1382"/>
                  </a:lnTo>
                  <a:lnTo>
                    <a:pt x="1282" y="1388"/>
                  </a:lnTo>
                  <a:lnTo>
                    <a:pt x="1275" y="1390"/>
                  </a:lnTo>
                  <a:lnTo>
                    <a:pt x="1269" y="1405"/>
                  </a:lnTo>
                  <a:lnTo>
                    <a:pt x="1259" y="1417"/>
                  </a:lnTo>
                  <a:lnTo>
                    <a:pt x="1249" y="1425"/>
                  </a:lnTo>
                  <a:lnTo>
                    <a:pt x="1245" y="1437"/>
                  </a:lnTo>
                  <a:lnTo>
                    <a:pt x="1252" y="1437"/>
                  </a:lnTo>
                  <a:lnTo>
                    <a:pt x="1252" y="1454"/>
                  </a:lnTo>
                  <a:lnTo>
                    <a:pt x="1245" y="1449"/>
                  </a:lnTo>
                  <a:lnTo>
                    <a:pt x="1238" y="1452"/>
                  </a:lnTo>
                  <a:lnTo>
                    <a:pt x="1229" y="1440"/>
                  </a:lnTo>
                  <a:lnTo>
                    <a:pt x="1220" y="1433"/>
                  </a:lnTo>
                  <a:lnTo>
                    <a:pt x="1214" y="1427"/>
                  </a:lnTo>
                  <a:lnTo>
                    <a:pt x="1205" y="1426"/>
                  </a:lnTo>
                  <a:lnTo>
                    <a:pt x="1205" y="1416"/>
                  </a:lnTo>
                  <a:lnTo>
                    <a:pt x="1221" y="1427"/>
                  </a:lnTo>
                  <a:lnTo>
                    <a:pt x="1222" y="1419"/>
                  </a:lnTo>
                  <a:lnTo>
                    <a:pt x="1220" y="1405"/>
                  </a:lnTo>
                  <a:lnTo>
                    <a:pt x="1214" y="1398"/>
                  </a:lnTo>
                  <a:lnTo>
                    <a:pt x="1211" y="1383"/>
                  </a:lnTo>
                  <a:lnTo>
                    <a:pt x="1204" y="1372"/>
                  </a:lnTo>
                  <a:lnTo>
                    <a:pt x="1195" y="1365"/>
                  </a:lnTo>
                  <a:lnTo>
                    <a:pt x="1190" y="1347"/>
                  </a:lnTo>
                  <a:lnTo>
                    <a:pt x="1186" y="1343"/>
                  </a:lnTo>
                  <a:lnTo>
                    <a:pt x="1183" y="1334"/>
                  </a:lnTo>
                  <a:lnTo>
                    <a:pt x="1177" y="1335"/>
                  </a:lnTo>
                  <a:lnTo>
                    <a:pt x="1166" y="1330"/>
                  </a:lnTo>
                  <a:lnTo>
                    <a:pt x="1156" y="1324"/>
                  </a:lnTo>
                  <a:lnTo>
                    <a:pt x="1150" y="1316"/>
                  </a:lnTo>
                  <a:lnTo>
                    <a:pt x="1150" y="1306"/>
                  </a:lnTo>
                  <a:lnTo>
                    <a:pt x="1155" y="1306"/>
                  </a:lnTo>
                  <a:lnTo>
                    <a:pt x="1156" y="1292"/>
                  </a:lnTo>
                  <a:lnTo>
                    <a:pt x="1135" y="1286"/>
                  </a:lnTo>
                  <a:lnTo>
                    <a:pt x="1114" y="1265"/>
                  </a:lnTo>
                  <a:lnTo>
                    <a:pt x="1108" y="1263"/>
                  </a:lnTo>
                  <a:lnTo>
                    <a:pt x="1110" y="1270"/>
                  </a:lnTo>
                  <a:lnTo>
                    <a:pt x="1100" y="1269"/>
                  </a:lnTo>
                  <a:lnTo>
                    <a:pt x="1091" y="1263"/>
                  </a:lnTo>
                  <a:lnTo>
                    <a:pt x="1069" y="1252"/>
                  </a:lnTo>
                  <a:lnTo>
                    <a:pt x="1062" y="1253"/>
                  </a:lnTo>
                  <a:lnTo>
                    <a:pt x="1054" y="1259"/>
                  </a:lnTo>
                  <a:lnTo>
                    <a:pt x="1051" y="1258"/>
                  </a:lnTo>
                  <a:lnTo>
                    <a:pt x="1045" y="1255"/>
                  </a:lnTo>
                  <a:lnTo>
                    <a:pt x="1017" y="1231"/>
                  </a:lnTo>
                  <a:lnTo>
                    <a:pt x="1006" y="1227"/>
                  </a:lnTo>
                  <a:lnTo>
                    <a:pt x="995" y="1226"/>
                  </a:lnTo>
                  <a:lnTo>
                    <a:pt x="974" y="1225"/>
                  </a:lnTo>
                  <a:lnTo>
                    <a:pt x="941" y="1230"/>
                  </a:lnTo>
                  <a:lnTo>
                    <a:pt x="899" y="1228"/>
                  </a:lnTo>
                  <a:lnTo>
                    <a:pt x="881" y="1228"/>
                  </a:lnTo>
                  <a:lnTo>
                    <a:pt x="840" y="1248"/>
                  </a:lnTo>
                  <a:lnTo>
                    <a:pt x="820" y="1261"/>
                  </a:lnTo>
                  <a:lnTo>
                    <a:pt x="795" y="1263"/>
                  </a:lnTo>
                  <a:lnTo>
                    <a:pt x="779" y="1270"/>
                  </a:lnTo>
                  <a:lnTo>
                    <a:pt x="758" y="1274"/>
                  </a:lnTo>
                  <a:lnTo>
                    <a:pt x="722" y="1273"/>
                  </a:lnTo>
                  <a:lnTo>
                    <a:pt x="710" y="1270"/>
                  </a:lnTo>
                  <a:lnTo>
                    <a:pt x="695" y="1274"/>
                  </a:lnTo>
                  <a:lnTo>
                    <a:pt x="685" y="1282"/>
                  </a:lnTo>
                  <a:lnTo>
                    <a:pt x="658" y="1297"/>
                  </a:lnTo>
                  <a:lnTo>
                    <a:pt x="642" y="1302"/>
                  </a:lnTo>
                  <a:lnTo>
                    <a:pt x="634" y="1309"/>
                  </a:lnTo>
                  <a:lnTo>
                    <a:pt x="625" y="1313"/>
                  </a:lnTo>
                  <a:lnTo>
                    <a:pt x="614" y="1314"/>
                  </a:lnTo>
                  <a:lnTo>
                    <a:pt x="602" y="1320"/>
                  </a:lnTo>
                  <a:lnTo>
                    <a:pt x="596" y="1333"/>
                  </a:lnTo>
                  <a:lnTo>
                    <a:pt x="592" y="1349"/>
                  </a:lnTo>
                  <a:lnTo>
                    <a:pt x="587" y="1354"/>
                  </a:lnTo>
                  <a:lnTo>
                    <a:pt x="581" y="1363"/>
                  </a:lnTo>
                  <a:lnTo>
                    <a:pt x="577" y="1372"/>
                  </a:lnTo>
                  <a:lnTo>
                    <a:pt x="558" y="1377"/>
                  </a:lnTo>
                  <a:lnTo>
                    <a:pt x="549" y="1377"/>
                  </a:lnTo>
                  <a:lnTo>
                    <a:pt x="539" y="1373"/>
                  </a:lnTo>
                  <a:lnTo>
                    <a:pt x="518" y="1376"/>
                  </a:lnTo>
                  <a:lnTo>
                    <a:pt x="496" y="1382"/>
                  </a:lnTo>
                  <a:lnTo>
                    <a:pt x="491" y="1374"/>
                  </a:lnTo>
                  <a:lnTo>
                    <a:pt x="486" y="1372"/>
                  </a:lnTo>
                  <a:lnTo>
                    <a:pt x="480" y="1374"/>
                  </a:lnTo>
                  <a:lnTo>
                    <a:pt x="464" y="1376"/>
                  </a:lnTo>
                  <a:lnTo>
                    <a:pt x="447" y="1372"/>
                  </a:lnTo>
                  <a:lnTo>
                    <a:pt x="435" y="1372"/>
                  </a:lnTo>
                  <a:lnTo>
                    <a:pt x="419" y="1379"/>
                  </a:lnTo>
                  <a:lnTo>
                    <a:pt x="376" y="1378"/>
                  </a:lnTo>
                  <a:lnTo>
                    <a:pt x="365" y="1383"/>
                  </a:lnTo>
                  <a:lnTo>
                    <a:pt x="355" y="1392"/>
                  </a:lnTo>
                  <a:lnTo>
                    <a:pt x="350" y="1399"/>
                  </a:lnTo>
                  <a:lnTo>
                    <a:pt x="352" y="1404"/>
                  </a:lnTo>
                  <a:lnTo>
                    <a:pt x="350" y="1405"/>
                  </a:lnTo>
                  <a:lnTo>
                    <a:pt x="344" y="1411"/>
                  </a:lnTo>
                  <a:lnTo>
                    <a:pt x="333" y="1414"/>
                  </a:lnTo>
                  <a:lnTo>
                    <a:pt x="316" y="1416"/>
                  </a:lnTo>
                  <a:lnTo>
                    <a:pt x="301" y="1426"/>
                  </a:lnTo>
                  <a:lnTo>
                    <a:pt x="292" y="1436"/>
                  </a:lnTo>
                  <a:lnTo>
                    <a:pt x="287" y="1443"/>
                  </a:lnTo>
                  <a:lnTo>
                    <a:pt x="280" y="1449"/>
                  </a:lnTo>
                  <a:lnTo>
                    <a:pt x="271" y="1452"/>
                  </a:lnTo>
                  <a:lnTo>
                    <a:pt x="261" y="1447"/>
                  </a:lnTo>
                  <a:lnTo>
                    <a:pt x="260" y="1458"/>
                  </a:lnTo>
                  <a:lnTo>
                    <a:pt x="253" y="1454"/>
                  </a:lnTo>
                  <a:lnTo>
                    <a:pt x="244" y="1458"/>
                  </a:lnTo>
                  <a:lnTo>
                    <a:pt x="238" y="1451"/>
                  </a:lnTo>
                  <a:lnTo>
                    <a:pt x="205" y="1453"/>
                  </a:lnTo>
                  <a:lnTo>
                    <a:pt x="190" y="1451"/>
                  </a:lnTo>
                  <a:lnTo>
                    <a:pt x="183" y="1443"/>
                  </a:lnTo>
                  <a:lnTo>
                    <a:pt x="174" y="1440"/>
                  </a:lnTo>
                  <a:lnTo>
                    <a:pt x="174" y="1441"/>
                  </a:lnTo>
                  <a:lnTo>
                    <a:pt x="163" y="1440"/>
                  </a:lnTo>
                  <a:lnTo>
                    <a:pt x="148" y="1424"/>
                  </a:lnTo>
                  <a:lnTo>
                    <a:pt x="141" y="1415"/>
                  </a:lnTo>
                  <a:lnTo>
                    <a:pt x="130" y="1405"/>
                  </a:lnTo>
                  <a:lnTo>
                    <a:pt x="120" y="1402"/>
                  </a:lnTo>
                  <a:lnTo>
                    <a:pt x="108" y="1399"/>
                  </a:lnTo>
                  <a:lnTo>
                    <a:pt x="105" y="1370"/>
                  </a:lnTo>
                  <a:lnTo>
                    <a:pt x="107" y="1357"/>
                  </a:lnTo>
                  <a:lnTo>
                    <a:pt x="107" y="1356"/>
                  </a:lnTo>
                  <a:lnTo>
                    <a:pt x="117" y="1360"/>
                  </a:lnTo>
                  <a:lnTo>
                    <a:pt x="125" y="1359"/>
                  </a:lnTo>
                  <a:lnTo>
                    <a:pt x="136" y="1343"/>
                  </a:lnTo>
                  <a:lnTo>
                    <a:pt x="142" y="1328"/>
                  </a:lnTo>
                  <a:lnTo>
                    <a:pt x="142" y="1318"/>
                  </a:lnTo>
                  <a:lnTo>
                    <a:pt x="137" y="1306"/>
                  </a:lnTo>
                  <a:lnTo>
                    <a:pt x="137" y="1291"/>
                  </a:lnTo>
                  <a:lnTo>
                    <a:pt x="139" y="1297"/>
                  </a:lnTo>
                  <a:lnTo>
                    <a:pt x="142" y="1286"/>
                  </a:lnTo>
                  <a:lnTo>
                    <a:pt x="141" y="1265"/>
                  </a:lnTo>
                  <a:lnTo>
                    <a:pt x="144" y="1248"/>
                  </a:lnTo>
                  <a:lnTo>
                    <a:pt x="141" y="1234"/>
                  </a:lnTo>
                  <a:lnTo>
                    <a:pt x="124" y="1196"/>
                  </a:lnTo>
                  <a:lnTo>
                    <a:pt x="121" y="1185"/>
                  </a:lnTo>
                  <a:lnTo>
                    <a:pt x="117" y="1178"/>
                  </a:lnTo>
                  <a:lnTo>
                    <a:pt x="109" y="1168"/>
                  </a:lnTo>
                  <a:lnTo>
                    <a:pt x="103" y="1150"/>
                  </a:lnTo>
                  <a:lnTo>
                    <a:pt x="98" y="1124"/>
                  </a:lnTo>
                  <a:lnTo>
                    <a:pt x="98" y="1092"/>
                  </a:lnTo>
                  <a:lnTo>
                    <a:pt x="94" y="1081"/>
                  </a:lnTo>
                  <a:lnTo>
                    <a:pt x="78" y="1053"/>
                  </a:lnTo>
                  <a:lnTo>
                    <a:pt x="76" y="1039"/>
                  </a:lnTo>
                  <a:lnTo>
                    <a:pt x="66" y="1024"/>
                  </a:lnTo>
                  <a:lnTo>
                    <a:pt x="54" y="1004"/>
                  </a:lnTo>
                  <a:lnTo>
                    <a:pt x="54" y="983"/>
                  </a:lnTo>
                  <a:lnTo>
                    <a:pt x="46" y="965"/>
                  </a:lnTo>
                  <a:lnTo>
                    <a:pt x="40" y="945"/>
                  </a:lnTo>
                  <a:lnTo>
                    <a:pt x="29" y="938"/>
                  </a:lnTo>
                  <a:lnTo>
                    <a:pt x="19" y="927"/>
                  </a:lnTo>
                  <a:lnTo>
                    <a:pt x="13" y="919"/>
                  </a:lnTo>
                  <a:lnTo>
                    <a:pt x="11" y="909"/>
                  </a:lnTo>
                  <a:lnTo>
                    <a:pt x="5" y="905"/>
                  </a:lnTo>
                  <a:lnTo>
                    <a:pt x="0" y="895"/>
                  </a:lnTo>
                  <a:lnTo>
                    <a:pt x="1" y="889"/>
                  </a:lnTo>
                  <a:lnTo>
                    <a:pt x="3" y="894"/>
                  </a:lnTo>
                  <a:lnTo>
                    <a:pt x="8" y="895"/>
                  </a:lnTo>
                  <a:lnTo>
                    <a:pt x="12" y="897"/>
                  </a:lnTo>
                  <a:lnTo>
                    <a:pt x="15" y="904"/>
                  </a:lnTo>
                  <a:lnTo>
                    <a:pt x="16" y="914"/>
                  </a:lnTo>
                  <a:lnTo>
                    <a:pt x="21" y="911"/>
                  </a:lnTo>
                  <a:lnTo>
                    <a:pt x="23" y="918"/>
                  </a:lnTo>
                  <a:lnTo>
                    <a:pt x="31" y="919"/>
                  </a:lnTo>
                  <a:lnTo>
                    <a:pt x="35" y="913"/>
                  </a:lnTo>
                  <a:lnTo>
                    <a:pt x="34" y="904"/>
                  </a:lnTo>
                  <a:lnTo>
                    <a:pt x="26" y="895"/>
                  </a:lnTo>
                  <a:lnTo>
                    <a:pt x="13" y="866"/>
                  </a:lnTo>
                  <a:lnTo>
                    <a:pt x="13" y="856"/>
                  </a:lnTo>
                  <a:lnTo>
                    <a:pt x="17" y="860"/>
                  </a:lnTo>
                  <a:lnTo>
                    <a:pt x="22" y="871"/>
                  </a:lnTo>
                  <a:lnTo>
                    <a:pt x="27" y="894"/>
                  </a:lnTo>
                  <a:lnTo>
                    <a:pt x="35" y="884"/>
                  </a:lnTo>
                  <a:lnTo>
                    <a:pt x="38" y="893"/>
                  </a:lnTo>
                  <a:lnTo>
                    <a:pt x="39" y="904"/>
                  </a:lnTo>
                  <a:lnTo>
                    <a:pt x="46" y="905"/>
                  </a:lnTo>
                  <a:lnTo>
                    <a:pt x="51" y="898"/>
                  </a:lnTo>
                  <a:lnTo>
                    <a:pt x="54" y="886"/>
                  </a:lnTo>
                  <a:lnTo>
                    <a:pt x="53" y="867"/>
                  </a:lnTo>
                  <a:lnTo>
                    <a:pt x="45" y="860"/>
                  </a:lnTo>
                  <a:lnTo>
                    <a:pt x="39" y="848"/>
                  </a:lnTo>
                  <a:lnTo>
                    <a:pt x="37" y="851"/>
                  </a:lnTo>
                  <a:lnTo>
                    <a:pt x="38" y="844"/>
                  </a:lnTo>
                  <a:lnTo>
                    <a:pt x="31" y="832"/>
                  </a:lnTo>
                  <a:lnTo>
                    <a:pt x="23" y="814"/>
                  </a:lnTo>
                  <a:lnTo>
                    <a:pt x="8" y="787"/>
                  </a:lnTo>
                  <a:lnTo>
                    <a:pt x="8" y="758"/>
                  </a:lnTo>
                  <a:lnTo>
                    <a:pt x="13" y="748"/>
                  </a:lnTo>
                  <a:lnTo>
                    <a:pt x="28" y="733"/>
                  </a:lnTo>
                  <a:lnTo>
                    <a:pt x="29" y="725"/>
                  </a:lnTo>
                  <a:lnTo>
                    <a:pt x="28" y="716"/>
                  </a:lnTo>
                  <a:lnTo>
                    <a:pt x="29" y="695"/>
                  </a:lnTo>
                  <a:lnTo>
                    <a:pt x="22" y="683"/>
                  </a:lnTo>
                  <a:lnTo>
                    <a:pt x="27" y="661"/>
                  </a:lnTo>
                  <a:lnTo>
                    <a:pt x="33" y="652"/>
                  </a:lnTo>
                  <a:lnTo>
                    <a:pt x="39" y="637"/>
                  </a:lnTo>
                  <a:lnTo>
                    <a:pt x="43" y="63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55" name="New Zeland"/>
            <p:cNvSpPr>
              <a:spLocks noChangeAspect="1"/>
            </p:cNvSpPr>
            <p:nvPr>
              <p:custDataLst>
                <p:tags r:id="rId54"/>
              </p:custDataLst>
            </p:nvPr>
          </p:nvSpPr>
          <p:spPr bwMode="gray">
            <a:xfrm>
              <a:off x="8725277" y="5764916"/>
              <a:ext cx="198951" cy="215335"/>
            </a:xfrm>
            <a:custGeom>
              <a:avLst/>
              <a:gdLst/>
              <a:ahLst/>
              <a:cxnLst>
                <a:cxn ang="0">
                  <a:pos x="319" y="16"/>
                </a:cxn>
                <a:cxn ang="0">
                  <a:pos x="337" y="0"/>
                </a:cxn>
                <a:cxn ang="0">
                  <a:pos x="349" y="22"/>
                </a:cxn>
                <a:cxn ang="0">
                  <a:pos x="362" y="51"/>
                </a:cxn>
                <a:cxn ang="0">
                  <a:pos x="391" y="35"/>
                </a:cxn>
                <a:cxn ang="0">
                  <a:pos x="402" y="35"/>
                </a:cxn>
                <a:cxn ang="0">
                  <a:pos x="411" y="47"/>
                </a:cxn>
                <a:cxn ang="0">
                  <a:pos x="423" y="40"/>
                </a:cxn>
                <a:cxn ang="0">
                  <a:pos x="417" y="68"/>
                </a:cxn>
                <a:cxn ang="0">
                  <a:pos x="411" y="114"/>
                </a:cxn>
                <a:cxn ang="0">
                  <a:pos x="387" y="141"/>
                </a:cxn>
                <a:cxn ang="0">
                  <a:pos x="362" y="180"/>
                </a:cxn>
                <a:cxn ang="0">
                  <a:pos x="342" y="228"/>
                </a:cxn>
                <a:cxn ang="0">
                  <a:pos x="360" y="246"/>
                </a:cxn>
                <a:cxn ang="0">
                  <a:pos x="326" y="235"/>
                </a:cxn>
                <a:cxn ang="0">
                  <a:pos x="316" y="244"/>
                </a:cxn>
                <a:cxn ang="0">
                  <a:pos x="287" y="262"/>
                </a:cxn>
                <a:cxn ang="0">
                  <a:pos x="274" y="265"/>
                </a:cxn>
                <a:cxn ang="0">
                  <a:pos x="262" y="320"/>
                </a:cxn>
                <a:cxn ang="0">
                  <a:pos x="245" y="361"/>
                </a:cxn>
                <a:cxn ang="0">
                  <a:pos x="231" y="390"/>
                </a:cxn>
                <a:cxn ang="0">
                  <a:pos x="230" y="410"/>
                </a:cxn>
                <a:cxn ang="0">
                  <a:pos x="190" y="434"/>
                </a:cxn>
                <a:cxn ang="0">
                  <a:pos x="177" y="449"/>
                </a:cxn>
                <a:cxn ang="0">
                  <a:pos x="138" y="463"/>
                </a:cxn>
                <a:cxn ang="0">
                  <a:pos x="120" y="454"/>
                </a:cxn>
                <a:cxn ang="0">
                  <a:pos x="104" y="454"/>
                </a:cxn>
                <a:cxn ang="0">
                  <a:pos x="91" y="441"/>
                </a:cxn>
                <a:cxn ang="0">
                  <a:pos x="55" y="421"/>
                </a:cxn>
                <a:cxn ang="0">
                  <a:pos x="12" y="422"/>
                </a:cxn>
                <a:cxn ang="0">
                  <a:pos x="13" y="413"/>
                </a:cxn>
                <a:cxn ang="0">
                  <a:pos x="9" y="405"/>
                </a:cxn>
                <a:cxn ang="0">
                  <a:pos x="16" y="391"/>
                </a:cxn>
                <a:cxn ang="0">
                  <a:pos x="24" y="379"/>
                </a:cxn>
                <a:cxn ang="0">
                  <a:pos x="15" y="366"/>
                </a:cxn>
                <a:cxn ang="0">
                  <a:pos x="21" y="353"/>
                </a:cxn>
                <a:cxn ang="0">
                  <a:pos x="37" y="356"/>
                </a:cxn>
                <a:cxn ang="0">
                  <a:pos x="31" y="347"/>
                </a:cxn>
                <a:cxn ang="0">
                  <a:pos x="47" y="325"/>
                </a:cxn>
                <a:cxn ang="0">
                  <a:pos x="56" y="329"/>
                </a:cxn>
                <a:cxn ang="0">
                  <a:pos x="61" y="304"/>
                </a:cxn>
                <a:cxn ang="0">
                  <a:pos x="82" y="278"/>
                </a:cxn>
                <a:cxn ang="0">
                  <a:pos x="102" y="255"/>
                </a:cxn>
                <a:cxn ang="0">
                  <a:pos x="133" y="249"/>
                </a:cxn>
                <a:cxn ang="0">
                  <a:pos x="187" y="208"/>
                </a:cxn>
                <a:cxn ang="0">
                  <a:pos x="219" y="178"/>
                </a:cxn>
                <a:cxn ang="0">
                  <a:pos x="256" y="144"/>
                </a:cxn>
                <a:cxn ang="0">
                  <a:pos x="288" y="81"/>
                </a:cxn>
                <a:cxn ang="0">
                  <a:pos x="308" y="34"/>
                </a:cxn>
              </a:cxnLst>
              <a:rect l="0" t="0" r="r" b="b"/>
              <a:pathLst>
                <a:path w="424" h="463">
                  <a:moveTo>
                    <a:pt x="308" y="34"/>
                  </a:moveTo>
                  <a:lnTo>
                    <a:pt x="310" y="35"/>
                  </a:lnTo>
                  <a:lnTo>
                    <a:pt x="311" y="20"/>
                  </a:lnTo>
                  <a:lnTo>
                    <a:pt x="319" y="16"/>
                  </a:lnTo>
                  <a:lnTo>
                    <a:pt x="327" y="6"/>
                  </a:lnTo>
                  <a:lnTo>
                    <a:pt x="331" y="6"/>
                  </a:lnTo>
                  <a:lnTo>
                    <a:pt x="333" y="2"/>
                  </a:lnTo>
                  <a:lnTo>
                    <a:pt x="337" y="0"/>
                  </a:lnTo>
                  <a:lnTo>
                    <a:pt x="340" y="3"/>
                  </a:lnTo>
                  <a:lnTo>
                    <a:pt x="340" y="14"/>
                  </a:lnTo>
                  <a:lnTo>
                    <a:pt x="343" y="20"/>
                  </a:lnTo>
                  <a:lnTo>
                    <a:pt x="349" y="22"/>
                  </a:lnTo>
                  <a:lnTo>
                    <a:pt x="354" y="22"/>
                  </a:lnTo>
                  <a:lnTo>
                    <a:pt x="358" y="28"/>
                  </a:lnTo>
                  <a:lnTo>
                    <a:pt x="358" y="45"/>
                  </a:lnTo>
                  <a:lnTo>
                    <a:pt x="362" y="51"/>
                  </a:lnTo>
                  <a:lnTo>
                    <a:pt x="368" y="55"/>
                  </a:lnTo>
                  <a:lnTo>
                    <a:pt x="381" y="44"/>
                  </a:lnTo>
                  <a:lnTo>
                    <a:pt x="387" y="41"/>
                  </a:lnTo>
                  <a:lnTo>
                    <a:pt x="391" y="35"/>
                  </a:lnTo>
                  <a:lnTo>
                    <a:pt x="401" y="29"/>
                  </a:lnTo>
                  <a:lnTo>
                    <a:pt x="406" y="28"/>
                  </a:lnTo>
                  <a:lnTo>
                    <a:pt x="407" y="29"/>
                  </a:lnTo>
                  <a:lnTo>
                    <a:pt x="402" y="35"/>
                  </a:lnTo>
                  <a:lnTo>
                    <a:pt x="403" y="36"/>
                  </a:lnTo>
                  <a:lnTo>
                    <a:pt x="405" y="44"/>
                  </a:lnTo>
                  <a:lnTo>
                    <a:pt x="401" y="54"/>
                  </a:lnTo>
                  <a:lnTo>
                    <a:pt x="411" y="47"/>
                  </a:lnTo>
                  <a:lnTo>
                    <a:pt x="408" y="43"/>
                  </a:lnTo>
                  <a:lnTo>
                    <a:pt x="413" y="34"/>
                  </a:lnTo>
                  <a:lnTo>
                    <a:pt x="418" y="33"/>
                  </a:lnTo>
                  <a:lnTo>
                    <a:pt x="423" y="40"/>
                  </a:lnTo>
                  <a:lnTo>
                    <a:pt x="414" y="51"/>
                  </a:lnTo>
                  <a:lnTo>
                    <a:pt x="418" y="51"/>
                  </a:lnTo>
                  <a:lnTo>
                    <a:pt x="422" y="57"/>
                  </a:lnTo>
                  <a:lnTo>
                    <a:pt x="417" y="68"/>
                  </a:lnTo>
                  <a:lnTo>
                    <a:pt x="424" y="87"/>
                  </a:lnTo>
                  <a:lnTo>
                    <a:pt x="422" y="93"/>
                  </a:lnTo>
                  <a:lnTo>
                    <a:pt x="413" y="106"/>
                  </a:lnTo>
                  <a:lnTo>
                    <a:pt x="411" y="114"/>
                  </a:lnTo>
                  <a:lnTo>
                    <a:pt x="405" y="124"/>
                  </a:lnTo>
                  <a:lnTo>
                    <a:pt x="398" y="125"/>
                  </a:lnTo>
                  <a:lnTo>
                    <a:pt x="397" y="129"/>
                  </a:lnTo>
                  <a:lnTo>
                    <a:pt x="387" y="141"/>
                  </a:lnTo>
                  <a:lnTo>
                    <a:pt x="375" y="168"/>
                  </a:lnTo>
                  <a:lnTo>
                    <a:pt x="369" y="174"/>
                  </a:lnTo>
                  <a:lnTo>
                    <a:pt x="365" y="175"/>
                  </a:lnTo>
                  <a:lnTo>
                    <a:pt x="362" y="180"/>
                  </a:lnTo>
                  <a:lnTo>
                    <a:pt x="349" y="189"/>
                  </a:lnTo>
                  <a:lnTo>
                    <a:pt x="347" y="192"/>
                  </a:lnTo>
                  <a:lnTo>
                    <a:pt x="344" y="217"/>
                  </a:lnTo>
                  <a:lnTo>
                    <a:pt x="342" y="228"/>
                  </a:lnTo>
                  <a:lnTo>
                    <a:pt x="352" y="230"/>
                  </a:lnTo>
                  <a:lnTo>
                    <a:pt x="359" y="234"/>
                  </a:lnTo>
                  <a:lnTo>
                    <a:pt x="362" y="243"/>
                  </a:lnTo>
                  <a:lnTo>
                    <a:pt x="360" y="246"/>
                  </a:lnTo>
                  <a:lnTo>
                    <a:pt x="356" y="240"/>
                  </a:lnTo>
                  <a:lnTo>
                    <a:pt x="354" y="246"/>
                  </a:lnTo>
                  <a:lnTo>
                    <a:pt x="333" y="239"/>
                  </a:lnTo>
                  <a:lnTo>
                    <a:pt x="326" y="235"/>
                  </a:lnTo>
                  <a:lnTo>
                    <a:pt x="324" y="237"/>
                  </a:lnTo>
                  <a:lnTo>
                    <a:pt x="324" y="244"/>
                  </a:lnTo>
                  <a:lnTo>
                    <a:pt x="320" y="248"/>
                  </a:lnTo>
                  <a:lnTo>
                    <a:pt x="316" y="244"/>
                  </a:lnTo>
                  <a:lnTo>
                    <a:pt x="313" y="243"/>
                  </a:lnTo>
                  <a:lnTo>
                    <a:pt x="310" y="249"/>
                  </a:lnTo>
                  <a:lnTo>
                    <a:pt x="295" y="256"/>
                  </a:lnTo>
                  <a:lnTo>
                    <a:pt x="287" y="262"/>
                  </a:lnTo>
                  <a:lnTo>
                    <a:pt x="282" y="262"/>
                  </a:lnTo>
                  <a:lnTo>
                    <a:pt x="279" y="256"/>
                  </a:lnTo>
                  <a:lnTo>
                    <a:pt x="274" y="256"/>
                  </a:lnTo>
                  <a:lnTo>
                    <a:pt x="274" y="265"/>
                  </a:lnTo>
                  <a:lnTo>
                    <a:pt x="272" y="277"/>
                  </a:lnTo>
                  <a:lnTo>
                    <a:pt x="265" y="289"/>
                  </a:lnTo>
                  <a:lnTo>
                    <a:pt x="263" y="302"/>
                  </a:lnTo>
                  <a:lnTo>
                    <a:pt x="262" y="320"/>
                  </a:lnTo>
                  <a:lnTo>
                    <a:pt x="256" y="324"/>
                  </a:lnTo>
                  <a:lnTo>
                    <a:pt x="257" y="336"/>
                  </a:lnTo>
                  <a:lnTo>
                    <a:pt x="247" y="347"/>
                  </a:lnTo>
                  <a:lnTo>
                    <a:pt x="245" y="361"/>
                  </a:lnTo>
                  <a:lnTo>
                    <a:pt x="245" y="369"/>
                  </a:lnTo>
                  <a:lnTo>
                    <a:pt x="239" y="379"/>
                  </a:lnTo>
                  <a:lnTo>
                    <a:pt x="233" y="385"/>
                  </a:lnTo>
                  <a:lnTo>
                    <a:pt x="231" y="390"/>
                  </a:lnTo>
                  <a:lnTo>
                    <a:pt x="231" y="398"/>
                  </a:lnTo>
                  <a:lnTo>
                    <a:pt x="228" y="401"/>
                  </a:lnTo>
                  <a:lnTo>
                    <a:pt x="233" y="402"/>
                  </a:lnTo>
                  <a:lnTo>
                    <a:pt x="230" y="410"/>
                  </a:lnTo>
                  <a:lnTo>
                    <a:pt x="223" y="409"/>
                  </a:lnTo>
                  <a:lnTo>
                    <a:pt x="214" y="415"/>
                  </a:lnTo>
                  <a:lnTo>
                    <a:pt x="204" y="428"/>
                  </a:lnTo>
                  <a:lnTo>
                    <a:pt x="190" y="434"/>
                  </a:lnTo>
                  <a:lnTo>
                    <a:pt x="185" y="437"/>
                  </a:lnTo>
                  <a:lnTo>
                    <a:pt x="185" y="441"/>
                  </a:lnTo>
                  <a:lnTo>
                    <a:pt x="180" y="443"/>
                  </a:lnTo>
                  <a:lnTo>
                    <a:pt x="177" y="449"/>
                  </a:lnTo>
                  <a:lnTo>
                    <a:pt x="172" y="453"/>
                  </a:lnTo>
                  <a:lnTo>
                    <a:pt x="153" y="459"/>
                  </a:lnTo>
                  <a:lnTo>
                    <a:pt x="149" y="459"/>
                  </a:lnTo>
                  <a:lnTo>
                    <a:pt x="138" y="463"/>
                  </a:lnTo>
                  <a:lnTo>
                    <a:pt x="132" y="459"/>
                  </a:lnTo>
                  <a:lnTo>
                    <a:pt x="129" y="452"/>
                  </a:lnTo>
                  <a:lnTo>
                    <a:pt x="126" y="450"/>
                  </a:lnTo>
                  <a:lnTo>
                    <a:pt x="120" y="454"/>
                  </a:lnTo>
                  <a:lnTo>
                    <a:pt x="114" y="455"/>
                  </a:lnTo>
                  <a:lnTo>
                    <a:pt x="110" y="454"/>
                  </a:lnTo>
                  <a:lnTo>
                    <a:pt x="110" y="453"/>
                  </a:lnTo>
                  <a:lnTo>
                    <a:pt x="104" y="454"/>
                  </a:lnTo>
                  <a:lnTo>
                    <a:pt x="102" y="449"/>
                  </a:lnTo>
                  <a:lnTo>
                    <a:pt x="102" y="443"/>
                  </a:lnTo>
                  <a:lnTo>
                    <a:pt x="98" y="444"/>
                  </a:lnTo>
                  <a:lnTo>
                    <a:pt x="91" y="441"/>
                  </a:lnTo>
                  <a:lnTo>
                    <a:pt x="73" y="439"/>
                  </a:lnTo>
                  <a:lnTo>
                    <a:pt x="69" y="427"/>
                  </a:lnTo>
                  <a:lnTo>
                    <a:pt x="64" y="422"/>
                  </a:lnTo>
                  <a:lnTo>
                    <a:pt x="55" y="421"/>
                  </a:lnTo>
                  <a:lnTo>
                    <a:pt x="47" y="428"/>
                  </a:lnTo>
                  <a:lnTo>
                    <a:pt x="39" y="429"/>
                  </a:lnTo>
                  <a:lnTo>
                    <a:pt x="18" y="427"/>
                  </a:lnTo>
                  <a:lnTo>
                    <a:pt x="12" y="422"/>
                  </a:lnTo>
                  <a:lnTo>
                    <a:pt x="15" y="415"/>
                  </a:lnTo>
                  <a:lnTo>
                    <a:pt x="20" y="409"/>
                  </a:lnTo>
                  <a:lnTo>
                    <a:pt x="24" y="402"/>
                  </a:lnTo>
                  <a:lnTo>
                    <a:pt x="13" y="413"/>
                  </a:lnTo>
                  <a:lnTo>
                    <a:pt x="9" y="413"/>
                  </a:lnTo>
                  <a:lnTo>
                    <a:pt x="14" y="402"/>
                  </a:lnTo>
                  <a:lnTo>
                    <a:pt x="14" y="401"/>
                  </a:lnTo>
                  <a:lnTo>
                    <a:pt x="9" y="405"/>
                  </a:lnTo>
                  <a:lnTo>
                    <a:pt x="3" y="406"/>
                  </a:lnTo>
                  <a:lnTo>
                    <a:pt x="0" y="400"/>
                  </a:lnTo>
                  <a:lnTo>
                    <a:pt x="4" y="395"/>
                  </a:lnTo>
                  <a:lnTo>
                    <a:pt x="16" y="391"/>
                  </a:lnTo>
                  <a:lnTo>
                    <a:pt x="24" y="385"/>
                  </a:lnTo>
                  <a:lnTo>
                    <a:pt x="21" y="385"/>
                  </a:lnTo>
                  <a:lnTo>
                    <a:pt x="19" y="383"/>
                  </a:lnTo>
                  <a:lnTo>
                    <a:pt x="24" y="379"/>
                  </a:lnTo>
                  <a:lnTo>
                    <a:pt x="26" y="373"/>
                  </a:lnTo>
                  <a:lnTo>
                    <a:pt x="21" y="373"/>
                  </a:lnTo>
                  <a:lnTo>
                    <a:pt x="16" y="372"/>
                  </a:lnTo>
                  <a:lnTo>
                    <a:pt x="15" y="366"/>
                  </a:lnTo>
                  <a:lnTo>
                    <a:pt x="21" y="366"/>
                  </a:lnTo>
                  <a:lnTo>
                    <a:pt x="25" y="361"/>
                  </a:lnTo>
                  <a:lnTo>
                    <a:pt x="21" y="358"/>
                  </a:lnTo>
                  <a:lnTo>
                    <a:pt x="21" y="353"/>
                  </a:lnTo>
                  <a:lnTo>
                    <a:pt x="26" y="353"/>
                  </a:lnTo>
                  <a:lnTo>
                    <a:pt x="29" y="357"/>
                  </a:lnTo>
                  <a:lnTo>
                    <a:pt x="34" y="355"/>
                  </a:lnTo>
                  <a:lnTo>
                    <a:pt x="37" y="356"/>
                  </a:lnTo>
                  <a:lnTo>
                    <a:pt x="40" y="353"/>
                  </a:lnTo>
                  <a:lnTo>
                    <a:pt x="40" y="351"/>
                  </a:lnTo>
                  <a:lnTo>
                    <a:pt x="35" y="351"/>
                  </a:lnTo>
                  <a:lnTo>
                    <a:pt x="31" y="347"/>
                  </a:lnTo>
                  <a:lnTo>
                    <a:pt x="35" y="329"/>
                  </a:lnTo>
                  <a:lnTo>
                    <a:pt x="42" y="323"/>
                  </a:lnTo>
                  <a:lnTo>
                    <a:pt x="45" y="321"/>
                  </a:lnTo>
                  <a:lnTo>
                    <a:pt x="47" y="325"/>
                  </a:lnTo>
                  <a:lnTo>
                    <a:pt x="48" y="331"/>
                  </a:lnTo>
                  <a:lnTo>
                    <a:pt x="51" y="332"/>
                  </a:lnTo>
                  <a:lnTo>
                    <a:pt x="53" y="332"/>
                  </a:lnTo>
                  <a:lnTo>
                    <a:pt x="56" y="329"/>
                  </a:lnTo>
                  <a:lnTo>
                    <a:pt x="53" y="319"/>
                  </a:lnTo>
                  <a:lnTo>
                    <a:pt x="55" y="315"/>
                  </a:lnTo>
                  <a:lnTo>
                    <a:pt x="58" y="314"/>
                  </a:lnTo>
                  <a:lnTo>
                    <a:pt x="61" y="304"/>
                  </a:lnTo>
                  <a:lnTo>
                    <a:pt x="69" y="302"/>
                  </a:lnTo>
                  <a:lnTo>
                    <a:pt x="75" y="296"/>
                  </a:lnTo>
                  <a:lnTo>
                    <a:pt x="77" y="286"/>
                  </a:lnTo>
                  <a:lnTo>
                    <a:pt x="82" y="278"/>
                  </a:lnTo>
                  <a:lnTo>
                    <a:pt x="89" y="275"/>
                  </a:lnTo>
                  <a:lnTo>
                    <a:pt x="93" y="260"/>
                  </a:lnTo>
                  <a:lnTo>
                    <a:pt x="96" y="260"/>
                  </a:lnTo>
                  <a:lnTo>
                    <a:pt x="102" y="255"/>
                  </a:lnTo>
                  <a:lnTo>
                    <a:pt x="109" y="255"/>
                  </a:lnTo>
                  <a:lnTo>
                    <a:pt x="116" y="251"/>
                  </a:lnTo>
                  <a:lnTo>
                    <a:pt x="123" y="251"/>
                  </a:lnTo>
                  <a:lnTo>
                    <a:pt x="133" y="249"/>
                  </a:lnTo>
                  <a:lnTo>
                    <a:pt x="141" y="244"/>
                  </a:lnTo>
                  <a:lnTo>
                    <a:pt x="154" y="232"/>
                  </a:lnTo>
                  <a:lnTo>
                    <a:pt x="169" y="223"/>
                  </a:lnTo>
                  <a:lnTo>
                    <a:pt x="187" y="208"/>
                  </a:lnTo>
                  <a:lnTo>
                    <a:pt x="201" y="200"/>
                  </a:lnTo>
                  <a:lnTo>
                    <a:pt x="202" y="191"/>
                  </a:lnTo>
                  <a:lnTo>
                    <a:pt x="213" y="181"/>
                  </a:lnTo>
                  <a:lnTo>
                    <a:pt x="219" y="178"/>
                  </a:lnTo>
                  <a:lnTo>
                    <a:pt x="225" y="178"/>
                  </a:lnTo>
                  <a:lnTo>
                    <a:pt x="235" y="170"/>
                  </a:lnTo>
                  <a:lnTo>
                    <a:pt x="241" y="164"/>
                  </a:lnTo>
                  <a:lnTo>
                    <a:pt x="256" y="144"/>
                  </a:lnTo>
                  <a:lnTo>
                    <a:pt x="261" y="126"/>
                  </a:lnTo>
                  <a:lnTo>
                    <a:pt x="265" y="105"/>
                  </a:lnTo>
                  <a:lnTo>
                    <a:pt x="270" y="93"/>
                  </a:lnTo>
                  <a:lnTo>
                    <a:pt x="288" y="81"/>
                  </a:lnTo>
                  <a:lnTo>
                    <a:pt x="294" y="78"/>
                  </a:lnTo>
                  <a:lnTo>
                    <a:pt x="298" y="72"/>
                  </a:lnTo>
                  <a:lnTo>
                    <a:pt x="304" y="60"/>
                  </a:lnTo>
                  <a:lnTo>
                    <a:pt x="308" y="3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56" name="New Zeland"/>
            <p:cNvSpPr>
              <a:spLocks noChangeAspect="1"/>
            </p:cNvSpPr>
            <p:nvPr>
              <p:custDataLst>
                <p:tags r:id="rId55"/>
              </p:custDataLst>
            </p:nvPr>
          </p:nvSpPr>
          <p:spPr bwMode="gray">
            <a:xfrm>
              <a:off x="8884438" y="5565965"/>
              <a:ext cx="147458" cy="231719"/>
            </a:xfrm>
            <a:custGeom>
              <a:avLst/>
              <a:gdLst/>
              <a:ahLst/>
              <a:cxnLst>
                <a:cxn ang="0">
                  <a:pos x="128" y="441"/>
                </a:cxn>
                <a:cxn ang="0">
                  <a:pos x="139" y="398"/>
                </a:cxn>
                <a:cxn ang="0">
                  <a:pos x="97" y="366"/>
                </a:cxn>
                <a:cxn ang="0">
                  <a:pos x="59" y="325"/>
                </a:cxn>
                <a:cxn ang="0">
                  <a:pos x="100" y="296"/>
                </a:cxn>
                <a:cxn ang="0">
                  <a:pos x="115" y="250"/>
                </a:cxn>
                <a:cxn ang="0">
                  <a:pos x="120" y="224"/>
                </a:cxn>
                <a:cxn ang="0">
                  <a:pos x="113" y="198"/>
                </a:cxn>
                <a:cxn ang="0">
                  <a:pos x="112" y="178"/>
                </a:cxn>
                <a:cxn ang="0">
                  <a:pos x="97" y="172"/>
                </a:cxn>
                <a:cxn ang="0">
                  <a:pos x="91" y="145"/>
                </a:cxn>
                <a:cxn ang="0">
                  <a:pos x="86" y="127"/>
                </a:cxn>
                <a:cxn ang="0">
                  <a:pos x="73" y="117"/>
                </a:cxn>
                <a:cxn ang="0">
                  <a:pos x="43" y="85"/>
                </a:cxn>
                <a:cxn ang="0">
                  <a:pos x="45" y="59"/>
                </a:cxn>
                <a:cxn ang="0">
                  <a:pos x="26" y="59"/>
                </a:cxn>
                <a:cxn ang="0">
                  <a:pos x="7" y="14"/>
                </a:cxn>
                <a:cxn ang="0">
                  <a:pos x="10" y="0"/>
                </a:cxn>
                <a:cxn ang="0">
                  <a:pos x="19" y="28"/>
                </a:cxn>
                <a:cxn ang="0">
                  <a:pos x="35" y="30"/>
                </a:cxn>
                <a:cxn ang="0">
                  <a:pos x="59" y="41"/>
                </a:cxn>
                <a:cxn ang="0">
                  <a:pos x="78" y="59"/>
                </a:cxn>
                <a:cxn ang="0">
                  <a:pos x="87" y="70"/>
                </a:cxn>
                <a:cxn ang="0">
                  <a:pos x="100" y="96"/>
                </a:cxn>
                <a:cxn ang="0">
                  <a:pos x="86" y="96"/>
                </a:cxn>
                <a:cxn ang="0">
                  <a:pos x="96" y="107"/>
                </a:cxn>
                <a:cxn ang="0">
                  <a:pos x="110" y="140"/>
                </a:cxn>
                <a:cxn ang="0">
                  <a:pos x="109" y="159"/>
                </a:cxn>
                <a:cxn ang="0">
                  <a:pos x="116" y="170"/>
                </a:cxn>
                <a:cxn ang="0">
                  <a:pos x="136" y="169"/>
                </a:cxn>
                <a:cxn ang="0">
                  <a:pos x="151" y="182"/>
                </a:cxn>
                <a:cxn ang="0">
                  <a:pos x="147" y="141"/>
                </a:cxn>
                <a:cxn ang="0">
                  <a:pos x="167" y="162"/>
                </a:cxn>
                <a:cxn ang="0">
                  <a:pos x="169" y="192"/>
                </a:cxn>
                <a:cxn ang="0">
                  <a:pos x="185" y="219"/>
                </a:cxn>
                <a:cxn ang="0">
                  <a:pos x="239" y="240"/>
                </a:cxn>
                <a:cxn ang="0">
                  <a:pos x="266" y="224"/>
                </a:cxn>
                <a:cxn ang="0">
                  <a:pos x="286" y="210"/>
                </a:cxn>
                <a:cxn ang="0">
                  <a:pos x="313" y="231"/>
                </a:cxn>
                <a:cxn ang="0">
                  <a:pos x="307" y="272"/>
                </a:cxn>
                <a:cxn ang="0">
                  <a:pos x="286" y="304"/>
                </a:cxn>
                <a:cxn ang="0">
                  <a:pos x="287" y="321"/>
                </a:cxn>
                <a:cxn ang="0">
                  <a:pos x="269" y="315"/>
                </a:cxn>
                <a:cxn ang="0">
                  <a:pos x="242" y="323"/>
                </a:cxn>
                <a:cxn ang="0">
                  <a:pos x="232" y="356"/>
                </a:cxn>
                <a:cxn ang="0">
                  <a:pos x="217" y="404"/>
                </a:cxn>
                <a:cxn ang="0">
                  <a:pos x="171" y="479"/>
                </a:cxn>
                <a:cxn ang="0">
                  <a:pos x="132" y="481"/>
                </a:cxn>
              </a:cxnLst>
              <a:rect l="0" t="0" r="r" b="b"/>
              <a:pathLst>
                <a:path w="313" h="495">
                  <a:moveTo>
                    <a:pt x="109" y="469"/>
                  </a:moveTo>
                  <a:lnTo>
                    <a:pt x="118" y="458"/>
                  </a:lnTo>
                  <a:lnTo>
                    <a:pt x="121" y="449"/>
                  </a:lnTo>
                  <a:lnTo>
                    <a:pt x="128" y="441"/>
                  </a:lnTo>
                  <a:lnTo>
                    <a:pt x="134" y="429"/>
                  </a:lnTo>
                  <a:lnTo>
                    <a:pt x="135" y="417"/>
                  </a:lnTo>
                  <a:lnTo>
                    <a:pt x="139" y="407"/>
                  </a:lnTo>
                  <a:lnTo>
                    <a:pt x="139" y="398"/>
                  </a:lnTo>
                  <a:lnTo>
                    <a:pt x="134" y="391"/>
                  </a:lnTo>
                  <a:lnTo>
                    <a:pt x="120" y="375"/>
                  </a:lnTo>
                  <a:lnTo>
                    <a:pt x="108" y="372"/>
                  </a:lnTo>
                  <a:lnTo>
                    <a:pt x="97" y="366"/>
                  </a:lnTo>
                  <a:lnTo>
                    <a:pt x="80" y="350"/>
                  </a:lnTo>
                  <a:lnTo>
                    <a:pt x="67" y="349"/>
                  </a:lnTo>
                  <a:lnTo>
                    <a:pt x="57" y="337"/>
                  </a:lnTo>
                  <a:lnTo>
                    <a:pt x="59" y="325"/>
                  </a:lnTo>
                  <a:lnTo>
                    <a:pt x="69" y="316"/>
                  </a:lnTo>
                  <a:lnTo>
                    <a:pt x="78" y="310"/>
                  </a:lnTo>
                  <a:lnTo>
                    <a:pt x="92" y="306"/>
                  </a:lnTo>
                  <a:lnTo>
                    <a:pt x="100" y="296"/>
                  </a:lnTo>
                  <a:lnTo>
                    <a:pt x="104" y="283"/>
                  </a:lnTo>
                  <a:lnTo>
                    <a:pt x="105" y="261"/>
                  </a:lnTo>
                  <a:lnTo>
                    <a:pt x="109" y="250"/>
                  </a:lnTo>
                  <a:lnTo>
                    <a:pt x="115" y="250"/>
                  </a:lnTo>
                  <a:lnTo>
                    <a:pt x="118" y="247"/>
                  </a:lnTo>
                  <a:lnTo>
                    <a:pt x="118" y="237"/>
                  </a:lnTo>
                  <a:lnTo>
                    <a:pt x="115" y="229"/>
                  </a:lnTo>
                  <a:lnTo>
                    <a:pt x="120" y="224"/>
                  </a:lnTo>
                  <a:lnTo>
                    <a:pt x="118" y="220"/>
                  </a:lnTo>
                  <a:lnTo>
                    <a:pt x="115" y="208"/>
                  </a:lnTo>
                  <a:lnTo>
                    <a:pt x="116" y="196"/>
                  </a:lnTo>
                  <a:lnTo>
                    <a:pt x="113" y="198"/>
                  </a:lnTo>
                  <a:lnTo>
                    <a:pt x="104" y="188"/>
                  </a:lnTo>
                  <a:lnTo>
                    <a:pt x="102" y="182"/>
                  </a:lnTo>
                  <a:lnTo>
                    <a:pt x="108" y="182"/>
                  </a:lnTo>
                  <a:lnTo>
                    <a:pt x="112" y="178"/>
                  </a:lnTo>
                  <a:lnTo>
                    <a:pt x="113" y="175"/>
                  </a:lnTo>
                  <a:lnTo>
                    <a:pt x="112" y="171"/>
                  </a:lnTo>
                  <a:lnTo>
                    <a:pt x="107" y="170"/>
                  </a:lnTo>
                  <a:lnTo>
                    <a:pt x="97" y="172"/>
                  </a:lnTo>
                  <a:lnTo>
                    <a:pt x="86" y="151"/>
                  </a:lnTo>
                  <a:lnTo>
                    <a:pt x="81" y="138"/>
                  </a:lnTo>
                  <a:lnTo>
                    <a:pt x="87" y="148"/>
                  </a:lnTo>
                  <a:lnTo>
                    <a:pt x="91" y="145"/>
                  </a:lnTo>
                  <a:lnTo>
                    <a:pt x="92" y="133"/>
                  </a:lnTo>
                  <a:lnTo>
                    <a:pt x="87" y="133"/>
                  </a:lnTo>
                  <a:lnTo>
                    <a:pt x="83" y="130"/>
                  </a:lnTo>
                  <a:lnTo>
                    <a:pt x="86" y="127"/>
                  </a:lnTo>
                  <a:lnTo>
                    <a:pt x="86" y="117"/>
                  </a:lnTo>
                  <a:lnTo>
                    <a:pt x="82" y="113"/>
                  </a:lnTo>
                  <a:lnTo>
                    <a:pt x="80" y="117"/>
                  </a:lnTo>
                  <a:lnTo>
                    <a:pt x="73" y="117"/>
                  </a:lnTo>
                  <a:lnTo>
                    <a:pt x="72" y="122"/>
                  </a:lnTo>
                  <a:lnTo>
                    <a:pt x="73" y="129"/>
                  </a:lnTo>
                  <a:lnTo>
                    <a:pt x="60" y="107"/>
                  </a:lnTo>
                  <a:lnTo>
                    <a:pt x="43" y="85"/>
                  </a:lnTo>
                  <a:lnTo>
                    <a:pt x="38" y="75"/>
                  </a:lnTo>
                  <a:lnTo>
                    <a:pt x="37" y="71"/>
                  </a:lnTo>
                  <a:lnTo>
                    <a:pt x="42" y="67"/>
                  </a:lnTo>
                  <a:lnTo>
                    <a:pt x="45" y="59"/>
                  </a:lnTo>
                  <a:lnTo>
                    <a:pt x="42" y="57"/>
                  </a:lnTo>
                  <a:lnTo>
                    <a:pt x="40" y="62"/>
                  </a:lnTo>
                  <a:lnTo>
                    <a:pt x="33" y="68"/>
                  </a:lnTo>
                  <a:lnTo>
                    <a:pt x="26" y="59"/>
                  </a:lnTo>
                  <a:lnTo>
                    <a:pt x="22" y="49"/>
                  </a:lnTo>
                  <a:lnTo>
                    <a:pt x="23" y="44"/>
                  </a:lnTo>
                  <a:lnTo>
                    <a:pt x="21" y="35"/>
                  </a:lnTo>
                  <a:lnTo>
                    <a:pt x="7" y="14"/>
                  </a:lnTo>
                  <a:lnTo>
                    <a:pt x="1" y="6"/>
                  </a:lnTo>
                  <a:lnTo>
                    <a:pt x="0" y="3"/>
                  </a:lnTo>
                  <a:lnTo>
                    <a:pt x="8" y="1"/>
                  </a:lnTo>
                  <a:lnTo>
                    <a:pt x="10" y="0"/>
                  </a:lnTo>
                  <a:lnTo>
                    <a:pt x="13" y="1"/>
                  </a:lnTo>
                  <a:lnTo>
                    <a:pt x="13" y="11"/>
                  </a:lnTo>
                  <a:lnTo>
                    <a:pt x="19" y="22"/>
                  </a:lnTo>
                  <a:lnTo>
                    <a:pt x="19" y="28"/>
                  </a:lnTo>
                  <a:lnTo>
                    <a:pt x="24" y="36"/>
                  </a:lnTo>
                  <a:lnTo>
                    <a:pt x="29" y="32"/>
                  </a:lnTo>
                  <a:lnTo>
                    <a:pt x="34" y="27"/>
                  </a:lnTo>
                  <a:lnTo>
                    <a:pt x="35" y="30"/>
                  </a:lnTo>
                  <a:lnTo>
                    <a:pt x="35" y="35"/>
                  </a:lnTo>
                  <a:lnTo>
                    <a:pt x="46" y="35"/>
                  </a:lnTo>
                  <a:lnTo>
                    <a:pt x="51" y="38"/>
                  </a:lnTo>
                  <a:lnTo>
                    <a:pt x="59" y="41"/>
                  </a:lnTo>
                  <a:lnTo>
                    <a:pt x="64" y="40"/>
                  </a:lnTo>
                  <a:lnTo>
                    <a:pt x="73" y="48"/>
                  </a:lnTo>
                  <a:lnTo>
                    <a:pt x="66" y="52"/>
                  </a:lnTo>
                  <a:lnTo>
                    <a:pt x="78" y="59"/>
                  </a:lnTo>
                  <a:lnTo>
                    <a:pt x="80" y="56"/>
                  </a:lnTo>
                  <a:lnTo>
                    <a:pt x="83" y="59"/>
                  </a:lnTo>
                  <a:lnTo>
                    <a:pt x="85" y="64"/>
                  </a:lnTo>
                  <a:lnTo>
                    <a:pt x="87" y="70"/>
                  </a:lnTo>
                  <a:lnTo>
                    <a:pt x="96" y="79"/>
                  </a:lnTo>
                  <a:lnTo>
                    <a:pt x="98" y="83"/>
                  </a:lnTo>
                  <a:lnTo>
                    <a:pt x="98" y="87"/>
                  </a:lnTo>
                  <a:lnTo>
                    <a:pt x="100" y="96"/>
                  </a:lnTo>
                  <a:lnTo>
                    <a:pt x="98" y="94"/>
                  </a:lnTo>
                  <a:lnTo>
                    <a:pt x="89" y="89"/>
                  </a:lnTo>
                  <a:lnTo>
                    <a:pt x="85" y="89"/>
                  </a:lnTo>
                  <a:lnTo>
                    <a:pt x="86" y="96"/>
                  </a:lnTo>
                  <a:lnTo>
                    <a:pt x="87" y="97"/>
                  </a:lnTo>
                  <a:lnTo>
                    <a:pt x="89" y="97"/>
                  </a:lnTo>
                  <a:lnTo>
                    <a:pt x="93" y="100"/>
                  </a:lnTo>
                  <a:lnTo>
                    <a:pt x="96" y="107"/>
                  </a:lnTo>
                  <a:lnTo>
                    <a:pt x="103" y="114"/>
                  </a:lnTo>
                  <a:lnTo>
                    <a:pt x="109" y="126"/>
                  </a:lnTo>
                  <a:lnTo>
                    <a:pt x="116" y="134"/>
                  </a:lnTo>
                  <a:lnTo>
                    <a:pt x="110" y="140"/>
                  </a:lnTo>
                  <a:lnTo>
                    <a:pt x="109" y="148"/>
                  </a:lnTo>
                  <a:lnTo>
                    <a:pt x="113" y="151"/>
                  </a:lnTo>
                  <a:lnTo>
                    <a:pt x="113" y="159"/>
                  </a:lnTo>
                  <a:lnTo>
                    <a:pt x="109" y="159"/>
                  </a:lnTo>
                  <a:lnTo>
                    <a:pt x="105" y="162"/>
                  </a:lnTo>
                  <a:lnTo>
                    <a:pt x="108" y="165"/>
                  </a:lnTo>
                  <a:lnTo>
                    <a:pt x="112" y="165"/>
                  </a:lnTo>
                  <a:lnTo>
                    <a:pt x="116" y="170"/>
                  </a:lnTo>
                  <a:lnTo>
                    <a:pt x="123" y="170"/>
                  </a:lnTo>
                  <a:lnTo>
                    <a:pt x="125" y="167"/>
                  </a:lnTo>
                  <a:lnTo>
                    <a:pt x="132" y="167"/>
                  </a:lnTo>
                  <a:lnTo>
                    <a:pt x="136" y="169"/>
                  </a:lnTo>
                  <a:lnTo>
                    <a:pt x="137" y="177"/>
                  </a:lnTo>
                  <a:lnTo>
                    <a:pt x="140" y="184"/>
                  </a:lnTo>
                  <a:lnTo>
                    <a:pt x="146" y="187"/>
                  </a:lnTo>
                  <a:lnTo>
                    <a:pt x="151" y="182"/>
                  </a:lnTo>
                  <a:lnTo>
                    <a:pt x="150" y="156"/>
                  </a:lnTo>
                  <a:lnTo>
                    <a:pt x="150" y="151"/>
                  </a:lnTo>
                  <a:lnTo>
                    <a:pt x="143" y="141"/>
                  </a:lnTo>
                  <a:lnTo>
                    <a:pt x="147" y="141"/>
                  </a:lnTo>
                  <a:lnTo>
                    <a:pt x="151" y="148"/>
                  </a:lnTo>
                  <a:lnTo>
                    <a:pt x="164" y="151"/>
                  </a:lnTo>
                  <a:lnTo>
                    <a:pt x="164" y="161"/>
                  </a:lnTo>
                  <a:lnTo>
                    <a:pt x="167" y="162"/>
                  </a:lnTo>
                  <a:lnTo>
                    <a:pt x="167" y="171"/>
                  </a:lnTo>
                  <a:lnTo>
                    <a:pt x="169" y="176"/>
                  </a:lnTo>
                  <a:lnTo>
                    <a:pt x="168" y="186"/>
                  </a:lnTo>
                  <a:lnTo>
                    <a:pt x="169" y="192"/>
                  </a:lnTo>
                  <a:lnTo>
                    <a:pt x="173" y="197"/>
                  </a:lnTo>
                  <a:lnTo>
                    <a:pt x="175" y="203"/>
                  </a:lnTo>
                  <a:lnTo>
                    <a:pt x="178" y="213"/>
                  </a:lnTo>
                  <a:lnTo>
                    <a:pt x="185" y="219"/>
                  </a:lnTo>
                  <a:lnTo>
                    <a:pt x="194" y="219"/>
                  </a:lnTo>
                  <a:lnTo>
                    <a:pt x="205" y="227"/>
                  </a:lnTo>
                  <a:lnTo>
                    <a:pt x="232" y="235"/>
                  </a:lnTo>
                  <a:lnTo>
                    <a:pt x="239" y="240"/>
                  </a:lnTo>
                  <a:lnTo>
                    <a:pt x="249" y="241"/>
                  </a:lnTo>
                  <a:lnTo>
                    <a:pt x="254" y="235"/>
                  </a:lnTo>
                  <a:lnTo>
                    <a:pt x="259" y="235"/>
                  </a:lnTo>
                  <a:lnTo>
                    <a:pt x="266" y="224"/>
                  </a:lnTo>
                  <a:lnTo>
                    <a:pt x="271" y="221"/>
                  </a:lnTo>
                  <a:lnTo>
                    <a:pt x="276" y="218"/>
                  </a:lnTo>
                  <a:lnTo>
                    <a:pt x="284" y="213"/>
                  </a:lnTo>
                  <a:lnTo>
                    <a:pt x="286" y="210"/>
                  </a:lnTo>
                  <a:lnTo>
                    <a:pt x="292" y="208"/>
                  </a:lnTo>
                  <a:lnTo>
                    <a:pt x="301" y="210"/>
                  </a:lnTo>
                  <a:lnTo>
                    <a:pt x="313" y="218"/>
                  </a:lnTo>
                  <a:lnTo>
                    <a:pt x="313" y="231"/>
                  </a:lnTo>
                  <a:lnTo>
                    <a:pt x="308" y="246"/>
                  </a:lnTo>
                  <a:lnTo>
                    <a:pt x="308" y="262"/>
                  </a:lnTo>
                  <a:lnTo>
                    <a:pt x="307" y="264"/>
                  </a:lnTo>
                  <a:lnTo>
                    <a:pt x="307" y="272"/>
                  </a:lnTo>
                  <a:lnTo>
                    <a:pt x="304" y="280"/>
                  </a:lnTo>
                  <a:lnTo>
                    <a:pt x="296" y="286"/>
                  </a:lnTo>
                  <a:lnTo>
                    <a:pt x="287" y="290"/>
                  </a:lnTo>
                  <a:lnTo>
                    <a:pt x="286" y="304"/>
                  </a:lnTo>
                  <a:lnTo>
                    <a:pt x="284" y="307"/>
                  </a:lnTo>
                  <a:lnTo>
                    <a:pt x="285" y="316"/>
                  </a:lnTo>
                  <a:lnTo>
                    <a:pt x="287" y="317"/>
                  </a:lnTo>
                  <a:lnTo>
                    <a:pt x="287" y="321"/>
                  </a:lnTo>
                  <a:lnTo>
                    <a:pt x="282" y="328"/>
                  </a:lnTo>
                  <a:lnTo>
                    <a:pt x="280" y="316"/>
                  </a:lnTo>
                  <a:lnTo>
                    <a:pt x="275" y="315"/>
                  </a:lnTo>
                  <a:lnTo>
                    <a:pt x="269" y="315"/>
                  </a:lnTo>
                  <a:lnTo>
                    <a:pt x="261" y="316"/>
                  </a:lnTo>
                  <a:lnTo>
                    <a:pt x="253" y="316"/>
                  </a:lnTo>
                  <a:lnTo>
                    <a:pt x="247" y="318"/>
                  </a:lnTo>
                  <a:lnTo>
                    <a:pt x="242" y="323"/>
                  </a:lnTo>
                  <a:lnTo>
                    <a:pt x="226" y="345"/>
                  </a:lnTo>
                  <a:lnTo>
                    <a:pt x="226" y="349"/>
                  </a:lnTo>
                  <a:lnTo>
                    <a:pt x="228" y="348"/>
                  </a:lnTo>
                  <a:lnTo>
                    <a:pt x="232" y="356"/>
                  </a:lnTo>
                  <a:lnTo>
                    <a:pt x="237" y="360"/>
                  </a:lnTo>
                  <a:lnTo>
                    <a:pt x="236" y="369"/>
                  </a:lnTo>
                  <a:lnTo>
                    <a:pt x="231" y="380"/>
                  </a:lnTo>
                  <a:lnTo>
                    <a:pt x="217" y="404"/>
                  </a:lnTo>
                  <a:lnTo>
                    <a:pt x="215" y="412"/>
                  </a:lnTo>
                  <a:lnTo>
                    <a:pt x="202" y="428"/>
                  </a:lnTo>
                  <a:lnTo>
                    <a:pt x="182" y="463"/>
                  </a:lnTo>
                  <a:lnTo>
                    <a:pt x="171" y="479"/>
                  </a:lnTo>
                  <a:lnTo>
                    <a:pt x="153" y="492"/>
                  </a:lnTo>
                  <a:lnTo>
                    <a:pt x="145" y="495"/>
                  </a:lnTo>
                  <a:lnTo>
                    <a:pt x="137" y="488"/>
                  </a:lnTo>
                  <a:lnTo>
                    <a:pt x="132" y="481"/>
                  </a:lnTo>
                  <a:lnTo>
                    <a:pt x="113" y="482"/>
                  </a:lnTo>
                  <a:lnTo>
                    <a:pt x="109" y="473"/>
                  </a:lnTo>
                  <a:lnTo>
                    <a:pt x="109" y="4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57" name="New Caledonia"/>
            <p:cNvSpPr>
              <a:spLocks noChangeAspect="1"/>
            </p:cNvSpPr>
            <p:nvPr>
              <p:custDataLst>
                <p:tags r:id="rId56"/>
              </p:custDataLst>
            </p:nvPr>
          </p:nvSpPr>
          <p:spPr bwMode="gray">
            <a:xfrm>
              <a:off x="8659740" y="5156360"/>
              <a:ext cx="74899" cy="60856"/>
            </a:xfrm>
            <a:custGeom>
              <a:avLst/>
              <a:gdLst/>
              <a:ahLst/>
              <a:cxnLst>
                <a:cxn ang="0">
                  <a:pos x="60" y="71"/>
                </a:cxn>
                <a:cxn ang="0">
                  <a:pos x="39" y="60"/>
                </a:cxn>
                <a:cxn ang="0">
                  <a:pos x="27" y="43"/>
                </a:cxn>
                <a:cxn ang="0">
                  <a:pos x="21" y="38"/>
                </a:cxn>
                <a:cxn ang="0">
                  <a:pos x="16" y="26"/>
                </a:cxn>
                <a:cxn ang="0">
                  <a:pos x="6" y="17"/>
                </a:cxn>
                <a:cxn ang="0">
                  <a:pos x="6" y="9"/>
                </a:cxn>
                <a:cxn ang="0">
                  <a:pos x="0" y="2"/>
                </a:cxn>
                <a:cxn ang="0">
                  <a:pos x="6" y="0"/>
                </a:cxn>
                <a:cxn ang="0">
                  <a:pos x="14" y="5"/>
                </a:cxn>
                <a:cxn ang="0">
                  <a:pos x="19" y="4"/>
                </a:cxn>
                <a:cxn ang="0">
                  <a:pos x="33" y="14"/>
                </a:cxn>
                <a:cxn ang="0">
                  <a:pos x="40" y="16"/>
                </a:cxn>
                <a:cxn ang="0">
                  <a:pos x="41" y="21"/>
                </a:cxn>
                <a:cxn ang="0">
                  <a:pos x="45" y="26"/>
                </a:cxn>
                <a:cxn ang="0">
                  <a:pos x="51" y="26"/>
                </a:cxn>
                <a:cxn ang="0">
                  <a:pos x="59" y="29"/>
                </a:cxn>
                <a:cxn ang="0">
                  <a:pos x="67" y="43"/>
                </a:cxn>
                <a:cxn ang="0">
                  <a:pos x="72" y="47"/>
                </a:cxn>
                <a:cxn ang="0">
                  <a:pos x="75" y="57"/>
                </a:cxn>
                <a:cxn ang="0">
                  <a:pos x="78" y="58"/>
                </a:cxn>
                <a:cxn ang="0">
                  <a:pos x="82" y="63"/>
                </a:cxn>
                <a:cxn ang="0">
                  <a:pos x="89" y="68"/>
                </a:cxn>
                <a:cxn ang="0">
                  <a:pos x="94" y="74"/>
                </a:cxn>
                <a:cxn ang="0">
                  <a:pos x="98" y="75"/>
                </a:cxn>
                <a:cxn ang="0">
                  <a:pos x="100" y="81"/>
                </a:cxn>
                <a:cxn ang="0">
                  <a:pos x="109" y="82"/>
                </a:cxn>
                <a:cxn ang="0">
                  <a:pos x="123" y="86"/>
                </a:cxn>
                <a:cxn ang="0">
                  <a:pos x="141" y="103"/>
                </a:cxn>
                <a:cxn ang="0">
                  <a:pos x="143" y="109"/>
                </a:cxn>
                <a:cxn ang="0">
                  <a:pos x="150" y="108"/>
                </a:cxn>
                <a:cxn ang="0">
                  <a:pos x="157" y="114"/>
                </a:cxn>
                <a:cxn ang="0">
                  <a:pos x="159" y="123"/>
                </a:cxn>
                <a:cxn ang="0">
                  <a:pos x="158" y="125"/>
                </a:cxn>
                <a:cxn ang="0">
                  <a:pos x="153" y="125"/>
                </a:cxn>
                <a:cxn ang="0">
                  <a:pos x="152" y="133"/>
                </a:cxn>
                <a:cxn ang="0">
                  <a:pos x="150" y="131"/>
                </a:cxn>
                <a:cxn ang="0">
                  <a:pos x="147" y="127"/>
                </a:cxn>
                <a:cxn ang="0">
                  <a:pos x="141" y="122"/>
                </a:cxn>
                <a:cxn ang="0">
                  <a:pos x="138" y="119"/>
                </a:cxn>
                <a:cxn ang="0">
                  <a:pos x="130" y="119"/>
                </a:cxn>
                <a:cxn ang="0">
                  <a:pos x="124" y="115"/>
                </a:cxn>
                <a:cxn ang="0">
                  <a:pos x="116" y="115"/>
                </a:cxn>
                <a:cxn ang="0">
                  <a:pos x="114" y="112"/>
                </a:cxn>
                <a:cxn ang="0">
                  <a:pos x="113" y="104"/>
                </a:cxn>
                <a:cxn ang="0">
                  <a:pos x="108" y="104"/>
                </a:cxn>
                <a:cxn ang="0">
                  <a:pos x="104" y="102"/>
                </a:cxn>
                <a:cxn ang="0">
                  <a:pos x="99" y="102"/>
                </a:cxn>
                <a:cxn ang="0">
                  <a:pos x="98" y="97"/>
                </a:cxn>
                <a:cxn ang="0">
                  <a:pos x="93" y="97"/>
                </a:cxn>
                <a:cxn ang="0">
                  <a:pos x="91" y="95"/>
                </a:cxn>
                <a:cxn ang="0">
                  <a:pos x="84" y="93"/>
                </a:cxn>
                <a:cxn ang="0">
                  <a:pos x="77" y="86"/>
                </a:cxn>
                <a:cxn ang="0">
                  <a:pos x="71" y="86"/>
                </a:cxn>
                <a:cxn ang="0">
                  <a:pos x="66" y="84"/>
                </a:cxn>
                <a:cxn ang="0">
                  <a:pos x="65" y="76"/>
                </a:cxn>
                <a:cxn ang="0">
                  <a:pos x="60" y="71"/>
                </a:cxn>
              </a:cxnLst>
              <a:rect l="0" t="0" r="r" b="b"/>
              <a:pathLst>
                <a:path w="159" h="133">
                  <a:moveTo>
                    <a:pt x="60" y="71"/>
                  </a:moveTo>
                  <a:lnTo>
                    <a:pt x="39" y="60"/>
                  </a:lnTo>
                  <a:lnTo>
                    <a:pt x="27" y="43"/>
                  </a:lnTo>
                  <a:lnTo>
                    <a:pt x="21" y="38"/>
                  </a:lnTo>
                  <a:lnTo>
                    <a:pt x="16" y="26"/>
                  </a:lnTo>
                  <a:lnTo>
                    <a:pt x="6" y="17"/>
                  </a:lnTo>
                  <a:lnTo>
                    <a:pt x="6" y="9"/>
                  </a:lnTo>
                  <a:lnTo>
                    <a:pt x="0" y="2"/>
                  </a:lnTo>
                  <a:lnTo>
                    <a:pt x="6" y="0"/>
                  </a:lnTo>
                  <a:lnTo>
                    <a:pt x="14" y="5"/>
                  </a:lnTo>
                  <a:lnTo>
                    <a:pt x="19" y="4"/>
                  </a:lnTo>
                  <a:lnTo>
                    <a:pt x="33" y="14"/>
                  </a:lnTo>
                  <a:lnTo>
                    <a:pt x="40" y="16"/>
                  </a:lnTo>
                  <a:lnTo>
                    <a:pt x="41" y="21"/>
                  </a:lnTo>
                  <a:lnTo>
                    <a:pt x="45" y="26"/>
                  </a:lnTo>
                  <a:lnTo>
                    <a:pt x="51" y="26"/>
                  </a:lnTo>
                  <a:lnTo>
                    <a:pt x="59" y="29"/>
                  </a:lnTo>
                  <a:lnTo>
                    <a:pt x="67" y="43"/>
                  </a:lnTo>
                  <a:lnTo>
                    <a:pt x="72" y="47"/>
                  </a:lnTo>
                  <a:lnTo>
                    <a:pt x="75" y="57"/>
                  </a:lnTo>
                  <a:lnTo>
                    <a:pt x="78" y="58"/>
                  </a:lnTo>
                  <a:lnTo>
                    <a:pt x="82" y="63"/>
                  </a:lnTo>
                  <a:lnTo>
                    <a:pt x="89" y="68"/>
                  </a:lnTo>
                  <a:lnTo>
                    <a:pt x="94" y="74"/>
                  </a:lnTo>
                  <a:lnTo>
                    <a:pt x="98" y="75"/>
                  </a:lnTo>
                  <a:lnTo>
                    <a:pt x="100" y="81"/>
                  </a:lnTo>
                  <a:lnTo>
                    <a:pt x="109" y="82"/>
                  </a:lnTo>
                  <a:lnTo>
                    <a:pt x="123" y="86"/>
                  </a:lnTo>
                  <a:lnTo>
                    <a:pt x="141" y="103"/>
                  </a:lnTo>
                  <a:lnTo>
                    <a:pt x="143" y="109"/>
                  </a:lnTo>
                  <a:lnTo>
                    <a:pt x="150" y="108"/>
                  </a:lnTo>
                  <a:lnTo>
                    <a:pt x="157" y="114"/>
                  </a:lnTo>
                  <a:lnTo>
                    <a:pt x="159" y="123"/>
                  </a:lnTo>
                  <a:lnTo>
                    <a:pt x="158" y="125"/>
                  </a:lnTo>
                  <a:lnTo>
                    <a:pt x="153" y="125"/>
                  </a:lnTo>
                  <a:lnTo>
                    <a:pt x="152" y="133"/>
                  </a:lnTo>
                  <a:lnTo>
                    <a:pt x="150" y="131"/>
                  </a:lnTo>
                  <a:lnTo>
                    <a:pt x="147" y="127"/>
                  </a:lnTo>
                  <a:lnTo>
                    <a:pt x="141" y="122"/>
                  </a:lnTo>
                  <a:lnTo>
                    <a:pt x="138" y="119"/>
                  </a:lnTo>
                  <a:lnTo>
                    <a:pt x="130" y="119"/>
                  </a:lnTo>
                  <a:lnTo>
                    <a:pt x="124" y="115"/>
                  </a:lnTo>
                  <a:lnTo>
                    <a:pt x="116" y="115"/>
                  </a:lnTo>
                  <a:lnTo>
                    <a:pt x="114" y="112"/>
                  </a:lnTo>
                  <a:lnTo>
                    <a:pt x="113" y="104"/>
                  </a:lnTo>
                  <a:lnTo>
                    <a:pt x="108" y="104"/>
                  </a:lnTo>
                  <a:lnTo>
                    <a:pt x="104" y="102"/>
                  </a:lnTo>
                  <a:lnTo>
                    <a:pt x="99" y="102"/>
                  </a:lnTo>
                  <a:lnTo>
                    <a:pt x="98" y="97"/>
                  </a:lnTo>
                  <a:lnTo>
                    <a:pt x="93" y="97"/>
                  </a:lnTo>
                  <a:lnTo>
                    <a:pt x="91" y="95"/>
                  </a:lnTo>
                  <a:lnTo>
                    <a:pt x="84" y="93"/>
                  </a:lnTo>
                  <a:lnTo>
                    <a:pt x="77" y="86"/>
                  </a:lnTo>
                  <a:lnTo>
                    <a:pt x="71" y="86"/>
                  </a:lnTo>
                  <a:lnTo>
                    <a:pt x="66" y="84"/>
                  </a:lnTo>
                  <a:lnTo>
                    <a:pt x="65" y="76"/>
                  </a:lnTo>
                  <a:lnTo>
                    <a:pt x="60" y="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58" name="Kyrzystan"/>
            <p:cNvSpPr>
              <a:spLocks noChangeAspect="1"/>
            </p:cNvSpPr>
            <p:nvPr>
              <p:custDataLst>
                <p:tags r:id="rId57"/>
              </p:custDataLst>
            </p:nvPr>
          </p:nvSpPr>
          <p:spPr bwMode="gray">
            <a:xfrm>
              <a:off x="6230197" y="3400910"/>
              <a:ext cx="283213" cy="135755"/>
            </a:xfrm>
            <a:custGeom>
              <a:avLst/>
              <a:gdLst/>
              <a:ahLst/>
              <a:cxnLst>
                <a:cxn ang="0">
                  <a:pos x="259" y="238"/>
                </a:cxn>
                <a:cxn ang="0">
                  <a:pos x="303" y="218"/>
                </a:cxn>
                <a:cxn ang="0">
                  <a:pos x="334" y="201"/>
                </a:cxn>
                <a:cxn ang="0">
                  <a:pos x="362" y="217"/>
                </a:cxn>
                <a:cxn ang="0">
                  <a:pos x="401" y="204"/>
                </a:cxn>
                <a:cxn ang="0">
                  <a:pos x="433" y="170"/>
                </a:cxn>
                <a:cxn ang="0">
                  <a:pos x="491" y="159"/>
                </a:cxn>
                <a:cxn ang="0">
                  <a:pos x="550" y="112"/>
                </a:cxn>
                <a:cxn ang="0">
                  <a:pos x="604" y="79"/>
                </a:cxn>
                <a:cxn ang="0">
                  <a:pos x="577" y="56"/>
                </a:cxn>
                <a:cxn ang="0">
                  <a:pos x="530" y="34"/>
                </a:cxn>
                <a:cxn ang="0">
                  <a:pos x="508" y="27"/>
                </a:cxn>
                <a:cxn ang="0">
                  <a:pos x="452" y="24"/>
                </a:cxn>
                <a:cxn ang="0">
                  <a:pos x="421" y="18"/>
                </a:cxn>
                <a:cxn ang="0">
                  <a:pos x="366" y="20"/>
                </a:cxn>
                <a:cxn ang="0">
                  <a:pos x="325" y="23"/>
                </a:cxn>
                <a:cxn ang="0">
                  <a:pos x="294" y="18"/>
                </a:cxn>
                <a:cxn ang="0">
                  <a:pos x="260" y="4"/>
                </a:cxn>
                <a:cxn ang="0">
                  <a:pos x="233" y="18"/>
                </a:cxn>
                <a:cxn ang="0">
                  <a:pos x="224" y="48"/>
                </a:cxn>
                <a:cxn ang="0">
                  <a:pos x="191" y="45"/>
                </a:cxn>
                <a:cxn ang="0">
                  <a:pos x="160" y="34"/>
                </a:cxn>
                <a:cxn ang="0">
                  <a:pos x="129" y="32"/>
                </a:cxn>
                <a:cxn ang="0">
                  <a:pos x="98" y="36"/>
                </a:cxn>
                <a:cxn ang="0">
                  <a:pos x="92" y="58"/>
                </a:cxn>
                <a:cxn ang="0">
                  <a:pos x="106" y="79"/>
                </a:cxn>
                <a:cxn ang="0">
                  <a:pos x="70" y="109"/>
                </a:cxn>
                <a:cxn ang="0">
                  <a:pos x="62" y="129"/>
                </a:cxn>
                <a:cxn ang="0">
                  <a:pos x="84" y="144"/>
                </a:cxn>
                <a:cxn ang="0">
                  <a:pos x="117" y="147"/>
                </a:cxn>
                <a:cxn ang="0">
                  <a:pos x="137" y="131"/>
                </a:cxn>
                <a:cxn ang="0">
                  <a:pos x="156" y="154"/>
                </a:cxn>
                <a:cxn ang="0">
                  <a:pos x="181" y="169"/>
                </a:cxn>
                <a:cxn ang="0">
                  <a:pos x="212" y="175"/>
                </a:cxn>
                <a:cxn ang="0">
                  <a:pos x="187" y="195"/>
                </a:cxn>
                <a:cxn ang="0">
                  <a:pos x="168" y="202"/>
                </a:cxn>
                <a:cxn ang="0">
                  <a:pos x="149" y="213"/>
                </a:cxn>
                <a:cxn ang="0">
                  <a:pos x="111" y="215"/>
                </a:cxn>
                <a:cxn ang="0">
                  <a:pos x="88" y="224"/>
                </a:cxn>
                <a:cxn ang="0">
                  <a:pos x="68" y="236"/>
                </a:cxn>
                <a:cxn ang="0">
                  <a:pos x="30" y="229"/>
                </a:cxn>
                <a:cxn ang="0">
                  <a:pos x="0" y="236"/>
                </a:cxn>
                <a:cxn ang="0">
                  <a:pos x="4" y="267"/>
                </a:cxn>
                <a:cxn ang="0">
                  <a:pos x="36" y="268"/>
                </a:cxn>
                <a:cxn ang="0">
                  <a:pos x="76" y="267"/>
                </a:cxn>
                <a:cxn ang="0">
                  <a:pos x="120" y="265"/>
                </a:cxn>
                <a:cxn ang="0">
                  <a:pos x="140" y="287"/>
                </a:cxn>
                <a:cxn ang="0">
                  <a:pos x="178" y="281"/>
                </a:cxn>
                <a:cxn ang="0">
                  <a:pos x="219" y="278"/>
                </a:cxn>
                <a:cxn ang="0">
                  <a:pos x="251" y="267"/>
                </a:cxn>
              </a:cxnLst>
              <a:rect l="0" t="0" r="r" b="b"/>
              <a:pathLst>
                <a:path w="604" h="288">
                  <a:moveTo>
                    <a:pt x="251" y="267"/>
                  </a:moveTo>
                  <a:lnTo>
                    <a:pt x="250" y="256"/>
                  </a:lnTo>
                  <a:lnTo>
                    <a:pt x="259" y="238"/>
                  </a:lnTo>
                  <a:lnTo>
                    <a:pt x="291" y="223"/>
                  </a:lnTo>
                  <a:lnTo>
                    <a:pt x="296" y="218"/>
                  </a:lnTo>
                  <a:lnTo>
                    <a:pt x="303" y="218"/>
                  </a:lnTo>
                  <a:lnTo>
                    <a:pt x="309" y="203"/>
                  </a:lnTo>
                  <a:lnTo>
                    <a:pt x="319" y="207"/>
                  </a:lnTo>
                  <a:lnTo>
                    <a:pt x="334" y="201"/>
                  </a:lnTo>
                  <a:lnTo>
                    <a:pt x="345" y="202"/>
                  </a:lnTo>
                  <a:lnTo>
                    <a:pt x="351" y="215"/>
                  </a:lnTo>
                  <a:lnTo>
                    <a:pt x="362" y="217"/>
                  </a:lnTo>
                  <a:lnTo>
                    <a:pt x="378" y="213"/>
                  </a:lnTo>
                  <a:lnTo>
                    <a:pt x="388" y="214"/>
                  </a:lnTo>
                  <a:lnTo>
                    <a:pt x="401" y="204"/>
                  </a:lnTo>
                  <a:lnTo>
                    <a:pt x="407" y="186"/>
                  </a:lnTo>
                  <a:lnTo>
                    <a:pt x="416" y="175"/>
                  </a:lnTo>
                  <a:lnTo>
                    <a:pt x="433" y="170"/>
                  </a:lnTo>
                  <a:lnTo>
                    <a:pt x="452" y="169"/>
                  </a:lnTo>
                  <a:lnTo>
                    <a:pt x="479" y="164"/>
                  </a:lnTo>
                  <a:lnTo>
                    <a:pt x="491" y="159"/>
                  </a:lnTo>
                  <a:lnTo>
                    <a:pt x="499" y="145"/>
                  </a:lnTo>
                  <a:lnTo>
                    <a:pt x="514" y="132"/>
                  </a:lnTo>
                  <a:lnTo>
                    <a:pt x="550" y="112"/>
                  </a:lnTo>
                  <a:lnTo>
                    <a:pt x="588" y="100"/>
                  </a:lnTo>
                  <a:lnTo>
                    <a:pt x="598" y="93"/>
                  </a:lnTo>
                  <a:lnTo>
                    <a:pt x="604" y="79"/>
                  </a:lnTo>
                  <a:lnTo>
                    <a:pt x="604" y="69"/>
                  </a:lnTo>
                  <a:lnTo>
                    <a:pt x="597" y="69"/>
                  </a:lnTo>
                  <a:lnTo>
                    <a:pt x="577" y="56"/>
                  </a:lnTo>
                  <a:lnTo>
                    <a:pt x="561" y="53"/>
                  </a:lnTo>
                  <a:lnTo>
                    <a:pt x="546" y="35"/>
                  </a:lnTo>
                  <a:lnTo>
                    <a:pt x="530" y="34"/>
                  </a:lnTo>
                  <a:lnTo>
                    <a:pt x="523" y="31"/>
                  </a:lnTo>
                  <a:lnTo>
                    <a:pt x="514" y="31"/>
                  </a:lnTo>
                  <a:lnTo>
                    <a:pt x="508" y="27"/>
                  </a:lnTo>
                  <a:lnTo>
                    <a:pt x="499" y="26"/>
                  </a:lnTo>
                  <a:lnTo>
                    <a:pt x="475" y="27"/>
                  </a:lnTo>
                  <a:lnTo>
                    <a:pt x="452" y="24"/>
                  </a:lnTo>
                  <a:lnTo>
                    <a:pt x="443" y="24"/>
                  </a:lnTo>
                  <a:lnTo>
                    <a:pt x="428" y="18"/>
                  </a:lnTo>
                  <a:lnTo>
                    <a:pt x="421" y="18"/>
                  </a:lnTo>
                  <a:lnTo>
                    <a:pt x="406" y="24"/>
                  </a:lnTo>
                  <a:lnTo>
                    <a:pt x="374" y="20"/>
                  </a:lnTo>
                  <a:lnTo>
                    <a:pt x="366" y="20"/>
                  </a:lnTo>
                  <a:lnTo>
                    <a:pt x="350" y="24"/>
                  </a:lnTo>
                  <a:lnTo>
                    <a:pt x="334" y="24"/>
                  </a:lnTo>
                  <a:lnTo>
                    <a:pt x="325" y="23"/>
                  </a:lnTo>
                  <a:lnTo>
                    <a:pt x="319" y="18"/>
                  </a:lnTo>
                  <a:lnTo>
                    <a:pt x="310" y="16"/>
                  </a:lnTo>
                  <a:lnTo>
                    <a:pt x="294" y="18"/>
                  </a:lnTo>
                  <a:lnTo>
                    <a:pt x="288" y="12"/>
                  </a:lnTo>
                  <a:lnTo>
                    <a:pt x="267" y="0"/>
                  </a:lnTo>
                  <a:lnTo>
                    <a:pt x="260" y="4"/>
                  </a:lnTo>
                  <a:lnTo>
                    <a:pt x="253" y="5"/>
                  </a:lnTo>
                  <a:lnTo>
                    <a:pt x="245" y="8"/>
                  </a:lnTo>
                  <a:lnTo>
                    <a:pt x="233" y="18"/>
                  </a:lnTo>
                  <a:lnTo>
                    <a:pt x="232" y="26"/>
                  </a:lnTo>
                  <a:lnTo>
                    <a:pt x="227" y="32"/>
                  </a:lnTo>
                  <a:lnTo>
                    <a:pt x="224" y="48"/>
                  </a:lnTo>
                  <a:lnTo>
                    <a:pt x="221" y="56"/>
                  </a:lnTo>
                  <a:lnTo>
                    <a:pt x="205" y="52"/>
                  </a:lnTo>
                  <a:lnTo>
                    <a:pt x="191" y="45"/>
                  </a:lnTo>
                  <a:lnTo>
                    <a:pt x="175" y="40"/>
                  </a:lnTo>
                  <a:lnTo>
                    <a:pt x="169" y="36"/>
                  </a:lnTo>
                  <a:lnTo>
                    <a:pt x="160" y="34"/>
                  </a:lnTo>
                  <a:lnTo>
                    <a:pt x="152" y="34"/>
                  </a:lnTo>
                  <a:lnTo>
                    <a:pt x="137" y="31"/>
                  </a:lnTo>
                  <a:lnTo>
                    <a:pt x="129" y="32"/>
                  </a:lnTo>
                  <a:lnTo>
                    <a:pt x="121" y="30"/>
                  </a:lnTo>
                  <a:lnTo>
                    <a:pt x="105" y="32"/>
                  </a:lnTo>
                  <a:lnTo>
                    <a:pt x="98" y="36"/>
                  </a:lnTo>
                  <a:lnTo>
                    <a:pt x="95" y="43"/>
                  </a:lnTo>
                  <a:lnTo>
                    <a:pt x="97" y="51"/>
                  </a:lnTo>
                  <a:lnTo>
                    <a:pt x="92" y="58"/>
                  </a:lnTo>
                  <a:lnTo>
                    <a:pt x="88" y="66"/>
                  </a:lnTo>
                  <a:lnTo>
                    <a:pt x="105" y="70"/>
                  </a:lnTo>
                  <a:lnTo>
                    <a:pt x="106" y="79"/>
                  </a:lnTo>
                  <a:lnTo>
                    <a:pt x="92" y="85"/>
                  </a:lnTo>
                  <a:lnTo>
                    <a:pt x="82" y="97"/>
                  </a:lnTo>
                  <a:lnTo>
                    <a:pt x="70" y="109"/>
                  </a:lnTo>
                  <a:lnTo>
                    <a:pt x="55" y="118"/>
                  </a:lnTo>
                  <a:lnTo>
                    <a:pt x="54" y="127"/>
                  </a:lnTo>
                  <a:lnTo>
                    <a:pt x="62" y="129"/>
                  </a:lnTo>
                  <a:lnTo>
                    <a:pt x="68" y="134"/>
                  </a:lnTo>
                  <a:lnTo>
                    <a:pt x="76" y="131"/>
                  </a:lnTo>
                  <a:lnTo>
                    <a:pt x="84" y="144"/>
                  </a:lnTo>
                  <a:lnTo>
                    <a:pt x="108" y="154"/>
                  </a:lnTo>
                  <a:lnTo>
                    <a:pt x="115" y="154"/>
                  </a:lnTo>
                  <a:lnTo>
                    <a:pt x="117" y="147"/>
                  </a:lnTo>
                  <a:lnTo>
                    <a:pt x="125" y="142"/>
                  </a:lnTo>
                  <a:lnTo>
                    <a:pt x="130" y="127"/>
                  </a:lnTo>
                  <a:lnTo>
                    <a:pt x="137" y="131"/>
                  </a:lnTo>
                  <a:lnTo>
                    <a:pt x="142" y="137"/>
                  </a:lnTo>
                  <a:lnTo>
                    <a:pt x="142" y="145"/>
                  </a:lnTo>
                  <a:lnTo>
                    <a:pt x="156" y="154"/>
                  </a:lnTo>
                  <a:lnTo>
                    <a:pt x="162" y="159"/>
                  </a:lnTo>
                  <a:lnTo>
                    <a:pt x="170" y="159"/>
                  </a:lnTo>
                  <a:lnTo>
                    <a:pt x="181" y="169"/>
                  </a:lnTo>
                  <a:lnTo>
                    <a:pt x="197" y="174"/>
                  </a:lnTo>
                  <a:lnTo>
                    <a:pt x="205" y="171"/>
                  </a:lnTo>
                  <a:lnTo>
                    <a:pt x="212" y="175"/>
                  </a:lnTo>
                  <a:lnTo>
                    <a:pt x="207" y="182"/>
                  </a:lnTo>
                  <a:lnTo>
                    <a:pt x="191" y="186"/>
                  </a:lnTo>
                  <a:lnTo>
                    <a:pt x="187" y="195"/>
                  </a:lnTo>
                  <a:lnTo>
                    <a:pt x="181" y="198"/>
                  </a:lnTo>
                  <a:lnTo>
                    <a:pt x="173" y="196"/>
                  </a:lnTo>
                  <a:lnTo>
                    <a:pt x="168" y="202"/>
                  </a:lnTo>
                  <a:lnTo>
                    <a:pt x="160" y="202"/>
                  </a:lnTo>
                  <a:lnTo>
                    <a:pt x="153" y="206"/>
                  </a:lnTo>
                  <a:lnTo>
                    <a:pt x="149" y="213"/>
                  </a:lnTo>
                  <a:lnTo>
                    <a:pt x="143" y="218"/>
                  </a:lnTo>
                  <a:lnTo>
                    <a:pt x="127" y="220"/>
                  </a:lnTo>
                  <a:lnTo>
                    <a:pt x="111" y="215"/>
                  </a:lnTo>
                  <a:lnTo>
                    <a:pt x="104" y="214"/>
                  </a:lnTo>
                  <a:lnTo>
                    <a:pt x="92" y="215"/>
                  </a:lnTo>
                  <a:lnTo>
                    <a:pt x="88" y="224"/>
                  </a:lnTo>
                  <a:lnTo>
                    <a:pt x="81" y="226"/>
                  </a:lnTo>
                  <a:lnTo>
                    <a:pt x="76" y="234"/>
                  </a:lnTo>
                  <a:lnTo>
                    <a:pt x="68" y="236"/>
                  </a:lnTo>
                  <a:lnTo>
                    <a:pt x="55" y="228"/>
                  </a:lnTo>
                  <a:lnTo>
                    <a:pt x="46" y="226"/>
                  </a:lnTo>
                  <a:lnTo>
                    <a:pt x="30" y="229"/>
                  </a:lnTo>
                  <a:lnTo>
                    <a:pt x="22" y="226"/>
                  </a:lnTo>
                  <a:lnTo>
                    <a:pt x="15" y="231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0" y="261"/>
                  </a:lnTo>
                  <a:lnTo>
                    <a:pt x="4" y="267"/>
                  </a:lnTo>
                  <a:lnTo>
                    <a:pt x="13" y="267"/>
                  </a:lnTo>
                  <a:lnTo>
                    <a:pt x="20" y="265"/>
                  </a:lnTo>
                  <a:lnTo>
                    <a:pt x="36" y="268"/>
                  </a:lnTo>
                  <a:lnTo>
                    <a:pt x="60" y="265"/>
                  </a:lnTo>
                  <a:lnTo>
                    <a:pt x="68" y="265"/>
                  </a:lnTo>
                  <a:lnTo>
                    <a:pt x="76" y="267"/>
                  </a:lnTo>
                  <a:lnTo>
                    <a:pt x="81" y="273"/>
                  </a:lnTo>
                  <a:lnTo>
                    <a:pt x="89" y="274"/>
                  </a:lnTo>
                  <a:lnTo>
                    <a:pt x="120" y="265"/>
                  </a:lnTo>
                  <a:lnTo>
                    <a:pt x="127" y="269"/>
                  </a:lnTo>
                  <a:lnTo>
                    <a:pt x="135" y="271"/>
                  </a:lnTo>
                  <a:lnTo>
                    <a:pt x="140" y="287"/>
                  </a:lnTo>
                  <a:lnTo>
                    <a:pt x="156" y="285"/>
                  </a:lnTo>
                  <a:lnTo>
                    <a:pt x="163" y="288"/>
                  </a:lnTo>
                  <a:lnTo>
                    <a:pt x="178" y="281"/>
                  </a:lnTo>
                  <a:lnTo>
                    <a:pt x="194" y="278"/>
                  </a:lnTo>
                  <a:lnTo>
                    <a:pt x="210" y="281"/>
                  </a:lnTo>
                  <a:lnTo>
                    <a:pt x="219" y="278"/>
                  </a:lnTo>
                  <a:lnTo>
                    <a:pt x="229" y="279"/>
                  </a:lnTo>
                  <a:lnTo>
                    <a:pt x="232" y="265"/>
                  </a:lnTo>
                  <a:lnTo>
                    <a:pt x="251" y="26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59" name="Tajikistan"/>
            <p:cNvSpPr>
              <a:spLocks noChangeAspect="1"/>
            </p:cNvSpPr>
            <p:nvPr>
              <p:custDataLst>
                <p:tags r:id="rId58"/>
              </p:custDataLst>
            </p:nvPr>
          </p:nvSpPr>
          <p:spPr bwMode="gray">
            <a:xfrm>
              <a:off x="6183385" y="3475809"/>
              <a:ext cx="194270" cy="145117"/>
            </a:xfrm>
            <a:custGeom>
              <a:avLst/>
              <a:gdLst/>
              <a:ahLst/>
              <a:cxnLst>
                <a:cxn ang="0">
                  <a:pos x="45" y="286"/>
                </a:cxn>
                <a:cxn ang="0">
                  <a:pos x="72" y="273"/>
                </a:cxn>
                <a:cxn ang="0">
                  <a:pos x="89" y="269"/>
                </a:cxn>
                <a:cxn ang="0">
                  <a:pos x="112" y="274"/>
                </a:cxn>
                <a:cxn ang="0">
                  <a:pos x="118" y="246"/>
                </a:cxn>
                <a:cxn ang="0">
                  <a:pos x="145" y="252"/>
                </a:cxn>
                <a:cxn ang="0">
                  <a:pos x="160" y="238"/>
                </a:cxn>
                <a:cxn ang="0">
                  <a:pos x="176" y="198"/>
                </a:cxn>
                <a:cxn ang="0">
                  <a:pos x="190" y="190"/>
                </a:cxn>
                <a:cxn ang="0">
                  <a:pos x="217" y="207"/>
                </a:cxn>
                <a:cxn ang="0">
                  <a:pos x="219" y="225"/>
                </a:cxn>
                <a:cxn ang="0">
                  <a:pos x="230" y="231"/>
                </a:cxn>
                <a:cxn ang="0">
                  <a:pos x="226" y="254"/>
                </a:cxn>
                <a:cxn ang="0">
                  <a:pos x="224" y="287"/>
                </a:cxn>
                <a:cxn ang="0">
                  <a:pos x="241" y="312"/>
                </a:cxn>
                <a:cxn ang="0">
                  <a:pos x="293" y="286"/>
                </a:cxn>
                <a:cxn ang="0">
                  <a:pos x="307" y="271"/>
                </a:cxn>
                <a:cxn ang="0">
                  <a:pos x="334" y="257"/>
                </a:cxn>
                <a:cxn ang="0">
                  <a:pos x="350" y="260"/>
                </a:cxn>
                <a:cxn ang="0">
                  <a:pos x="364" y="266"/>
                </a:cxn>
                <a:cxn ang="0">
                  <a:pos x="390" y="260"/>
                </a:cxn>
                <a:cxn ang="0">
                  <a:pos x="411" y="268"/>
                </a:cxn>
                <a:cxn ang="0">
                  <a:pos x="417" y="273"/>
                </a:cxn>
                <a:cxn ang="0">
                  <a:pos x="400" y="182"/>
                </a:cxn>
                <a:cxn ang="0">
                  <a:pos x="346" y="162"/>
                </a:cxn>
                <a:cxn ang="0">
                  <a:pos x="333" y="120"/>
                </a:cxn>
                <a:cxn ang="0">
                  <a:pos x="282" y="122"/>
                </a:cxn>
                <a:cxn ang="0">
                  <a:pos x="239" y="112"/>
                </a:cxn>
                <a:cxn ang="0">
                  <a:pos x="185" y="114"/>
                </a:cxn>
                <a:cxn ang="0">
                  <a:pos x="140" y="109"/>
                </a:cxn>
                <a:cxn ang="0">
                  <a:pos x="104" y="102"/>
                </a:cxn>
                <a:cxn ang="0">
                  <a:pos x="126" y="67"/>
                </a:cxn>
                <a:cxn ang="0">
                  <a:pos x="172" y="77"/>
                </a:cxn>
                <a:cxn ang="0">
                  <a:pos x="196" y="56"/>
                </a:cxn>
                <a:cxn ang="0">
                  <a:pos x="172" y="54"/>
                </a:cxn>
                <a:cxn ang="0">
                  <a:pos x="185" y="22"/>
                </a:cxn>
                <a:cxn ang="0">
                  <a:pos x="170" y="0"/>
                </a:cxn>
                <a:cxn ang="0">
                  <a:pos x="132" y="27"/>
                </a:cxn>
                <a:cxn ang="0">
                  <a:pos x="108" y="36"/>
                </a:cxn>
                <a:cxn ang="0">
                  <a:pos x="105" y="63"/>
                </a:cxn>
                <a:cxn ang="0">
                  <a:pos x="75" y="82"/>
                </a:cxn>
                <a:cxn ang="0">
                  <a:pos x="32" y="107"/>
                </a:cxn>
                <a:cxn ang="0">
                  <a:pos x="6" y="112"/>
                </a:cxn>
                <a:cxn ang="0">
                  <a:pos x="14" y="136"/>
                </a:cxn>
                <a:cxn ang="0">
                  <a:pos x="40" y="149"/>
                </a:cxn>
                <a:cxn ang="0">
                  <a:pos x="41" y="187"/>
                </a:cxn>
                <a:cxn ang="0">
                  <a:pos x="52" y="212"/>
                </a:cxn>
                <a:cxn ang="0">
                  <a:pos x="29" y="239"/>
                </a:cxn>
                <a:cxn ang="0">
                  <a:pos x="19" y="269"/>
                </a:cxn>
              </a:cxnLst>
              <a:rect l="0" t="0" r="r" b="b"/>
              <a:pathLst>
                <a:path w="417" h="312">
                  <a:moveTo>
                    <a:pt x="19" y="269"/>
                  </a:moveTo>
                  <a:lnTo>
                    <a:pt x="24" y="274"/>
                  </a:lnTo>
                  <a:lnTo>
                    <a:pt x="37" y="289"/>
                  </a:lnTo>
                  <a:lnTo>
                    <a:pt x="45" y="286"/>
                  </a:lnTo>
                  <a:lnTo>
                    <a:pt x="52" y="286"/>
                  </a:lnTo>
                  <a:lnTo>
                    <a:pt x="53" y="281"/>
                  </a:lnTo>
                  <a:lnTo>
                    <a:pt x="67" y="274"/>
                  </a:lnTo>
                  <a:lnTo>
                    <a:pt x="72" y="273"/>
                  </a:lnTo>
                  <a:lnTo>
                    <a:pt x="76" y="274"/>
                  </a:lnTo>
                  <a:lnTo>
                    <a:pt x="79" y="270"/>
                  </a:lnTo>
                  <a:lnTo>
                    <a:pt x="85" y="268"/>
                  </a:lnTo>
                  <a:lnTo>
                    <a:pt x="89" y="269"/>
                  </a:lnTo>
                  <a:lnTo>
                    <a:pt x="94" y="274"/>
                  </a:lnTo>
                  <a:lnTo>
                    <a:pt x="107" y="279"/>
                  </a:lnTo>
                  <a:lnTo>
                    <a:pt x="111" y="276"/>
                  </a:lnTo>
                  <a:lnTo>
                    <a:pt x="112" y="274"/>
                  </a:lnTo>
                  <a:lnTo>
                    <a:pt x="112" y="269"/>
                  </a:lnTo>
                  <a:lnTo>
                    <a:pt x="110" y="265"/>
                  </a:lnTo>
                  <a:lnTo>
                    <a:pt x="110" y="258"/>
                  </a:lnTo>
                  <a:lnTo>
                    <a:pt x="118" y="246"/>
                  </a:lnTo>
                  <a:lnTo>
                    <a:pt x="123" y="246"/>
                  </a:lnTo>
                  <a:lnTo>
                    <a:pt x="129" y="248"/>
                  </a:lnTo>
                  <a:lnTo>
                    <a:pt x="138" y="246"/>
                  </a:lnTo>
                  <a:lnTo>
                    <a:pt x="145" y="252"/>
                  </a:lnTo>
                  <a:lnTo>
                    <a:pt x="149" y="252"/>
                  </a:lnTo>
                  <a:lnTo>
                    <a:pt x="153" y="250"/>
                  </a:lnTo>
                  <a:lnTo>
                    <a:pt x="159" y="243"/>
                  </a:lnTo>
                  <a:lnTo>
                    <a:pt x="160" y="238"/>
                  </a:lnTo>
                  <a:lnTo>
                    <a:pt x="155" y="232"/>
                  </a:lnTo>
                  <a:lnTo>
                    <a:pt x="155" y="227"/>
                  </a:lnTo>
                  <a:lnTo>
                    <a:pt x="165" y="214"/>
                  </a:lnTo>
                  <a:lnTo>
                    <a:pt x="176" y="198"/>
                  </a:lnTo>
                  <a:lnTo>
                    <a:pt x="178" y="195"/>
                  </a:lnTo>
                  <a:lnTo>
                    <a:pt x="182" y="190"/>
                  </a:lnTo>
                  <a:lnTo>
                    <a:pt x="183" y="189"/>
                  </a:lnTo>
                  <a:lnTo>
                    <a:pt x="190" y="190"/>
                  </a:lnTo>
                  <a:lnTo>
                    <a:pt x="194" y="187"/>
                  </a:lnTo>
                  <a:lnTo>
                    <a:pt x="204" y="189"/>
                  </a:lnTo>
                  <a:lnTo>
                    <a:pt x="217" y="201"/>
                  </a:lnTo>
                  <a:lnTo>
                    <a:pt x="217" y="207"/>
                  </a:lnTo>
                  <a:lnTo>
                    <a:pt x="213" y="215"/>
                  </a:lnTo>
                  <a:lnTo>
                    <a:pt x="213" y="220"/>
                  </a:lnTo>
                  <a:lnTo>
                    <a:pt x="214" y="222"/>
                  </a:lnTo>
                  <a:lnTo>
                    <a:pt x="219" y="225"/>
                  </a:lnTo>
                  <a:lnTo>
                    <a:pt x="225" y="223"/>
                  </a:lnTo>
                  <a:lnTo>
                    <a:pt x="229" y="225"/>
                  </a:lnTo>
                  <a:lnTo>
                    <a:pt x="229" y="227"/>
                  </a:lnTo>
                  <a:lnTo>
                    <a:pt x="230" y="231"/>
                  </a:lnTo>
                  <a:lnTo>
                    <a:pt x="228" y="233"/>
                  </a:lnTo>
                  <a:lnTo>
                    <a:pt x="226" y="238"/>
                  </a:lnTo>
                  <a:lnTo>
                    <a:pt x="228" y="249"/>
                  </a:lnTo>
                  <a:lnTo>
                    <a:pt x="226" y="254"/>
                  </a:lnTo>
                  <a:lnTo>
                    <a:pt x="224" y="259"/>
                  </a:lnTo>
                  <a:lnTo>
                    <a:pt x="224" y="269"/>
                  </a:lnTo>
                  <a:lnTo>
                    <a:pt x="221" y="278"/>
                  </a:lnTo>
                  <a:lnTo>
                    <a:pt x="224" y="287"/>
                  </a:lnTo>
                  <a:lnTo>
                    <a:pt x="230" y="298"/>
                  </a:lnTo>
                  <a:lnTo>
                    <a:pt x="235" y="309"/>
                  </a:lnTo>
                  <a:lnTo>
                    <a:pt x="236" y="311"/>
                  </a:lnTo>
                  <a:lnTo>
                    <a:pt x="241" y="312"/>
                  </a:lnTo>
                  <a:lnTo>
                    <a:pt x="246" y="309"/>
                  </a:lnTo>
                  <a:lnTo>
                    <a:pt x="258" y="302"/>
                  </a:lnTo>
                  <a:lnTo>
                    <a:pt x="272" y="292"/>
                  </a:lnTo>
                  <a:lnTo>
                    <a:pt x="293" y="286"/>
                  </a:lnTo>
                  <a:lnTo>
                    <a:pt x="295" y="285"/>
                  </a:lnTo>
                  <a:lnTo>
                    <a:pt x="299" y="278"/>
                  </a:lnTo>
                  <a:lnTo>
                    <a:pt x="306" y="274"/>
                  </a:lnTo>
                  <a:lnTo>
                    <a:pt x="307" y="271"/>
                  </a:lnTo>
                  <a:lnTo>
                    <a:pt x="312" y="270"/>
                  </a:lnTo>
                  <a:lnTo>
                    <a:pt x="322" y="263"/>
                  </a:lnTo>
                  <a:lnTo>
                    <a:pt x="327" y="262"/>
                  </a:lnTo>
                  <a:lnTo>
                    <a:pt x="334" y="257"/>
                  </a:lnTo>
                  <a:lnTo>
                    <a:pt x="339" y="257"/>
                  </a:lnTo>
                  <a:lnTo>
                    <a:pt x="343" y="259"/>
                  </a:lnTo>
                  <a:lnTo>
                    <a:pt x="346" y="260"/>
                  </a:lnTo>
                  <a:lnTo>
                    <a:pt x="350" y="260"/>
                  </a:lnTo>
                  <a:lnTo>
                    <a:pt x="352" y="270"/>
                  </a:lnTo>
                  <a:lnTo>
                    <a:pt x="354" y="274"/>
                  </a:lnTo>
                  <a:lnTo>
                    <a:pt x="357" y="273"/>
                  </a:lnTo>
                  <a:lnTo>
                    <a:pt x="364" y="266"/>
                  </a:lnTo>
                  <a:lnTo>
                    <a:pt x="364" y="268"/>
                  </a:lnTo>
                  <a:lnTo>
                    <a:pt x="366" y="268"/>
                  </a:lnTo>
                  <a:lnTo>
                    <a:pt x="379" y="263"/>
                  </a:lnTo>
                  <a:lnTo>
                    <a:pt x="390" y="260"/>
                  </a:lnTo>
                  <a:lnTo>
                    <a:pt x="396" y="260"/>
                  </a:lnTo>
                  <a:lnTo>
                    <a:pt x="401" y="264"/>
                  </a:lnTo>
                  <a:lnTo>
                    <a:pt x="409" y="264"/>
                  </a:lnTo>
                  <a:lnTo>
                    <a:pt x="411" y="268"/>
                  </a:lnTo>
                  <a:lnTo>
                    <a:pt x="411" y="270"/>
                  </a:lnTo>
                  <a:lnTo>
                    <a:pt x="406" y="271"/>
                  </a:lnTo>
                  <a:lnTo>
                    <a:pt x="414" y="274"/>
                  </a:lnTo>
                  <a:lnTo>
                    <a:pt x="417" y="273"/>
                  </a:lnTo>
                  <a:lnTo>
                    <a:pt x="417" y="237"/>
                  </a:lnTo>
                  <a:lnTo>
                    <a:pt x="407" y="212"/>
                  </a:lnTo>
                  <a:lnTo>
                    <a:pt x="407" y="193"/>
                  </a:lnTo>
                  <a:lnTo>
                    <a:pt x="400" y="182"/>
                  </a:lnTo>
                  <a:lnTo>
                    <a:pt x="381" y="180"/>
                  </a:lnTo>
                  <a:lnTo>
                    <a:pt x="361" y="187"/>
                  </a:lnTo>
                  <a:lnTo>
                    <a:pt x="350" y="179"/>
                  </a:lnTo>
                  <a:lnTo>
                    <a:pt x="346" y="162"/>
                  </a:lnTo>
                  <a:lnTo>
                    <a:pt x="344" y="142"/>
                  </a:lnTo>
                  <a:lnTo>
                    <a:pt x="355" y="108"/>
                  </a:lnTo>
                  <a:lnTo>
                    <a:pt x="336" y="106"/>
                  </a:lnTo>
                  <a:lnTo>
                    <a:pt x="333" y="120"/>
                  </a:lnTo>
                  <a:lnTo>
                    <a:pt x="323" y="119"/>
                  </a:lnTo>
                  <a:lnTo>
                    <a:pt x="314" y="122"/>
                  </a:lnTo>
                  <a:lnTo>
                    <a:pt x="298" y="119"/>
                  </a:lnTo>
                  <a:lnTo>
                    <a:pt x="282" y="122"/>
                  </a:lnTo>
                  <a:lnTo>
                    <a:pt x="267" y="129"/>
                  </a:lnTo>
                  <a:lnTo>
                    <a:pt x="260" y="126"/>
                  </a:lnTo>
                  <a:lnTo>
                    <a:pt x="244" y="128"/>
                  </a:lnTo>
                  <a:lnTo>
                    <a:pt x="239" y="112"/>
                  </a:lnTo>
                  <a:lnTo>
                    <a:pt x="231" y="110"/>
                  </a:lnTo>
                  <a:lnTo>
                    <a:pt x="224" y="106"/>
                  </a:lnTo>
                  <a:lnTo>
                    <a:pt x="193" y="115"/>
                  </a:lnTo>
                  <a:lnTo>
                    <a:pt x="185" y="114"/>
                  </a:lnTo>
                  <a:lnTo>
                    <a:pt x="180" y="108"/>
                  </a:lnTo>
                  <a:lnTo>
                    <a:pt x="172" y="106"/>
                  </a:lnTo>
                  <a:lnTo>
                    <a:pt x="164" y="106"/>
                  </a:lnTo>
                  <a:lnTo>
                    <a:pt x="140" y="109"/>
                  </a:lnTo>
                  <a:lnTo>
                    <a:pt x="124" y="106"/>
                  </a:lnTo>
                  <a:lnTo>
                    <a:pt x="117" y="108"/>
                  </a:lnTo>
                  <a:lnTo>
                    <a:pt x="108" y="108"/>
                  </a:lnTo>
                  <a:lnTo>
                    <a:pt x="104" y="102"/>
                  </a:lnTo>
                  <a:lnTo>
                    <a:pt x="104" y="86"/>
                  </a:lnTo>
                  <a:lnTo>
                    <a:pt x="104" y="77"/>
                  </a:lnTo>
                  <a:lnTo>
                    <a:pt x="119" y="72"/>
                  </a:lnTo>
                  <a:lnTo>
                    <a:pt x="126" y="67"/>
                  </a:lnTo>
                  <a:lnTo>
                    <a:pt x="134" y="70"/>
                  </a:lnTo>
                  <a:lnTo>
                    <a:pt x="150" y="67"/>
                  </a:lnTo>
                  <a:lnTo>
                    <a:pt x="159" y="69"/>
                  </a:lnTo>
                  <a:lnTo>
                    <a:pt x="172" y="77"/>
                  </a:lnTo>
                  <a:lnTo>
                    <a:pt x="180" y="75"/>
                  </a:lnTo>
                  <a:lnTo>
                    <a:pt x="185" y="67"/>
                  </a:lnTo>
                  <a:lnTo>
                    <a:pt x="192" y="65"/>
                  </a:lnTo>
                  <a:lnTo>
                    <a:pt x="196" y="56"/>
                  </a:lnTo>
                  <a:lnTo>
                    <a:pt x="192" y="56"/>
                  </a:lnTo>
                  <a:lnTo>
                    <a:pt x="185" y="60"/>
                  </a:lnTo>
                  <a:lnTo>
                    <a:pt x="176" y="61"/>
                  </a:lnTo>
                  <a:lnTo>
                    <a:pt x="172" y="54"/>
                  </a:lnTo>
                  <a:lnTo>
                    <a:pt x="167" y="38"/>
                  </a:lnTo>
                  <a:lnTo>
                    <a:pt x="174" y="33"/>
                  </a:lnTo>
                  <a:lnTo>
                    <a:pt x="181" y="29"/>
                  </a:lnTo>
                  <a:lnTo>
                    <a:pt x="185" y="22"/>
                  </a:lnTo>
                  <a:lnTo>
                    <a:pt x="183" y="15"/>
                  </a:lnTo>
                  <a:lnTo>
                    <a:pt x="178" y="9"/>
                  </a:lnTo>
                  <a:lnTo>
                    <a:pt x="177" y="0"/>
                  </a:lnTo>
                  <a:lnTo>
                    <a:pt x="170" y="0"/>
                  </a:lnTo>
                  <a:lnTo>
                    <a:pt x="164" y="5"/>
                  </a:lnTo>
                  <a:lnTo>
                    <a:pt x="160" y="12"/>
                  </a:lnTo>
                  <a:lnTo>
                    <a:pt x="145" y="20"/>
                  </a:lnTo>
                  <a:lnTo>
                    <a:pt x="132" y="27"/>
                  </a:lnTo>
                  <a:lnTo>
                    <a:pt x="123" y="28"/>
                  </a:lnTo>
                  <a:lnTo>
                    <a:pt x="117" y="23"/>
                  </a:lnTo>
                  <a:lnTo>
                    <a:pt x="110" y="27"/>
                  </a:lnTo>
                  <a:lnTo>
                    <a:pt x="108" y="36"/>
                  </a:lnTo>
                  <a:lnTo>
                    <a:pt x="102" y="40"/>
                  </a:lnTo>
                  <a:lnTo>
                    <a:pt x="107" y="47"/>
                  </a:lnTo>
                  <a:lnTo>
                    <a:pt x="107" y="55"/>
                  </a:lnTo>
                  <a:lnTo>
                    <a:pt x="105" y="63"/>
                  </a:lnTo>
                  <a:lnTo>
                    <a:pt x="99" y="67"/>
                  </a:lnTo>
                  <a:lnTo>
                    <a:pt x="83" y="70"/>
                  </a:lnTo>
                  <a:lnTo>
                    <a:pt x="75" y="75"/>
                  </a:lnTo>
                  <a:lnTo>
                    <a:pt x="75" y="82"/>
                  </a:lnTo>
                  <a:lnTo>
                    <a:pt x="63" y="104"/>
                  </a:lnTo>
                  <a:lnTo>
                    <a:pt x="56" y="107"/>
                  </a:lnTo>
                  <a:lnTo>
                    <a:pt x="40" y="108"/>
                  </a:lnTo>
                  <a:lnTo>
                    <a:pt x="32" y="107"/>
                  </a:lnTo>
                  <a:lnTo>
                    <a:pt x="26" y="101"/>
                  </a:lnTo>
                  <a:lnTo>
                    <a:pt x="18" y="102"/>
                  </a:lnTo>
                  <a:lnTo>
                    <a:pt x="10" y="106"/>
                  </a:lnTo>
                  <a:lnTo>
                    <a:pt x="6" y="112"/>
                  </a:lnTo>
                  <a:lnTo>
                    <a:pt x="8" y="120"/>
                  </a:lnTo>
                  <a:lnTo>
                    <a:pt x="0" y="125"/>
                  </a:lnTo>
                  <a:lnTo>
                    <a:pt x="6" y="131"/>
                  </a:lnTo>
                  <a:lnTo>
                    <a:pt x="14" y="136"/>
                  </a:lnTo>
                  <a:lnTo>
                    <a:pt x="16" y="144"/>
                  </a:lnTo>
                  <a:lnTo>
                    <a:pt x="25" y="145"/>
                  </a:lnTo>
                  <a:lnTo>
                    <a:pt x="34" y="144"/>
                  </a:lnTo>
                  <a:lnTo>
                    <a:pt x="40" y="149"/>
                  </a:lnTo>
                  <a:lnTo>
                    <a:pt x="42" y="156"/>
                  </a:lnTo>
                  <a:lnTo>
                    <a:pt x="41" y="165"/>
                  </a:lnTo>
                  <a:lnTo>
                    <a:pt x="37" y="171"/>
                  </a:lnTo>
                  <a:lnTo>
                    <a:pt x="41" y="187"/>
                  </a:lnTo>
                  <a:lnTo>
                    <a:pt x="46" y="194"/>
                  </a:lnTo>
                  <a:lnTo>
                    <a:pt x="53" y="199"/>
                  </a:lnTo>
                  <a:lnTo>
                    <a:pt x="54" y="205"/>
                  </a:lnTo>
                  <a:lnTo>
                    <a:pt x="52" y="212"/>
                  </a:lnTo>
                  <a:lnTo>
                    <a:pt x="47" y="217"/>
                  </a:lnTo>
                  <a:lnTo>
                    <a:pt x="40" y="222"/>
                  </a:lnTo>
                  <a:lnTo>
                    <a:pt x="37" y="228"/>
                  </a:lnTo>
                  <a:lnTo>
                    <a:pt x="29" y="239"/>
                  </a:lnTo>
                  <a:lnTo>
                    <a:pt x="22" y="253"/>
                  </a:lnTo>
                  <a:lnTo>
                    <a:pt x="24" y="259"/>
                  </a:lnTo>
                  <a:lnTo>
                    <a:pt x="24" y="266"/>
                  </a:lnTo>
                  <a:lnTo>
                    <a:pt x="19" y="2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60"/>
            <p:cNvSpPr>
              <a:spLocks noChangeAspect="1"/>
            </p:cNvSpPr>
            <p:nvPr>
              <p:custDataLst>
                <p:tags r:id="rId59"/>
              </p:custDataLst>
            </p:nvPr>
          </p:nvSpPr>
          <p:spPr bwMode="gray">
            <a:xfrm>
              <a:off x="6274668" y="3506237"/>
              <a:ext cx="7022" cy="9362"/>
            </a:xfrm>
            <a:custGeom>
              <a:avLst/>
              <a:gdLst/>
              <a:ahLst/>
              <a:cxnLst>
                <a:cxn ang="0">
                  <a:pos x="16" y="19"/>
                </a:cxn>
                <a:cxn ang="0">
                  <a:pos x="14" y="12"/>
                </a:cxn>
                <a:cxn ang="0">
                  <a:pos x="5" y="0"/>
                </a:cxn>
                <a:cxn ang="0">
                  <a:pos x="0" y="6"/>
                </a:cxn>
                <a:cxn ang="0">
                  <a:pos x="1" y="13"/>
                </a:cxn>
                <a:cxn ang="0">
                  <a:pos x="3" y="21"/>
                </a:cxn>
                <a:cxn ang="0">
                  <a:pos x="12" y="22"/>
                </a:cxn>
                <a:cxn ang="0">
                  <a:pos x="16" y="19"/>
                </a:cxn>
              </a:cxnLst>
              <a:rect l="0" t="0" r="r" b="b"/>
              <a:pathLst>
                <a:path w="16" h="22">
                  <a:moveTo>
                    <a:pt x="16" y="19"/>
                  </a:moveTo>
                  <a:lnTo>
                    <a:pt x="14" y="12"/>
                  </a:lnTo>
                  <a:lnTo>
                    <a:pt x="5" y="0"/>
                  </a:lnTo>
                  <a:lnTo>
                    <a:pt x="0" y="6"/>
                  </a:lnTo>
                  <a:lnTo>
                    <a:pt x="1" y="13"/>
                  </a:lnTo>
                  <a:lnTo>
                    <a:pt x="3" y="21"/>
                  </a:lnTo>
                  <a:lnTo>
                    <a:pt x="12" y="22"/>
                  </a:lnTo>
                  <a:lnTo>
                    <a:pt x="16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61"/>
            <p:cNvSpPr>
              <a:spLocks noChangeAspect="1"/>
            </p:cNvSpPr>
            <p:nvPr>
              <p:custDataLst>
                <p:tags r:id="rId60"/>
              </p:custDataLst>
            </p:nvPr>
          </p:nvSpPr>
          <p:spPr bwMode="gray">
            <a:xfrm>
              <a:off x="6291052" y="3510918"/>
              <a:ext cx="7022" cy="4681"/>
            </a:xfrm>
            <a:custGeom>
              <a:avLst/>
              <a:gdLst/>
              <a:ahLst/>
              <a:cxnLst>
                <a:cxn ang="0">
                  <a:pos x="15" y="4"/>
                </a:cxn>
                <a:cxn ang="0">
                  <a:pos x="7" y="0"/>
                </a:cxn>
                <a:cxn ang="0">
                  <a:pos x="0" y="3"/>
                </a:cxn>
                <a:cxn ang="0">
                  <a:pos x="6" y="9"/>
                </a:cxn>
                <a:cxn ang="0">
                  <a:pos x="14" y="6"/>
                </a:cxn>
                <a:cxn ang="0">
                  <a:pos x="15" y="4"/>
                </a:cxn>
              </a:cxnLst>
              <a:rect l="0" t="0" r="r" b="b"/>
              <a:pathLst>
                <a:path w="15" h="9">
                  <a:moveTo>
                    <a:pt x="15" y="4"/>
                  </a:moveTo>
                  <a:lnTo>
                    <a:pt x="7" y="0"/>
                  </a:lnTo>
                  <a:lnTo>
                    <a:pt x="0" y="3"/>
                  </a:lnTo>
                  <a:lnTo>
                    <a:pt x="6" y="9"/>
                  </a:lnTo>
                  <a:lnTo>
                    <a:pt x="14" y="6"/>
                  </a:lnTo>
                  <a:lnTo>
                    <a:pt x="15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62"/>
            <p:cNvSpPr>
              <a:spLocks noChangeAspect="1"/>
            </p:cNvSpPr>
            <p:nvPr>
              <p:custDataLst>
                <p:tags r:id="rId61"/>
              </p:custDataLst>
            </p:nvPr>
          </p:nvSpPr>
          <p:spPr bwMode="gray">
            <a:xfrm>
              <a:off x="6262965" y="3515600"/>
              <a:ext cx="4681" cy="4681"/>
            </a:xfrm>
            <a:custGeom>
              <a:avLst/>
              <a:gdLst/>
              <a:ahLst/>
              <a:cxnLst>
                <a:cxn ang="0">
                  <a:pos x="12" y="6"/>
                </a:cxn>
                <a:cxn ang="0">
                  <a:pos x="8" y="0"/>
                </a:cxn>
                <a:cxn ang="0">
                  <a:pos x="0" y="1"/>
                </a:cxn>
                <a:cxn ang="0">
                  <a:pos x="2" y="8"/>
                </a:cxn>
                <a:cxn ang="0">
                  <a:pos x="11" y="8"/>
                </a:cxn>
                <a:cxn ang="0">
                  <a:pos x="12" y="6"/>
                </a:cxn>
              </a:cxnLst>
              <a:rect l="0" t="0" r="r" b="b"/>
              <a:pathLst>
                <a:path w="12" h="8">
                  <a:moveTo>
                    <a:pt x="12" y="6"/>
                  </a:moveTo>
                  <a:lnTo>
                    <a:pt x="8" y="0"/>
                  </a:lnTo>
                  <a:lnTo>
                    <a:pt x="0" y="1"/>
                  </a:lnTo>
                  <a:lnTo>
                    <a:pt x="2" y="8"/>
                  </a:lnTo>
                  <a:lnTo>
                    <a:pt x="11" y="8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63" name="Afganistan"/>
            <p:cNvSpPr>
              <a:spLocks noChangeAspect="1"/>
            </p:cNvSpPr>
            <p:nvPr>
              <p:custDataLst>
                <p:tags r:id="rId62"/>
              </p:custDataLst>
            </p:nvPr>
          </p:nvSpPr>
          <p:spPr bwMode="gray">
            <a:xfrm>
              <a:off x="6005499" y="3562412"/>
              <a:ext cx="369815" cy="280872"/>
            </a:xfrm>
            <a:custGeom>
              <a:avLst/>
              <a:gdLst/>
              <a:ahLst/>
              <a:cxnLst>
                <a:cxn ang="0">
                  <a:pos x="65" y="487"/>
                </a:cxn>
                <a:cxn ang="0">
                  <a:pos x="14" y="447"/>
                </a:cxn>
                <a:cxn ang="0">
                  <a:pos x="3" y="371"/>
                </a:cxn>
                <a:cxn ang="0">
                  <a:pos x="0" y="299"/>
                </a:cxn>
                <a:cxn ang="0">
                  <a:pos x="40" y="223"/>
                </a:cxn>
                <a:cxn ang="0">
                  <a:pos x="57" y="206"/>
                </a:cxn>
                <a:cxn ang="0">
                  <a:pos x="98" y="221"/>
                </a:cxn>
                <a:cxn ang="0">
                  <a:pos x="139" y="210"/>
                </a:cxn>
                <a:cxn ang="0">
                  <a:pos x="146" y="184"/>
                </a:cxn>
                <a:cxn ang="0">
                  <a:pos x="186" y="168"/>
                </a:cxn>
                <a:cxn ang="0">
                  <a:pos x="224" y="142"/>
                </a:cxn>
                <a:cxn ang="0">
                  <a:pos x="235" y="95"/>
                </a:cxn>
                <a:cxn ang="0">
                  <a:pos x="259" y="83"/>
                </a:cxn>
                <a:cxn ang="0">
                  <a:pos x="283" y="65"/>
                </a:cxn>
                <a:cxn ang="0">
                  <a:pos x="331" y="77"/>
                </a:cxn>
                <a:cxn ang="0">
                  <a:pos x="396" y="82"/>
                </a:cxn>
                <a:cxn ang="0">
                  <a:pos x="430" y="94"/>
                </a:cxn>
                <a:cxn ang="0">
                  <a:pos x="462" y="81"/>
                </a:cxn>
                <a:cxn ang="0">
                  <a:pos x="489" y="87"/>
                </a:cxn>
                <a:cxn ang="0">
                  <a:pos x="500" y="59"/>
                </a:cxn>
                <a:cxn ang="0">
                  <a:pos x="528" y="63"/>
                </a:cxn>
                <a:cxn ang="0">
                  <a:pos x="542" y="27"/>
                </a:cxn>
                <a:cxn ang="0">
                  <a:pos x="567" y="3"/>
                </a:cxn>
                <a:cxn ang="0">
                  <a:pos x="590" y="28"/>
                </a:cxn>
                <a:cxn ang="0">
                  <a:pos x="606" y="38"/>
                </a:cxn>
                <a:cxn ang="0">
                  <a:pos x="605" y="62"/>
                </a:cxn>
                <a:cxn ang="0">
                  <a:pos x="601" y="100"/>
                </a:cxn>
                <a:cxn ang="0">
                  <a:pos x="623" y="122"/>
                </a:cxn>
                <a:cxn ang="0">
                  <a:pos x="676" y="92"/>
                </a:cxn>
                <a:cxn ang="0">
                  <a:pos x="704" y="75"/>
                </a:cxn>
                <a:cxn ang="0">
                  <a:pos x="727" y="73"/>
                </a:cxn>
                <a:cxn ang="0">
                  <a:pos x="741" y="81"/>
                </a:cxn>
                <a:cxn ang="0">
                  <a:pos x="778" y="77"/>
                </a:cxn>
                <a:cxn ang="0">
                  <a:pos x="785" y="84"/>
                </a:cxn>
                <a:cxn ang="0">
                  <a:pos x="768" y="94"/>
                </a:cxn>
                <a:cxn ang="0">
                  <a:pos x="759" y="108"/>
                </a:cxn>
                <a:cxn ang="0">
                  <a:pos x="725" y="109"/>
                </a:cxn>
                <a:cxn ang="0">
                  <a:pos x="665" y="114"/>
                </a:cxn>
                <a:cxn ang="0">
                  <a:pos x="638" y="129"/>
                </a:cxn>
                <a:cxn ang="0">
                  <a:pos x="622" y="141"/>
                </a:cxn>
                <a:cxn ang="0">
                  <a:pos x="594" y="158"/>
                </a:cxn>
                <a:cxn ang="0">
                  <a:pos x="605" y="183"/>
                </a:cxn>
                <a:cxn ang="0">
                  <a:pos x="608" y="218"/>
                </a:cxn>
                <a:cxn ang="0">
                  <a:pos x="592" y="249"/>
                </a:cxn>
                <a:cxn ang="0">
                  <a:pos x="582" y="277"/>
                </a:cxn>
                <a:cxn ang="0">
                  <a:pos x="569" y="304"/>
                </a:cxn>
                <a:cxn ang="0">
                  <a:pos x="520" y="302"/>
                </a:cxn>
                <a:cxn ang="0">
                  <a:pos x="535" y="336"/>
                </a:cxn>
                <a:cxn ang="0">
                  <a:pos x="517" y="361"/>
                </a:cxn>
                <a:cxn ang="0">
                  <a:pos x="489" y="384"/>
                </a:cxn>
                <a:cxn ang="0">
                  <a:pos x="481" y="404"/>
                </a:cxn>
                <a:cxn ang="0">
                  <a:pos x="463" y="460"/>
                </a:cxn>
                <a:cxn ang="0">
                  <a:pos x="444" y="445"/>
                </a:cxn>
                <a:cxn ang="0">
                  <a:pos x="425" y="448"/>
                </a:cxn>
                <a:cxn ang="0">
                  <a:pos x="391" y="468"/>
                </a:cxn>
                <a:cxn ang="0">
                  <a:pos x="390" y="479"/>
                </a:cxn>
                <a:cxn ang="0">
                  <a:pos x="352" y="476"/>
                </a:cxn>
                <a:cxn ang="0">
                  <a:pos x="321" y="520"/>
                </a:cxn>
                <a:cxn ang="0">
                  <a:pos x="321" y="566"/>
                </a:cxn>
                <a:cxn ang="0">
                  <a:pos x="226" y="587"/>
                </a:cxn>
                <a:cxn ang="0">
                  <a:pos x="197" y="599"/>
                </a:cxn>
                <a:cxn ang="0">
                  <a:pos x="129" y="594"/>
                </a:cxn>
                <a:cxn ang="0">
                  <a:pos x="101" y="598"/>
                </a:cxn>
              </a:cxnLst>
              <a:rect l="0" t="0" r="r" b="b"/>
              <a:pathLst>
                <a:path w="788" h="599">
                  <a:moveTo>
                    <a:pt x="24" y="572"/>
                  </a:moveTo>
                  <a:lnTo>
                    <a:pt x="36" y="547"/>
                  </a:lnTo>
                  <a:lnTo>
                    <a:pt x="59" y="519"/>
                  </a:lnTo>
                  <a:lnTo>
                    <a:pt x="65" y="502"/>
                  </a:lnTo>
                  <a:lnTo>
                    <a:pt x="65" y="487"/>
                  </a:lnTo>
                  <a:lnTo>
                    <a:pt x="59" y="471"/>
                  </a:lnTo>
                  <a:lnTo>
                    <a:pt x="48" y="461"/>
                  </a:lnTo>
                  <a:lnTo>
                    <a:pt x="36" y="461"/>
                  </a:lnTo>
                  <a:lnTo>
                    <a:pt x="24" y="458"/>
                  </a:lnTo>
                  <a:lnTo>
                    <a:pt x="14" y="447"/>
                  </a:lnTo>
                  <a:lnTo>
                    <a:pt x="12" y="434"/>
                  </a:lnTo>
                  <a:lnTo>
                    <a:pt x="15" y="417"/>
                  </a:lnTo>
                  <a:lnTo>
                    <a:pt x="12" y="399"/>
                  </a:lnTo>
                  <a:lnTo>
                    <a:pt x="6" y="383"/>
                  </a:lnTo>
                  <a:lnTo>
                    <a:pt x="3" y="371"/>
                  </a:lnTo>
                  <a:lnTo>
                    <a:pt x="6" y="353"/>
                  </a:lnTo>
                  <a:lnTo>
                    <a:pt x="15" y="335"/>
                  </a:lnTo>
                  <a:lnTo>
                    <a:pt x="14" y="324"/>
                  </a:lnTo>
                  <a:lnTo>
                    <a:pt x="0" y="319"/>
                  </a:lnTo>
                  <a:lnTo>
                    <a:pt x="0" y="299"/>
                  </a:lnTo>
                  <a:lnTo>
                    <a:pt x="0" y="289"/>
                  </a:lnTo>
                  <a:lnTo>
                    <a:pt x="21" y="281"/>
                  </a:lnTo>
                  <a:lnTo>
                    <a:pt x="21" y="266"/>
                  </a:lnTo>
                  <a:lnTo>
                    <a:pt x="35" y="244"/>
                  </a:lnTo>
                  <a:lnTo>
                    <a:pt x="40" y="223"/>
                  </a:lnTo>
                  <a:lnTo>
                    <a:pt x="40" y="206"/>
                  </a:lnTo>
                  <a:lnTo>
                    <a:pt x="42" y="192"/>
                  </a:lnTo>
                  <a:lnTo>
                    <a:pt x="48" y="196"/>
                  </a:lnTo>
                  <a:lnTo>
                    <a:pt x="54" y="202"/>
                  </a:lnTo>
                  <a:lnTo>
                    <a:pt x="57" y="206"/>
                  </a:lnTo>
                  <a:lnTo>
                    <a:pt x="68" y="208"/>
                  </a:lnTo>
                  <a:lnTo>
                    <a:pt x="80" y="206"/>
                  </a:lnTo>
                  <a:lnTo>
                    <a:pt x="86" y="211"/>
                  </a:lnTo>
                  <a:lnTo>
                    <a:pt x="94" y="215"/>
                  </a:lnTo>
                  <a:lnTo>
                    <a:pt x="98" y="221"/>
                  </a:lnTo>
                  <a:lnTo>
                    <a:pt x="103" y="221"/>
                  </a:lnTo>
                  <a:lnTo>
                    <a:pt x="111" y="219"/>
                  </a:lnTo>
                  <a:lnTo>
                    <a:pt x="124" y="219"/>
                  </a:lnTo>
                  <a:lnTo>
                    <a:pt x="130" y="213"/>
                  </a:lnTo>
                  <a:lnTo>
                    <a:pt x="139" y="210"/>
                  </a:lnTo>
                  <a:lnTo>
                    <a:pt x="143" y="207"/>
                  </a:lnTo>
                  <a:lnTo>
                    <a:pt x="145" y="195"/>
                  </a:lnTo>
                  <a:lnTo>
                    <a:pt x="149" y="194"/>
                  </a:lnTo>
                  <a:lnTo>
                    <a:pt x="153" y="189"/>
                  </a:lnTo>
                  <a:lnTo>
                    <a:pt x="146" y="184"/>
                  </a:lnTo>
                  <a:lnTo>
                    <a:pt x="146" y="178"/>
                  </a:lnTo>
                  <a:lnTo>
                    <a:pt x="154" y="179"/>
                  </a:lnTo>
                  <a:lnTo>
                    <a:pt x="160" y="176"/>
                  </a:lnTo>
                  <a:lnTo>
                    <a:pt x="178" y="173"/>
                  </a:lnTo>
                  <a:lnTo>
                    <a:pt x="186" y="168"/>
                  </a:lnTo>
                  <a:lnTo>
                    <a:pt x="194" y="164"/>
                  </a:lnTo>
                  <a:lnTo>
                    <a:pt x="200" y="158"/>
                  </a:lnTo>
                  <a:lnTo>
                    <a:pt x="208" y="157"/>
                  </a:lnTo>
                  <a:lnTo>
                    <a:pt x="223" y="147"/>
                  </a:lnTo>
                  <a:lnTo>
                    <a:pt x="224" y="142"/>
                  </a:lnTo>
                  <a:lnTo>
                    <a:pt x="224" y="135"/>
                  </a:lnTo>
                  <a:lnTo>
                    <a:pt x="226" y="122"/>
                  </a:lnTo>
                  <a:lnTo>
                    <a:pt x="229" y="119"/>
                  </a:lnTo>
                  <a:lnTo>
                    <a:pt x="235" y="102"/>
                  </a:lnTo>
                  <a:lnTo>
                    <a:pt x="235" y="95"/>
                  </a:lnTo>
                  <a:lnTo>
                    <a:pt x="236" y="93"/>
                  </a:lnTo>
                  <a:lnTo>
                    <a:pt x="240" y="89"/>
                  </a:lnTo>
                  <a:lnTo>
                    <a:pt x="245" y="83"/>
                  </a:lnTo>
                  <a:lnTo>
                    <a:pt x="253" y="82"/>
                  </a:lnTo>
                  <a:lnTo>
                    <a:pt x="259" y="83"/>
                  </a:lnTo>
                  <a:lnTo>
                    <a:pt x="274" y="83"/>
                  </a:lnTo>
                  <a:lnTo>
                    <a:pt x="277" y="82"/>
                  </a:lnTo>
                  <a:lnTo>
                    <a:pt x="279" y="77"/>
                  </a:lnTo>
                  <a:lnTo>
                    <a:pt x="280" y="68"/>
                  </a:lnTo>
                  <a:lnTo>
                    <a:pt x="283" y="65"/>
                  </a:lnTo>
                  <a:lnTo>
                    <a:pt x="288" y="65"/>
                  </a:lnTo>
                  <a:lnTo>
                    <a:pt x="293" y="65"/>
                  </a:lnTo>
                  <a:lnTo>
                    <a:pt x="306" y="73"/>
                  </a:lnTo>
                  <a:lnTo>
                    <a:pt x="316" y="77"/>
                  </a:lnTo>
                  <a:lnTo>
                    <a:pt x="331" y="77"/>
                  </a:lnTo>
                  <a:lnTo>
                    <a:pt x="360" y="76"/>
                  </a:lnTo>
                  <a:lnTo>
                    <a:pt x="366" y="78"/>
                  </a:lnTo>
                  <a:lnTo>
                    <a:pt x="374" y="83"/>
                  </a:lnTo>
                  <a:lnTo>
                    <a:pt x="383" y="81"/>
                  </a:lnTo>
                  <a:lnTo>
                    <a:pt x="396" y="82"/>
                  </a:lnTo>
                  <a:lnTo>
                    <a:pt x="401" y="87"/>
                  </a:lnTo>
                  <a:lnTo>
                    <a:pt x="414" y="102"/>
                  </a:lnTo>
                  <a:lnTo>
                    <a:pt x="422" y="99"/>
                  </a:lnTo>
                  <a:lnTo>
                    <a:pt x="429" y="99"/>
                  </a:lnTo>
                  <a:lnTo>
                    <a:pt x="430" y="94"/>
                  </a:lnTo>
                  <a:lnTo>
                    <a:pt x="444" y="87"/>
                  </a:lnTo>
                  <a:lnTo>
                    <a:pt x="449" y="86"/>
                  </a:lnTo>
                  <a:lnTo>
                    <a:pt x="453" y="87"/>
                  </a:lnTo>
                  <a:lnTo>
                    <a:pt x="456" y="83"/>
                  </a:lnTo>
                  <a:lnTo>
                    <a:pt x="462" y="81"/>
                  </a:lnTo>
                  <a:lnTo>
                    <a:pt x="466" y="82"/>
                  </a:lnTo>
                  <a:lnTo>
                    <a:pt x="471" y="87"/>
                  </a:lnTo>
                  <a:lnTo>
                    <a:pt x="484" y="92"/>
                  </a:lnTo>
                  <a:lnTo>
                    <a:pt x="488" y="89"/>
                  </a:lnTo>
                  <a:lnTo>
                    <a:pt x="489" y="87"/>
                  </a:lnTo>
                  <a:lnTo>
                    <a:pt x="489" y="82"/>
                  </a:lnTo>
                  <a:lnTo>
                    <a:pt x="487" y="78"/>
                  </a:lnTo>
                  <a:lnTo>
                    <a:pt x="485" y="71"/>
                  </a:lnTo>
                  <a:lnTo>
                    <a:pt x="495" y="59"/>
                  </a:lnTo>
                  <a:lnTo>
                    <a:pt x="500" y="59"/>
                  </a:lnTo>
                  <a:lnTo>
                    <a:pt x="506" y="61"/>
                  </a:lnTo>
                  <a:lnTo>
                    <a:pt x="514" y="59"/>
                  </a:lnTo>
                  <a:lnTo>
                    <a:pt x="522" y="65"/>
                  </a:lnTo>
                  <a:lnTo>
                    <a:pt x="526" y="65"/>
                  </a:lnTo>
                  <a:lnTo>
                    <a:pt x="528" y="63"/>
                  </a:lnTo>
                  <a:lnTo>
                    <a:pt x="536" y="56"/>
                  </a:lnTo>
                  <a:lnTo>
                    <a:pt x="537" y="51"/>
                  </a:lnTo>
                  <a:lnTo>
                    <a:pt x="532" y="45"/>
                  </a:lnTo>
                  <a:lnTo>
                    <a:pt x="532" y="40"/>
                  </a:lnTo>
                  <a:lnTo>
                    <a:pt x="542" y="27"/>
                  </a:lnTo>
                  <a:lnTo>
                    <a:pt x="553" y="11"/>
                  </a:lnTo>
                  <a:lnTo>
                    <a:pt x="555" y="9"/>
                  </a:lnTo>
                  <a:lnTo>
                    <a:pt x="559" y="3"/>
                  </a:lnTo>
                  <a:lnTo>
                    <a:pt x="560" y="2"/>
                  </a:lnTo>
                  <a:lnTo>
                    <a:pt x="567" y="3"/>
                  </a:lnTo>
                  <a:lnTo>
                    <a:pt x="571" y="0"/>
                  </a:lnTo>
                  <a:lnTo>
                    <a:pt x="581" y="2"/>
                  </a:lnTo>
                  <a:lnTo>
                    <a:pt x="594" y="14"/>
                  </a:lnTo>
                  <a:lnTo>
                    <a:pt x="594" y="20"/>
                  </a:lnTo>
                  <a:lnTo>
                    <a:pt x="590" y="28"/>
                  </a:lnTo>
                  <a:lnTo>
                    <a:pt x="590" y="33"/>
                  </a:lnTo>
                  <a:lnTo>
                    <a:pt x="591" y="35"/>
                  </a:lnTo>
                  <a:lnTo>
                    <a:pt x="596" y="38"/>
                  </a:lnTo>
                  <a:lnTo>
                    <a:pt x="602" y="36"/>
                  </a:lnTo>
                  <a:lnTo>
                    <a:pt x="606" y="38"/>
                  </a:lnTo>
                  <a:lnTo>
                    <a:pt x="606" y="40"/>
                  </a:lnTo>
                  <a:lnTo>
                    <a:pt x="607" y="44"/>
                  </a:lnTo>
                  <a:lnTo>
                    <a:pt x="605" y="46"/>
                  </a:lnTo>
                  <a:lnTo>
                    <a:pt x="603" y="51"/>
                  </a:lnTo>
                  <a:lnTo>
                    <a:pt x="605" y="62"/>
                  </a:lnTo>
                  <a:lnTo>
                    <a:pt x="603" y="67"/>
                  </a:lnTo>
                  <a:lnTo>
                    <a:pt x="601" y="72"/>
                  </a:lnTo>
                  <a:lnTo>
                    <a:pt x="601" y="82"/>
                  </a:lnTo>
                  <a:lnTo>
                    <a:pt x="598" y="92"/>
                  </a:lnTo>
                  <a:lnTo>
                    <a:pt x="601" y="100"/>
                  </a:lnTo>
                  <a:lnTo>
                    <a:pt x="607" y="111"/>
                  </a:lnTo>
                  <a:lnTo>
                    <a:pt x="612" y="122"/>
                  </a:lnTo>
                  <a:lnTo>
                    <a:pt x="613" y="124"/>
                  </a:lnTo>
                  <a:lnTo>
                    <a:pt x="618" y="125"/>
                  </a:lnTo>
                  <a:lnTo>
                    <a:pt x="623" y="122"/>
                  </a:lnTo>
                  <a:lnTo>
                    <a:pt x="635" y="115"/>
                  </a:lnTo>
                  <a:lnTo>
                    <a:pt x="648" y="105"/>
                  </a:lnTo>
                  <a:lnTo>
                    <a:pt x="670" y="99"/>
                  </a:lnTo>
                  <a:lnTo>
                    <a:pt x="671" y="98"/>
                  </a:lnTo>
                  <a:lnTo>
                    <a:pt x="676" y="92"/>
                  </a:lnTo>
                  <a:lnTo>
                    <a:pt x="683" y="87"/>
                  </a:lnTo>
                  <a:lnTo>
                    <a:pt x="684" y="84"/>
                  </a:lnTo>
                  <a:lnTo>
                    <a:pt x="689" y="83"/>
                  </a:lnTo>
                  <a:lnTo>
                    <a:pt x="699" y="77"/>
                  </a:lnTo>
                  <a:lnTo>
                    <a:pt x="704" y="75"/>
                  </a:lnTo>
                  <a:lnTo>
                    <a:pt x="711" y="70"/>
                  </a:lnTo>
                  <a:lnTo>
                    <a:pt x="716" y="70"/>
                  </a:lnTo>
                  <a:lnTo>
                    <a:pt x="720" y="72"/>
                  </a:lnTo>
                  <a:lnTo>
                    <a:pt x="723" y="73"/>
                  </a:lnTo>
                  <a:lnTo>
                    <a:pt x="727" y="73"/>
                  </a:lnTo>
                  <a:lnTo>
                    <a:pt x="729" y="83"/>
                  </a:lnTo>
                  <a:lnTo>
                    <a:pt x="731" y="87"/>
                  </a:lnTo>
                  <a:lnTo>
                    <a:pt x="734" y="86"/>
                  </a:lnTo>
                  <a:lnTo>
                    <a:pt x="741" y="79"/>
                  </a:lnTo>
                  <a:lnTo>
                    <a:pt x="741" y="81"/>
                  </a:lnTo>
                  <a:lnTo>
                    <a:pt x="743" y="81"/>
                  </a:lnTo>
                  <a:lnTo>
                    <a:pt x="756" y="76"/>
                  </a:lnTo>
                  <a:lnTo>
                    <a:pt x="767" y="75"/>
                  </a:lnTo>
                  <a:lnTo>
                    <a:pt x="773" y="75"/>
                  </a:lnTo>
                  <a:lnTo>
                    <a:pt x="778" y="77"/>
                  </a:lnTo>
                  <a:lnTo>
                    <a:pt x="785" y="77"/>
                  </a:lnTo>
                  <a:lnTo>
                    <a:pt x="788" y="81"/>
                  </a:lnTo>
                  <a:lnTo>
                    <a:pt x="788" y="83"/>
                  </a:lnTo>
                  <a:lnTo>
                    <a:pt x="783" y="84"/>
                  </a:lnTo>
                  <a:lnTo>
                    <a:pt x="785" y="84"/>
                  </a:lnTo>
                  <a:lnTo>
                    <a:pt x="783" y="84"/>
                  </a:lnTo>
                  <a:lnTo>
                    <a:pt x="778" y="83"/>
                  </a:lnTo>
                  <a:lnTo>
                    <a:pt x="774" y="83"/>
                  </a:lnTo>
                  <a:lnTo>
                    <a:pt x="766" y="92"/>
                  </a:lnTo>
                  <a:lnTo>
                    <a:pt x="768" y="94"/>
                  </a:lnTo>
                  <a:lnTo>
                    <a:pt x="774" y="97"/>
                  </a:lnTo>
                  <a:lnTo>
                    <a:pt x="775" y="102"/>
                  </a:lnTo>
                  <a:lnTo>
                    <a:pt x="775" y="106"/>
                  </a:lnTo>
                  <a:lnTo>
                    <a:pt x="764" y="104"/>
                  </a:lnTo>
                  <a:lnTo>
                    <a:pt x="759" y="108"/>
                  </a:lnTo>
                  <a:lnTo>
                    <a:pt x="757" y="108"/>
                  </a:lnTo>
                  <a:lnTo>
                    <a:pt x="751" y="113"/>
                  </a:lnTo>
                  <a:lnTo>
                    <a:pt x="746" y="113"/>
                  </a:lnTo>
                  <a:lnTo>
                    <a:pt x="732" y="108"/>
                  </a:lnTo>
                  <a:lnTo>
                    <a:pt x="725" y="109"/>
                  </a:lnTo>
                  <a:lnTo>
                    <a:pt x="721" y="108"/>
                  </a:lnTo>
                  <a:lnTo>
                    <a:pt x="686" y="110"/>
                  </a:lnTo>
                  <a:lnTo>
                    <a:pt x="682" y="110"/>
                  </a:lnTo>
                  <a:lnTo>
                    <a:pt x="672" y="114"/>
                  </a:lnTo>
                  <a:lnTo>
                    <a:pt x="665" y="114"/>
                  </a:lnTo>
                  <a:lnTo>
                    <a:pt x="656" y="120"/>
                  </a:lnTo>
                  <a:lnTo>
                    <a:pt x="648" y="121"/>
                  </a:lnTo>
                  <a:lnTo>
                    <a:pt x="643" y="124"/>
                  </a:lnTo>
                  <a:lnTo>
                    <a:pt x="639" y="125"/>
                  </a:lnTo>
                  <a:lnTo>
                    <a:pt x="638" y="129"/>
                  </a:lnTo>
                  <a:lnTo>
                    <a:pt x="635" y="131"/>
                  </a:lnTo>
                  <a:lnTo>
                    <a:pt x="625" y="134"/>
                  </a:lnTo>
                  <a:lnTo>
                    <a:pt x="624" y="136"/>
                  </a:lnTo>
                  <a:lnTo>
                    <a:pt x="625" y="140"/>
                  </a:lnTo>
                  <a:lnTo>
                    <a:pt x="622" y="141"/>
                  </a:lnTo>
                  <a:lnTo>
                    <a:pt x="617" y="138"/>
                  </a:lnTo>
                  <a:lnTo>
                    <a:pt x="612" y="138"/>
                  </a:lnTo>
                  <a:lnTo>
                    <a:pt x="611" y="140"/>
                  </a:lnTo>
                  <a:lnTo>
                    <a:pt x="610" y="145"/>
                  </a:lnTo>
                  <a:lnTo>
                    <a:pt x="594" y="158"/>
                  </a:lnTo>
                  <a:lnTo>
                    <a:pt x="590" y="162"/>
                  </a:lnTo>
                  <a:lnTo>
                    <a:pt x="589" y="168"/>
                  </a:lnTo>
                  <a:lnTo>
                    <a:pt x="590" y="170"/>
                  </a:lnTo>
                  <a:lnTo>
                    <a:pt x="598" y="175"/>
                  </a:lnTo>
                  <a:lnTo>
                    <a:pt x="605" y="183"/>
                  </a:lnTo>
                  <a:lnTo>
                    <a:pt x="608" y="196"/>
                  </a:lnTo>
                  <a:lnTo>
                    <a:pt x="612" y="206"/>
                  </a:lnTo>
                  <a:lnTo>
                    <a:pt x="612" y="207"/>
                  </a:lnTo>
                  <a:lnTo>
                    <a:pt x="608" y="216"/>
                  </a:lnTo>
                  <a:lnTo>
                    <a:pt x="608" y="218"/>
                  </a:lnTo>
                  <a:lnTo>
                    <a:pt x="611" y="222"/>
                  </a:lnTo>
                  <a:lnTo>
                    <a:pt x="610" y="228"/>
                  </a:lnTo>
                  <a:lnTo>
                    <a:pt x="606" y="235"/>
                  </a:lnTo>
                  <a:lnTo>
                    <a:pt x="601" y="243"/>
                  </a:lnTo>
                  <a:lnTo>
                    <a:pt x="592" y="249"/>
                  </a:lnTo>
                  <a:lnTo>
                    <a:pt x="585" y="258"/>
                  </a:lnTo>
                  <a:lnTo>
                    <a:pt x="581" y="265"/>
                  </a:lnTo>
                  <a:lnTo>
                    <a:pt x="578" y="269"/>
                  </a:lnTo>
                  <a:lnTo>
                    <a:pt x="578" y="275"/>
                  </a:lnTo>
                  <a:lnTo>
                    <a:pt x="582" y="277"/>
                  </a:lnTo>
                  <a:lnTo>
                    <a:pt x="586" y="280"/>
                  </a:lnTo>
                  <a:lnTo>
                    <a:pt x="582" y="283"/>
                  </a:lnTo>
                  <a:lnTo>
                    <a:pt x="582" y="291"/>
                  </a:lnTo>
                  <a:lnTo>
                    <a:pt x="575" y="301"/>
                  </a:lnTo>
                  <a:lnTo>
                    <a:pt x="569" y="304"/>
                  </a:lnTo>
                  <a:lnTo>
                    <a:pt x="558" y="307"/>
                  </a:lnTo>
                  <a:lnTo>
                    <a:pt x="547" y="305"/>
                  </a:lnTo>
                  <a:lnTo>
                    <a:pt x="528" y="301"/>
                  </a:lnTo>
                  <a:lnTo>
                    <a:pt x="524" y="299"/>
                  </a:lnTo>
                  <a:lnTo>
                    <a:pt x="520" y="302"/>
                  </a:lnTo>
                  <a:lnTo>
                    <a:pt x="517" y="307"/>
                  </a:lnTo>
                  <a:lnTo>
                    <a:pt x="520" y="310"/>
                  </a:lnTo>
                  <a:lnTo>
                    <a:pt x="525" y="320"/>
                  </a:lnTo>
                  <a:lnTo>
                    <a:pt x="530" y="320"/>
                  </a:lnTo>
                  <a:lnTo>
                    <a:pt x="535" y="336"/>
                  </a:lnTo>
                  <a:lnTo>
                    <a:pt x="539" y="341"/>
                  </a:lnTo>
                  <a:lnTo>
                    <a:pt x="539" y="345"/>
                  </a:lnTo>
                  <a:lnTo>
                    <a:pt x="533" y="351"/>
                  </a:lnTo>
                  <a:lnTo>
                    <a:pt x="527" y="353"/>
                  </a:lnTo>
                  <a:lnTo>
                    <a:pt x="517" y="361"/>
                  </a:lnTo>
                  <a:lnTo>
                    <a:pt x="509" y="360"/>
                  </a:lnTo>
                  <a:lnTo>
                    <a:pt x="498" y="363"/>
                  </a:lnTo>
                  <a:lnTo>
                    <a:pt x="496" y="377"/>
                  </a:lnTo>
                  <a:lnTo>
                    <a:pt x="490" y="379"/>
                  </a:lnTo>
                  <a:lnTo>
                    <a:pt x="489" y="384"/>
                  </a:lnTo>
                  <a:lnTo>
                    <a:pt x="490" y="390"/>
                  </a:lnTo>
                  <a:lnTo>
                    <a:pt x="489" y="394"/>
                  </a:lnTo>
                  <a:lnTo>
                    <a:pt x="487" y="394"/>
                  </a:lnTo>
                  <a:lnTo>
                    <a:pt x="483" y="399"/>
                  </a:lnTo>
                  <a:lnTo>
                    <a:pt x="481" y="404"/>
                  </a:lnTo>
                  <a:lnTo>
                    <a:pt x="479" y="407"/>
                  </a:lnTo>
                  <a:lnTo>
                    <a:pt x="481" y="425"/>
                  </a:lnTo>
                  <a:lnTo>
                    <a:pt x="483" y="437"/>
                  </a:lnTo>
                  <a:lnTo>
                    <a:pt x="483" y="439"/>
                  </a:lnTo>
                  <a:lnTo>
                    <a:pt x="463" y="460"/>
                  </a:lnTo>
                  <a:lnTo>
                    <a:pt x="460" y="460"/>
                  </a:lnTo>
                  <a:lnTo>
                    <a:pt x="455" y="458"/>
                  </a:lnTo>
                  <a:lnTo>
                    <a:pt x="452" y="454"/>
                  </a:lnTo>
                  <a:lnTo>
                    <a:pt x="451" y="450"/>
                  </a:lnTo>
                  <a:lnTo>
                    <a:pt x="444" y="445"/>
                  </a:lnTo>
                  <a:lnTo>
                    <a:pt x="440" y="445"/>
                  </a:lnTo>
                  <a:lnTo>
                    <a:pt x="438" y="449"/>
                  </a:lnTo>
                  <a:lnTo>
                    <a:pt x="441" y="450"/>
                  </a:lnTo>
                  <a:lnTo>
                    <a:pt x="441" y="453"/>
                  </a:lnTo>
                  <a:lnTo>
                    <a:pt x="425" y="448"/>
                  </a:lnTo>
                  <a:lnTo>
                    <a:pt x="419" y="448"/>
                  </a:lnTo>
                  <a:lnTo>
                    <a:pt x="414" y="450"/>
                  </a:lnTo>
                  <a:lnTo>
                    <a:pt x="412" y="455"/>
                  </a:lnTo>
                  <a:lnTo>
                    <a:pt x="395" y="464"/>
                  </a:lnTo>
                  <a:lnTo>
                    <a:pt x="391" y="468"/>
                  </a:lnTo>
                  <a:lnTo>
                    <a:pt x="392" y="470"/>
                  </a:lnTo>
                  <a:lnTo>
                    <a:pt x="399" y="473"/>
                  </a:lnTo>
                  <a:lnTo>
                    <a:pt x="399" y="475"/>
                  </a:lnTo>
                  <a:lnTo>
                    <a:pt x="397" y="477"/>
                  </a:lnTo>
                  <a:lnTo>
                    <a:pt x="390" y="479"/>
                  </a:lnTo>
                  <a:lnTo>
                    <a:pt x="377" y="481"/>
                  </a:lnTo>
                  <a:lnTo>
                    <a:pt x="368" y="484"/>
                  </a:lnTo>
                  <a:lnTo>
                    <a:pt x="356" y="482"/>
                  </a:lnTo>
                  <a:lnTo>
                    <a:pt x="356" y="479"/>
                  </a:lnTo>
                  <a:lnTo>
                    <a:pt x="352" y="476"/>
                  </a:lnTo>
                  <a:lnTo>
                    <a:pt x="345" y="480"/>
                  </a:lnTo>
                  <a:lnTo>
                    <a:pt x="339" y="491"/>
                  </a:lnTo>
                  <a:lnTo>
                    <a:pt x="327" y="500"/>
                  </a:lnTo>
                  <a:lnTo>
                    <a:pt x="325" y="506"/>
                  </a:lnTo>
                  <a:lnTo>
                    <a:pt x="321" y="520"/>
                  </a:lnTo>
                  <a:lnTo>
                    <a:pt x="322" y="533"/>
                  </a:lnTo>
                  <a:lnTo>
                    <a:pt x="318" y="552"/>
                  </a:lnTo>
                  <a:lnTo>
                    <a:pt x="318" y="556"/>
                  </a:lnTo>
                  <a:lnTo>
                    <a:pt x="322" y="560"/>
                  </a:lnTo>
                  <a:lnTo>
                    <a:pt x="321" y="566"/>
                  </a:lnTo>
                  <a:lnTo>
                    <a:pt x="313" y="572"/>
                  </a:lnTo>
                  <a:lnTo>
                    <a:pt x="288" y="577"/>
                  </a:lnTo>
                  <a:lnTo>
                    <a:pt x="268" y="584"/>
                  </a:lnTo>
                  <a:lnTo>
                    <a:pt x="252" y="588"/>
                  </a:lnTo>
                  <a:lnTo>
                    <a:pt x="226" y="587"/>
                  </a:lnTo>
                  <a:lnTo>
                    <a:pt x="213" y="587"/>
                  </a:lnTo>
                  <a:lnTo>
                    <a:pt x="207" y="589"/>
                  </a:lnTo>
                  <a:lnTo>
                    <a:pt x="203" y="592"/>
                  </a:lnTo>
                  <a:lnTo>
                    <a:pt x="200" y="597"/>
                  </a:lnTo>
                  <a:lnTo>
                    <a:pt x="197" y="599"/>
                  </a:lnTo>
                  <a:lnTo>
                    <a:pt x="181" y="592"/>
                  </a:lnTo>
                  <a:lnTo>
                    <a:pt x="164" y="592"/>
                  </a:lnTo>
                  <a:lnTo>
                    <a:pt x="149" y="594"/>
                  </a:lnTo>
                  <a:lnTo>
                    <a:pt x="138" y="593"/>
                  </a:lnTo>
                  <a:lnTo>
                    <a:pt x="129" y="594"/>
                  </a:lnTo>
                  <a:lnTo>
                    <a:pt x="119" y="594"/>
                  </a:lnTo>
                  <a:lnTo>
                    <a:pt x="116" y="595"/>
                  </a:lnTo>
                  <a:lnTo>
                    <a:pt x="112" y="598"/>
                  </a:lnTo>
                  <a:lnTo>
                    <a:pt x="108" y="599"/>
                  </a:lnTo>
                  <a:lnTo>
                    <a:pt x="101" y="598"/>
                  </a:lnTo>
                  <a:lnTo>
                    <a:pt x="83" y="588"/>
                  </a:lnTo>
                  <a:lnTo>
                    <a:pt x="24" y="57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64" name="Indonesia"/>
            <p:cNvSpPr>
              <a:spLocks noChangeAspect="1"/>
            </p:cNvSpPr>
            <p:nvPr>
              <p:custDataLst>
                <p:tags r:id="rId63"/>
              </p:custDataLst>
            </p:nvPr>
          </p:nvSpPr>
          <p:spPr bwMode="gray">
            <a:xfrm>
              <a:off x="6899608" y="4484608"/>
              <a:ext cx="278531" cy="294916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35" y="3"/>
                </a:cxn>
                <a:cxn ang="0">
                  <a:pos x="62" y="19"/>
                </a:cxn>
                <a:cxn ang="0">
                  <a:pos x="100" y="19"/>
                </a:cxn>
                <a:cxn ang="0">
                  <a:pos x="130" y="26"/>
                </a:cxn>
                <a:cxn ang="0">
                  <a:pos x="151" y="51"/>
                </a:cxn>
                <a:cxn ang="0">
                  <a:pos x="168" y="72"/>
                </a:cxn>
                <a:cxn ang="0">
                  <a:pos x="196" y="102"/>
                </a:cxn>
                <a:cxn ang="0">
                  <a:pos x="251" y="136"/>
                </a:cxn>
                <a:cxn ang="0">
                  <a:pos x="277" y="159"/>
                </a:cxn>
                <a:cxn ang="0">
                  <a:pos x="302" y="190"/>
                </a:cxn>
                <a:cxn ang="0">
                  <a:pos x="311" y="184"/>
                </a:cxn>
                <a:cxn ang="0">
                  <a:pos x="338" y="211"/>
                </a:cxn>
                <a:cxn ang="0">
                  <a:pos x="355" y="217"/>
                </a:cxn>
                <a:cxn ang="0">
                  <a:pos x="382" y="242"/>
                </a:cxn>
                <a:cxn ang="0">
                  <a:pos x="391" y="236"/>
                </a:cxn>
                <a:cxn ang="0">
                  <a:pos x="423" y="247"/>
                </a:cxn>
                <a:cxn ang="0">
                  <a:pos x="431" y="259"/>
                </a:cxn>
                <a:cxn ang="0">
                  <a:pos x="425" y="270"/>
                </a:cxn>
                <a:cxn ang="0">
                  <a:pos x="417" y="290"/>
                </a:cxn>
                <a:cxn ang="0">
                  <a:pos x="430" y="287"/>
                </a:cxn>
                <a:cxn ang="0">
                  <a:pos x="453" y="281"/>
                </a:cxn>
                <a:cxn ang="0">
                  <a:pos x="467" y="303"/>
                </a:cxn>
                <a:cxn ang="0">
                  <a:pos x="463" y="320"/>
                </a:cxn>
                <a:cxn ang="0">
                  <a:pos x="450" y="344"/>
                </a:cxn>
                <a:cxn ang="0">
                  <a:pos x="474" y="361"/>
                </a:cxn>
                <a:cxn ang="0">
                  <a:pos x="490" y="363"/>
                </a:cxn>
                <a:cxn ang="0">
                  <a:pos x="509" y="384"/>
                </a:cxn>
                <a:cxn ang="0">
                  <a:pos x="510" y="409"/>
                </a:cxn>
                <a:cxn ang="0">
                  <a:pos x="532" y="420"/>
                </a:cxn>
                <a:cxn ang="0">
                  <a:pos x="542" y="435"/>
                </a:cxn>
                <a:cxn ang="0">
                  <a:pos x="570" y="440"/>
                </a:cxn>
                <a:cxn ang="0">
                  <a:pos x="584" y="462"/>
                </a:cxn>
                <a:cxn ang="0">
                  <a:pos x="591" y="487"/>
                </a:cxn>
                <a:cxn ang="0">
                  <a:pos x="587" y="512"/>
                </a:cxn>
                <a:cxn ang="0">
                  <a:pos x="582" y="548"/>
                </a:cxn>
                <a:cxn ang="0">
                  <a:pos x="581" y="613"/>
                </a:cxn>
                <a:cxn ang="0">
                  <a:pos x="563" y="613"/>
                </a:cxn>
                <a:cxn ang="0">
                  <a:pos x="549" y="619"/>
                </a:cxn>
                <a:cxn ang="0">
                  <a:pos x="516" y="608"/>
                </a:cxn>
                <a:cxn ang="0">
                  <a:pos x="508" y="618"/>
                </a:cxn>
                <a:cxn ang="0">
                  <a:pos x="478" y="586"/>
                </a:cxn>
                <a:cxn ang="0">
                  <a:pos x="455" y="571"/>
                </a:cxn>
                <a:cxn ang="0">
                  <a:pos x="409" y="535"/>
                </a:cxn>
                <a:cxn ang="0">
                  <a:pos x="388" y="508"/>
                </a:cxn>
                <a:cxn ang="0">
                  <a:pos x="363" y="484"/>
                </a:cxn>
                <a:cxn ang="0">
                  <a:pos x="312" y="426"/>
                </a:cxn>
                <a:cxn ang="0">
                  <a:pos x="286" y="355"/>
                </a:cxn>
                <a:cxn ang="0">
                  <a:pos x="264" y="328"/>
                </a:cxn>
                <a:cxn ang="0">
                  <a:pos x="232" y="293"/>
                </a:cxn>
                <a:cxn ang="0">
                  <a:pos x="221" y="291"/>
                </a:cxn>
                <a:cxn ang="0">
                  <a:pos x="205" y="237"/>
                </a:cxn>
                <a:cxn ang="0">
                  <a:pos x="191" y="205"/>
                </a:cxn>
                <a:cxn ang="0">
                  <a:pos x="151" y="182"/>
                </a:cxn>
                <a:cxn ang="0">
                  <a:pos x="123" y="146"/>
                </a:cxn>
                <a:cxn ang="0">
                  <a:pos x="105" y="118"/>
                </a:cxn>
                <a:cxn ang="0">
                  <a:pos x="76" y="103"/>
                </a:cxn>
                <a:cxn ang="0">
                  <a:pos x="51" y="77"/>
                </a:cxn>
                <a:cxn ang="0">
                  <a:pos x="12" y="39"/>
                </a:cxn>
                <a:cxn ang="0">
                  <a:pos x="0" y="1"/>
                </a:cxn>
              </a:cxnLst>
              <a:rect l="0" t="0" r="r" b="b"/>
              <a:pathLst>
                <a:path w="594" h="626">
                  <a:moveTo>
                    <a:pt x="0" y="1"/>
                  </a:moveTo>
                  <a:lnTo>
                    <a:pt x="6" y="1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8" y="1"/>
                  </a:lnTo>
                  <a:lnTo>
                    <a:pt x="35" y="3"/>
                  </a:lnTo>
                  <a:lnTo>
                    <a:pt x="42" y="16"/>
                  </a:lnTo>
                  <a:lnTo>
                    <a:pt x="55" y="17"/>
                  </a:lnTo>
                  <a:lnTo>
                    <a:pt x="62" y="19"/>
                  </a:lnTo>
                  <a:lnTo>
                    <a:pt x="74" y="21"/>
                  </a:lnTo>
                  <a:lnTo>
                    <a:pt x="91" y="18"/>
                  </a:lnTo>
                  <a:lnTo>
                    <a:pt x="100" y="19"/>
                  </a:lnTo>
                  <a:lnTo>
                    <a:pt x="110" y="24"/>
                  </a:lnTo>
                  <a:lnTo>
                    <a:pt x="122" y="23"/>
                  </a:lnTo>
                  <a:lnTo>
                    <a:pt x="130" y="26"/>
                  </a:lnTo>
                  <a:lnTo>
                    <a:pt x="146" y="38"/>
                  </a:lnTo>
                  <a:lnTo>
                    <a:pt x="150" y="45"/>
                  </a:lnTo>
                  <a:lnTo>
                    <a:pt x="151" y="51"/>
                  </a:lnTo>
                  <a:lnTo>
                    <a:pt x="155" y="56"/>
                  </a:lnTo>
                  <a:lnTo>
                    <a:pt x="161" y="60"/>
                  </a:lnTo>
                  <a:lnTo>
                    <a:pt x="168" y="72"/>
                  </a:lnTo>
                  <a:lnTo>
                    <a:pt x="171" y="80"/>
                  </a:lnTo>
                  <a:lnTo>
                    <a:pt x="184" y="89"/>
                  </a:lnTo>
                  <a:lnTo>
                    <a:pt x="196" y="102"/>
                  </a:lnTo>
                  <a:lnTo>
                    <a:pt x="230" y="118"/>
                  </a:lnTo>
                  <a:lnTo>
                    <a:pt x="237" y="125"/>
                  </a:lnTo>
                  <a:lnTo>
                    <a:pt x="251" y="136"/>
                  </a:lnTo>
                  <a:lnTo>
                    <a:pt x="259" y="146"/>
                  </a:lnTo>
                  <a:lnTo>
                    <a:pt x="263" y="157"/>
                  </a:lnTo>
                  <a:lnTo>
                    <a:pt x="277" y="159"/>
                  </a:lnTo>
                  <a:lnTo>
                    <a:pt x="282" y="172"/>
                  </a:lnTo>
                  <a:lnTo>
                    <a:pt x="296" y="187"/>
                  </a:lnTo>
                  <a:lnTo>
                    <a:pt x="302" y="190"/>
                  </a:lnTo>
                  <a:lnTo>
                    <a:pt x="307" y="193"/>
                  </a:lnTo>
                  <a:lnTo>
                    <a:pt x="309" y="189"/>
                  </a:lnTo>
                  <a:lnTo>
                    <a:pt x="311" y="184"/>
                  </a:lnTo>
                  <a:lnTo>
                    <a:pt x="320" y="184"/>
                  </a:lnTo>
                  <a:lnTo>
                    <a:pt x="327" y="189"/>
                  </a:lnTo>
                  <a:lnTo>
                    <a:pt x="338" y="211"/>
                  </a:lnTo>
                  <a:lnTo>
                    <a:pt x="345" y="215"/>
                  </a:lnTo>
                  <a:lnTo>
                    <a:pt x="350" y="216"/>
                  </a:lnTo>
                  <a:lnTo>
                    <a:pt x="355" y="217"/>
                  </a:lnTo>
                  <a:lnTo>
                    <a:pt x="371" y="226"/>
                  </a:lnTo>
                  <a:lnTo>
                    <a:pt x="376" y="231"/>
                  </a:lnTo>
                  <a:lnTo>
                    <a:pt x="382" y="242"/>
                  </a:lnTo>
                  <a:lnTo>
                    <a:pt x="386" y="244"/>
                  </a:lnTo>
                  <a:lnTo>
                    <a:pt x="387" y="233"/>
                  </a:lnTo>
                  <a:lnTo>
                    <a:pt x="391" y="236"/>
                  </a:lnTo>
                  <a:lnTo>
                    <a:pt x="396" y="243"/>
                  </a:lnTo>
                  <a:lnTo>
                    <a:pt x="403" y="248"/>
                  </a:lnTo>
                  <a:lnTo>
                    <a:pt x="423" y="247"/>
                  </a:lnTo>
                  <a:lnTo>
                    <a:pt x="430" y="250"/>
                  </a:lnTo>
                  <a:lnTo>
                    <a:pt x="433" y="254"/>
                  </a:lnTo>
                  <a:lnTo>
                    <a:pt x="431" y="259"/>
                  </a:lnTo>
                  <a:lnTo>
                    <a:pt x="428" y="263"/>
                  </a:lnTo>
                  <a:lnTo>
                    <a:pt x="424" y="263"/>
                  </a:lnTo>
                  <a:lnTo>
                    <a:pt x="425" y="270"/>
                  </a:lnTo>
                  <a:lnTo>
                    <a:pt x="429" y="276"/>
                  </a:lnTo>
                  <a:lnTo>
                    <a:pt x="429" y="282"/>
                  </a:lnTo>
                  <a:lnTo>
                    <a:pt x="417" y="290"/>
                  </a:lnTo>
                  <a:lnTo>
                    <a:pt x="415" y="292"/>
                  </a:lnTo>
                  <a:lnTo>
                    <a:pt x="417" y="293"/>
                  </a:lnTo>
                  <a:lnTo>
                    <a:pt x="430" y="287"/>
                  </a:lnTo>
                  <a:lnTo>
                    <a:pt x="438" y="282"/>
                  </a:lnTo>
                  <a:lnTo>
                    <a:pt x="449" y="279"/>
                  </a:lnTo>
                  <a:lnTo>
                    <a:pt x="453" y="281"/>
                  </a:lnTo>
                  <a:lnTo>
                    <a:pt x="462" y="288"/>
                  </a:lnTo>
                  <a:lnTo>
                    <a:pt x="466" y="297"/>
                  </a:lnTo>
                  <a:lnTo>
                    <a:pt x="467" y="303"/>
                  </a:lnTo>
                  <a:lnTo>
                    <a:pt x="453" y="317"/>
                  </a:lnTo>
                  <a:lnTo>
                    <a:pt x="457" y="319"/>
                  </a:lnTo>
                  <a:lnTo>
                    <a:pt x="463" y="320"/>
                  </a:lnTo>
                  <a:lnTo>
                    <a:pt x="461" y="328"/>
                  </a:lnTo>
                  <a:lnTo>
                    <a:pt x="453" y="334"/>
                  </a:lnTo>
                  <a:lnTo>
                    <a:pt x="450" y="344"/>
                  </a:lnTo>
                  <a:lnTo>
                    <a:pt x="455" y="351"/>
                  </a:lnTo>
                  <a:lnTo>
                    <a:pt x="466" y="357"/>
                  </a:lnTo>
                  <a:lnTo>
                    <a:pt x="474" y="361"/>
                  </a:lnTo>
                  <a:lnTo>
                    <a:pt x="482" y="361"/>
                  </a:lnTo>
                  <a:lnTo>
                    <a:pt x="487" y="365"/>
                  </a:lnTo>
                  <a:lnTo>
                    <a:pt x="490" y="363"/>
                  </a:lnTo>
                  <a:lnTo>
                    <a:pt x="501" y="365"/>
                  </a:lnTo>
                  <a:lnTo>
                    <a:pt x="506" y="376"/>
                  </a:lnTo>
                  <a:lnTo>
                    <a:pt x="509" y="384"/>
                  </a:lnTo>
                  <a:lnTo>
                    <a:pt x="510" y="394"/>
                  </a:lnTo>
                  <a:lnTo>
                    <a:pt x="512" y="401"/>
                  </a:lnTo>
                  <a:lnTo>
                    <a:pt x="510" y="409"/>
                  </a:lnTo>
                  <a:lnTo>
                    <a:pt x="516" y="410"/>
                  </a:lnTo>
                  <a:lnTo>
                    <a:pt x="526" y="414"/>
                  </a:lnTo>
                  <a:lnTo>
                    <a:pt x="532" y="420"/>
                  </a:lnTo>
                  <a:lnTo>
                    <a:pt x="526" y="435"/>
                  </a:lnTo>
                  <a:lnTo>
                    <a:pt x="533" y="436"/>
                  </a:lnTo>
                  <a:lnTo>
                    <a:pt x="542" y="435"/>
                  </a:lnTo>
                  <a:lnTo>
                    <a:pt x="552" y="435"/>
                  </a:lnTo>
                  <a:lnTo>
                    <a:pt x="560" y="436"/>
                  </a:lnTo>
                  <a:lnTo>
                    <a:pt x="570" y="440"/>
                  </a:lnTo>
                  <a:lnTo>
                    <a:pt x="573" y="446"/>
                  </a:lnTo>
                  <a:lnTo>
                    <a:pt x="580" y="454"/>
                  </a:lnTo>
                  <a:lnTo>
                    <a:pt x="584" y="462"/>
                  </a:lnTo>
                  <a:lnTo>
                    <a:pt x="591" y="469"/>
                  </a:lnTo>
                  <a:lnTo>
                    <a:pt x="594" y="478"/>
                  </a:lnTo>
                  <a:lnTo>
                    <a:pt x="591" y="487"/>
                  </a:lnTo>
                  <a:lnTo>
                    <a:pt x="585" y="501"/>
                  </a:lnTo>
                  <a:lnTo>
                    <a:pt x="584" y="510"/>
                  </a:lnTo>
                  <a:lnTo>
                    <a:pt x="587" y="512"/>
                  </a:lnTo>
                  <a:lnTo>
                    <a:pt x="589" y="518"/>
                  </a:lnTo>
                  <a:lnTo>
                    <a:pt x="585" y="530"/>
                  </a:lnTo>
                  <a:lnTo>
                    <a:pt x="582" y="548"/>
                  </a:lnTo>
                  <a:lnTo>
                    <a:pt x="584" y="556"/>
                  </a:lnTo>
                  <a:lnTo>
                    <a:pt x="584" y="594"/>
                  </a:lnTo>
                  <a:lnTo>
                    <a:pt x="581" y="613"/>
                  </a:lnTo>
                  <a:lnTo>
                    <a:pt x="579" y="623"/>
                  </a:lnTo>
                  <a:lnTo>
                    <a:pt x="574" y="623"/>
                  </a:lnTo>
                  <a:lnTo>
                    <a:pt x="563" y="613"/>
                  </a:lnTo>
                  <a:lnTo>
                    <a:pt x="554" y="607"/>
                  </a:lnTo>
                  <a:lnTo>
                    <a:pt x="552" y="610"/>
                  </a:lnTo>
                  <a:lnTo>
                    <a:pt x="549" y="619"/>
                  </a:lnTo>
                  <a:lnTo>
                    <a:pt x="543" y="621"/>
                  </a:lnTo>
                  <a:lnTo>
                    <a:pt x="524" y="607"/>
                  </a:lnTo>
                  <a:lnTo>
                    <a:pt x="516" y="608"/>
                  </a:lnTo>
                  <a:lnTo>
                    <a:pt x="524" y="624"/>
                  </a:lnTo>
                  <a:lnTo>
                    <a:pt x="519" y="626"/>
                  </a:lnTo>
                  <a:lnTo>
                    <a:pt x="508" y="618"/>
                  </a:lnTo>
                  <a:lnTo>
                    <a:pt x="500" y="609"/>
                  </a:lnTo>
                  <a:lnTo>
                    <a:pt x="484" y="596"/>
                  </a:lnTo>
                  <a:lnTo>
                    <a:pt x="478" y="586"/>
                  </a:lnTo>
                  <a:lnTo>
                    <a:pt x="471" y="577"/>
                  </a:lnTo>
                  <a:lnTo>
                    <a:pt x="461" y="572"/>
                  </a:lnTo>
                  <a:lnTo>
                    <a:pt x="455" y="571"/>
                  </a:lnTo>
                  <a:lnTo>
                    <a:pt x="436" y="554"/>
                  </a:lnTo>
                  <a:lnTo>
                    <a:pt x="419" y="543"/>
                  </a:lnTo>
                  <a:lnTo>
                    <a:pt x="409" y="535"/>
                  </a:lnTo>
                  <a:lnTo>
                    <a:pt x="399" y="532"/>
                  </a:lnTo>
                  <a:lnTo>
                    <a:pt x="392" y="522"/>
                  </a:lnTo>
                  <a:lnTo>
                    <a:pt x="388" y="508"/>
                  </a:lnTo>
                  <a:lnTo>
                    <a:pt x="383" y="501"/>
                  </a:lnTo>
                  <a:lnTo>
                    <a:pt x="371" y="495"/>
                  </a:lnTo>
                  <a:lnTo>
                    <a:pt x="363" y="484"/>
                  </a:lnTo>
                  <a:lnTo>
                    <a:pt x="339" y="457"/>
                  </a:lnTo>
                  <a:lnTo>
                    <a:pt x="317" y="433"/>
                  </a:lnTo>
                  <a:lnTo>
                    <a:pt x="312" y="426"/>
                  </a:lnTo>
                  <a:lnTo>
                    <a:pt x="311" y="409"/>
                  </a:lnTo>
                  <a:lnTo>
                    <a:pt x="288" y="366"/>
                  </a:lnTo>
                  <a:lnTo>
                    <a:pt x="286" y="355"/>
                  </a:lnTo>
                  <a:lnTo>
                    <a:pt x="278" y="341"/>
                  </a:lnTo>
                  <a:lnTo>
                    <a:pt x="272" y="336"/>
                  </a:lnTo>
                  <a:lnTo>
                    <a:pt x="264" y="328"/>
                  </a:lnTo>
                  <a:lnTo>
                    <a:pt x="258" y="323"/>
                  </a:lnTo>
                  <a:lnTo>
                    <a:pt x="250" y="306"/>
                  </a:lnTo>
                  <a:lnTo>
                    <a:pt x="232" y="293"/>
                  </a:lnTo>
                  <a:lnTo>
                    <a:pt x="225" y="293"/>
                  </a:lnTo>
                  <a:lnTo>
                    <a:pt x="223" y="292"/>
                  </a:lnTo>
                  <a:lnTo>
                    <a:pt x="221" y="291"/>
                  </a:lnTo>
                  <a:lnTo>
                    <a:pt x="216" y="270"/>
                  </a:lnTo>
                  <a:lnTo>
                    <a:pt x="210" y="248"/>
                  </a:lnTo>
                  <a:lnTo>
                    <a:pt x="205" y="237"/>
                  </a:lnTo>
                  <a:lnTo>
                    <a:pt x="198" y="225"/>
                  </a:lnTo>
                  <a:lnTo>
                    <a:pt x="198" y="215"/>
                  </a:lnTo>
                  <a:lnTo>
                    <a:pt x="191" y="205"/>
                  </a:lnTo>
                  <a:lnTo>
                    <a:pt x="181" y="195"/>
                  </a:lnTo>
                  <a:lnTo>
                    <a:pt x="161" y="185"/>
                  </a:lnTo>
                  <a:lnTo>
                    <a:pt x="151" y="182"/>
                  </a:lnTo>
                  <a:lnTo>
                    <a:pt x="139" y="179"/>
                  </a:lnTo>
                  <a:lnTo>
                    <a:pt x="130" y="148"/>
                  </a:lnTo>
                  <a:lnTo>
                    <a:pt x="123" y="146"/>
                  </a:lnTo>
                  <a:lnTo>
                    <a:pt x="121" y="140"/>
                  </a:lnTo>
                  <a:lnTo>
                    <a:pt x="116" y="136"/>
                  </a:lnTo>
                  <a:lnTo>
                    <a:pt x="105" y="118"/>
                  </a:lnTo>
                  <a:lnTo>
                    <a:pt x="94" y="108"/>
                  </a:lnTo>
                  <a:lnTo>
                    <a:pt x="86" y="103"/>
                  </a:lnTo>
                  <a:lnTo>
                    <a:pt x="76" y="103"/>
                  </a:lnTo>
                  <a:lnTo>
                    <a:pt x="65" y="93"/>
                  </a:lnTo>
                  <a:lnTo>
                    <a:pt x="57" y="83"/>
                  </a:lnTo>
                  <a:lnTo>
                    <a:pt x="51" y="77"/>
                  </a:lnTo>
                  <a:lnTo>
                    <a:pt x="41" y="71"/>
                  </a:lnTo>
                  <a:lnTo>
                    <a:pt x="19" y="46"/>
                  </a:lnTo>
                  <a:lnTo>
                    <a:pt x="12" y="39"/>
                  </a:lnTo>
                  <a:lnTo>
                    <a:pt x="4" y="22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65" name="Indonesia"/>
            <p:cNvSpPr>
              <a:spLocks noChangeAspect="1"/>
            </p:cNvSpPr>
            <p:nvPr>
              <p:custDataLst>
                <p:tags r:id="rId64"/>
              </p:custDataLst>
            </p:nvPr>
          </p:nvSpPr>
          <p:spPr bwMode="gray">
            <a:xfrm>
              <a:off x="7157074" y="4779524"/>
              <a:ext cx="236401" cy="74899"/>
            </a:xfrm>
            <a:custGeom>
              <a:avLst/>
              <a:gdLst/>
              <a:ahLst/>
              <a:cxnLst>
                <a:cxn ang="0">
                  <a:pos x="364" y="129"/>
                </a:cxn>
                <a:cxn ang="0">
                  <a:pos x="334" y="130"/>
                </a:cxn>
                <a:cxn ang="0">
                  <a:pos x="326" y="124"/>
                </a:cxn>
                <a:cxn ang="0">
                  <a:pos x="314" y="126"/>
                </a:cxn>
                <a:cxn ang="0">
                  <a:pos x="288" y="120"/>
                </a:cxn>
                <a:cxn ang="0">
                  <a:pos x="272" y="110"/>
                </a:cxn>
                <a:cxn ang="0">
                  <a:pos x="257" y="102"/>
                </a:cxn>
                <a:cxn ang="0">
                  <a:pos x="231" y="99"/>
                </a:cxn>
                <a:cxn ang="0">
                  <a:pos x="212" y="97"/>
                </a:cxn>
                <a:cxn ang="0">
                  <a:pos x="203" y="99"/>
                </a:cxn>
                <a:cxn ang="0">
                  <a:pos x="191" y="96"/>
                </a:cxn>
                <a:cxn ang="0">
                  <a:pos x="181" y="103"/>
                </a:cxn>
                <a:cxn ang="0">
                  <a:pos x="142" y="96"/>
                </a:cxn>
                <a:cxn ang="0">
                  <a:pos x="116" y="87"/>
                </a:cxn>
                <a:cxn ang="0">
                  <a:pos x="85" y="83"/>
                </a:cxn>
                <a:cxn ang="0">
                  <a:pos x="67" y="76"/>
                </a:cxn>
                <a:cxn ang="0">
                  <a:pos x="72" y="60"/>
                </a:cxn>
                <a:cxn ang="0">
                  <a:pos x="62" y="59"/>
                </a:cxn>
                <a:cxn ang="0">
                  <a:pos x="24" y="50"/>
                </a:cxn>
                <a:cxn ang="0">
                  <a:pos x="6" y="46"/>
                </a:cxn>
                <a:cxn ang="0">
                  <a:pos x="3" y="38"/>
                </a:cxn>
                <a:cxn ang="0">
                  <a:pos x="9" y="41"/>
                </a:cxn>
                <a:cxn ang="0">
                  <a:pos x="20" y="38"/>
                </a:cxn>
                <a:cxn ang="0">
                  <a:pos x="29" y="30"/>
                </a:cxn>
                <a:cxn ang="0">
                  <a:pos x="36" y="14"/>
                </a:cxn>
                <a:cxn ang="0">
                  <a:pos x="53" y="1"/>
                </a:cxn>
                <a:cxn ang="0">
                  <a:pos x="102" y="0"/>
                </a:cxn>
                <a:cxn ang="0">
                  <a:pos x="119" y="7"/>
                </a:cxn>
                <a:cxn ang="0">
                  <a:pos x="132" y="16"/>
                </a:cxn>
                <a:cxn ang="0">
                  <a:pos x="154" y="18"/>
                </a:cxn>
                <a:cxn ang="0">
                  <a:pos x="177" y="33"/>
                </a:cxn>
                <a:cxn ang="0">
                  <a:pos x="196" y="49"/>
                </a:cxn>
                <a:cxn ang="0">
                  <a:pos x="228" y="49"/>
                </a:cxn>
                <a:cxn ang="0">
                  <a:pos x="261" y="53"/>
                </a:cxn>
                <a:cxn ang="0">
                  <a:pos x="279" y="56"/>
                </a:cxn>
                <a:cxn ang="0">
                  <a:pos x="295" y="39"/>
                </a:cxn>
                <a:cxn ang="0">
                  <a:pos x="304" y="25"/>
                </a:cxn>
                <a:cxn ang="0">
                  <a:pos x="317" y="35"/>
                </a:cxn>
                <a:cxn ang="0">
                  <a:pos x="333" y="41"/>
                </a:cxn>
                <a:cxn ang="0">
                  <a:pos x="347" y="40"/>
                </a:cxn>
                <a:cxn ang="0">
                  <a:pos x="358" y="45"/>
                </a:cxn>
                <a:cxn ang="0">
                  <a:pos x="373" y="51"/>
                </a:cxn>
                <a:cxn ang="0">
                  <a:pos x="397" y="55"/>
                </a:cxn>
                <a:cxn ang="0">
                  <a:pos x="412" y="75"/>
                </a:cxn>
                <a:cxn ang="0">
                  <a:pos x="424" y="96"/>
                </a:cxn>
                <a:cxn ang="0">
                  <a:pos x="456" y="97"/>
                </a:cxn>
                <a:cxn ang="0">
                  <a:pos x="481" y="94"/>
                </a:cxn>
                <a:cxn ang="0">
                  <a:pos x="499" y="103"/>
                </a:cxn>
                <a:cxn ang="0">
                  <a:pos x="497" y="136"/>
                </a:cxn>
                <a:cxn ang="0">
                  <a:pos x="503" y="148"/>
                </a:cxn>
                <a:cxn ang="0">
                  <a:pos x="502" y="156"/>
                </a:cxn>
                <a:cxn ang="0">
                  <a:pos x="462" y="141"/>
                </a:cxn>
                <a:cxn ang="0">
                  <a:pos x="433" y="130"/>
                </a:cxn>
                <a:cxn ang="0">
                  <a:pos x="392" y="136"/>
                </a:cxn>
                <a:cxn ang="0">
                  <a:pos x="374" y="129"/>
                </a:cxn>
              </a:cxnLst>
              <a:rect l="0" t="0" r="r" b="b"/>
              <a:pathLst>
                <a:path w="506" h="158">
                  <a:moveTo>
                    <a:pt x="374" y="129"/>
                  </a:moveTo>
                  <a:lnTo>
                    <a:pt x="364" y="129"/>
                  </a:lnTo>
                  <a:lnTo>
                    <a:pt x="353" y="135"/>
                  </a:lnTo>
                  <a:lnTo>
                    <a:pt x="334" y="130"/>
                  </a:lnTo>
                  <a:lnTo>
                    <a:pt x="330" y="127"/>
                  </a:lnTo>
                  <a:lnTo>
                    <a:pt x="326" y="124"/>
                  </a:lnTo>
                  <a:lnTo>
                    <a:pt x="323" y="126"/>
                  </a:lnTo>
                  <a:lnTo>
                    <a:pt x="314" y="126"/>
                  </a:lnTo>
                  <a:lnTo>
                    <a:pt x="304" y="125"/>
                  </a:lnTo>
                  <a:lnTo>
                    <a:pt x="288" y="120"/>
                  </a:lnTo>
                  <a:lnTo>
                    <a:pt x="279" y="115"/>
                  </a:lnTo>
                  <a:lnTo>
                    <a:pt x="272" y="110"/>
                  </a:lnTo>
                  <a:lnTo>
                    <a:pt x="266" y="105"/>
                  </a:lnTo>
                  <a:lnTo>
                    <a:pt x="257" y="102"/>
                  </a:lnTo>
                  <a:lnTo>
                    <a:pt x="242" y="99"/>
                  </a:lnTo>
                  <a:lnTo>
                    <a:pt x="231" y="99"/>
                  </a:lnTo>
                  <a:lnTo>
                    <a:pt x="217" y="96"/>
                  </a:lnTo>
                  <a:lnTo>
                    <a:pt x="212" y="97"/>
                  </a:lnTo>
                  <a:lnTo>
                    <a:pt x="208" y="99"/>
                  </a:lnTo>
                  <a:lnTo>
                    <a:pt x="203" y="99"/>
                  </a:lnTo>
                  <a:lnTo>
                    <a:pt x="201" y="96"/>
                  </a:lnTo>
                  <a:lnTo>
                    <a:pt x="191" y="96"/>
                  </a:lnTo>
                  <a:lnTo>
                    <a:pt x="186" y="100"/>
                  </a:lnTo>
                  <a:lnTo>
                    <a:pt x="181" y="103"/>
                  </a:lnTo>
                  <a:lnTo>
                    <a:pt x="177" y="103"/>
                  </a:lnTo>
                  <a:lnTo>
                    <a:pt x="142" y="96"/>
                  </a:lnTo>
                  <a:lnTo>
                    <a:pt x="129" y="89"/>
                  </a:lnTo>
                  <a:lnTo>
                    <a:pt x="116" y="87"/>
                  </a:lnTo>
                  <a:lnTo>
                    <a:pt x="95" y="86"/>
                  </a:lnTo>
                  <a:lnTo>
                    <a:pt x="85" y="83"/>
                  </a:lnTo>
                  <a:lnTo>
                    <a:pt x="79" y="80"/>
                  </a:lnTo>
                  <a:lnTo>
                    <a:pt x="67" y="76"/>
                  </a:lnTo>
                  <a:lnTo>
                    <a:pt x="63" y="72"/>
                  </a:lnTo>
                  <a:lnTo>
                    <a:pt x="72" y="60"/>
                  </a:lnTo>
                  <a:lnTo>
                    <a:pt x="70" y="59"/>
                  </a:lnTo>
                  <a:lnTo>
                    <a:pt x="62" y="59"/>
                  </a:lnTo>
                  <a:lnTo>
                    <a:pt x="42" y="50"/>
                  </a:lnTo>
                  <a:lnTo>
                    <a:pt x="24" y="50"/>
                  </a:lnTo>
                  <a:lnTo>
                    <a:pt x="18" y="48"/>
                  </a:lnTo>
                  <a:lnTo>
                    <a:pt x="6" y="46"/>
                  </a:lnTo>
                  <a:lnTo>
                    <a:pt x="0" y="40"/>
                  </a:lnTo>
                  <a:lnTo>
                    <a:pt x="3" y="38"/>
                  </a:lnTo>
                  <a:lnTo>
                    <a:pt x="5" y="39"/>
                  </a:lnTo>
                  <a:lnTo>
                    <a:pt x="9" y="41"/>
                  </a:lnTo>
                  <a:lnTo>
                    <a:pt x="15" y="41"/>
                  </a:lnTo>
                  <a:lnTo>
                    <a:pt x="20" y="38"/>
                  </a:lnTo>
                  <a:lnTo>
                    <a:pt x="24" y="30"/>
                  </a:lnTo>
                  <a:lnTo>
                    <a:pt x="29" y="30"/>
                  </a:lnTo>
                  <a:lnTo>
                    <a:pt x="33" y="23"/>
                  </a:lnTo>
                  <a:lnTo>
                    <a:pt x="36" y="14"/>
                  </a:lnTo>
                  <a:lnTo>
                    <a:pt x="41" y="5"/>
                  </a:lnTo>
                  <a:lnTo>
                    <a:pt x="53" y="1"/>
                  </a:lnTo>
                  <a:lnTo>
                    <a:pt x="89" y="7"/>
                  </a:lnTo>
                  <a:lnTo>
                    <a:pt x="102" y="0"/>
                  </a:lnTo>
                  <a:lnTo>
                    <a:pt x="113" y="0"/>
                  </a:lnTo>
                  <a:lnTo>
                    <a:pt x="119" y="7"/>
                  </a:lnTo>
                  <a:lnTo>
                    <a:pt x="122" y="14"/>
                  </a:lnTo>
                  <a:lnTo>
                    <a:pt x="132" y="16"/>
                  </a:lnTo>
                  <a:lnTo>
                    <a:pt x="140" y="14"/>
                  </a:lnTo>
                  <a:lnTo>
                    <a:pt x="154" y="18"/>
                  </a:lnTo>
                  <a:lnTo>
                    <a:pt x="164" y="19"/>
                  </a:lnTo>
                  <a:lnTo>
                    <a:pt x="177" y="33"/>
                  </a:lnTo>
                  <a:lnTo>
                    <a:pt x="186" y="46"/>
                  </a:lnTo>
                  <a:lnTo>
                    <a:pt x="196" y="49"/>
                  </a:lnTo>
                  <a:lnTo>
                    <a:pt x="207" y="48"/>
                  </a:lnTo>
                  <a:lnTo>
                    <a:pt x="228" y="49"/>
                  </a:lnTo>
                  <a:lnTo>
                    <a:pt x="234" y="48"/>
                  </a:lnTo>
                  <a:lnTo>
                    <a:pt x="261" y="53"/>
                  </a:lnTo>
                  <a:lnTo>
                    <a:pt x="271" y="54"/>
                  </a:lnTo>
                  <a:lnTo>
                    <a:pt x="279" y="56"/>
                  </a:lnTo>
                  <a:lnTo>
                    <a:pt x="287" y="54"/>
                  </a:lnTo>
                  <a:lnTo>
                    <a:pt x="295" y="39"/>
                  </a:lnTo>
                  <a:lnTo>
                    <a:pt x="296" y="32"/>
                  </a:lnTo>
                  <a:lnTo>
                    <a:pt x="304" y="25"/>
                  </a:lnTo>
                  <a:lnTo>
                    <a:pt x="311" y="27"/>
                  </a:lnTo>
                  <a:lnTo>
                    <a:pt x="317" y="35"/>
                  </a:lnTo>
                  <a:lnTo>
                    <a:pt x="323" y="41"/>
                  </a:lnTo>
                  <a:lnTo>
                    <a:pt x="333" y="41"/>
                  </a:lnTo>
                  <a:lnTo>
                    <a:pt x="342" y="37"/>
                  </a:lnTo>
                  <a:lnTo>
                    <a:pt x="347" y="40"/>
                  </a:lnTo>
                  <a:lnTo>
                    <a:pt x="353" y="41"/>
                  </a:lnTo>
                  <a:lnTo>
                    <a:pt x="358" y="45"/>
                  </a:lnTo>
                  <a:lnTo>
                    <a:pt x="365" y="46"/>
                  </a:lnTo>
                  <a:lnTo>
                    <a:pt x="373" y="51"/>
                  </a:lnTo>
                  <a:lnTo>
                    <a:pt x="390" y="50"/>
                  </a:lnTo>
                  <a:lnTo>
                    <a:pt x="397" y="55"/>
                  </a:lnTo>
                  <a:lnTo>
                    <a:pt x="404" y="70"/>
                  </a:lnTo>
                  <a:lnTo>
                    <a:pt x="412" y="75"/>
                  </a:lnTo>
                  <a:lnTo>
                    <a:pt x="414" y="91"/>
                  </a:lnTo>
                  <a:lnTo>
                    <a:pt x="424" y="96"/>
                  </a:lnTo>
                  <a:lnTo>
                    <a:pt x="435" y="99"/>
                  </a:lnTo>
                  <a:lnTo>
                    <a:pt x="456" y="97"/>
                  </a:lnTo>
                  <a:lnTo>
                    <a:pt x="467" y="97"/>
                  </a:lnTo>
                  <a:lnTo>
                    <a:pt x="481" y="94"/>
                  </a:lnTo>
                  <a:lnTo>
                    <a:pt x="492" y="97"/>
                  </a:lnTo>
                  <a:lnTo>
                    <a:pt x="499" y="103"/>
                  </a:lnTo>
                  <a:lnTo>
                    <a:pt x="500" y="116"/>
                  </a:lnTo>
                  <a:lnTo>
                    <a:pt x="497" y="136"/>
                  </a:lnTo>
                  <a:lnTo>
                    <a:pt x="499" y="143"/>
                  </a:lnTo>
                  <a:lnTo>
                    <a:pt x="503" y="148"/>
                  </a:lnTo>
                  <a:lnTo>
                    <a:pt x="506" y="158"/>
                  </a:lnTo>
                  <a:lnTo>
                    <a:pt x="502" y="156"/>
                  </a:lnTo>
                  <a:lnTo>
                    <a:pt x="495" y="150"/>
                  </a:lnTo>
                  <a:lnTo>
                    <a:pt x="462" y="141"/>
                  </a:lnTo>
                  <a:lnTo>
                    <a:pt x="446" y="135"/>
                  </a:lnTo>
                  <a:lnTo>
                    <a:pt x="433" y="130"/>
                  </a:lnTo>
                  <a:lnTo>
                    <a:pt x="406" y="138"/>
                  </a:lnTo>
                  <a:lnTo>
                    <a:pt x="392" y="136"/>
                  </a:lnTo>
                  <a:lnTo>
                    <a:pt x="381" y="131"/>
                  </a:lnTo>
                  <a:lnTo>
                    <a:pt x="374" y="12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66" name="Indonesia"/>
            <p:cNvSpPr>
              <a:spLocks noChangeAspect="1"/>
            </p:cNvSpPr>
            <p:nvPr>
              <p:custDataLst>
                <p:tags r:id="rId65"/>
              </p:custDataLst>
            </p:nvPr>
          </p:nvSpPr>
          <p:spPr bwMode="gray">
            <a:xfrm>
              <a:off x="7250698" y="4517376"/>
              <a:ext cx="255125" cy="217676"/>
            </a:xfrm>
            <a:custGeom>
              <a:avLst/>
              <a:gdLst/>
              <a:ahLst/>
              <a:cxnLst>
                <a:cxn ang="0">
                  <a:pos x="474" y="15"/>
                </a:cxn>
                <a:cxn ang="0">
                  <a:pos x="471" y="22"/>
                </a:cxn>
                <a:cxn ang="0">
                  <a:pos x="485" y="38"/>
                </a:cxn>
                <a:cxn ang="0">
                  <a:pos x="470" y="42"/>
                </a:cxn>
                <a:cxn ang="0">
                  <a:pos x="460" y="57"/>
                </a:cxn>
                <a:cxn ang="0">
                  <a:pos x="461" y="67"/>
                </a:cxn>
                <a:cxn ang="0">
                  <a:pos x="475" y="80"/>
                </a:cxn>
                <a:cxn ang="0">
                  <a:pos x="493" y="121"/>
                </a:cxn>
                <a:cxn ang="0">
                  <a:pos x="490" y="132"/>
                </a:cxn>
                <a:cxn ang="0">
                  <a:pos x="547" y="186"/>
                </a:cxn>
                <a:cxn ang="0">
                  <a:pos x="519" y="194"/>
                </a:cxn>
                <a:cxn ang="0">
                  <a:pos x="495" y="186"/>
                </a:cxn>
                <a:cxn ang="0">
                  <a:pos x="486" y="202"/>
                </a:cxn>
                <a:cxn ang="0">
                  <a:pos x="471" y="228"/>
                </a:cxn>
                <a:cxn ang="0">
                  <a:pos x="468" y="266"/>
                </a:cxn>
                <a:cxn ang="0">
                  <a:pos x="438" y="311"/>
                </a:cxn>
                <a:cxn ang="0">
                  <a:pos x="402" y="336"/>
                </a:cxn>
                <a:cxn ang="0">
                  <a:pos x="411" y="350"/>
                </a:cxn>
                <a:cxn ang="0">
                  <a:pos x="417" y="381"/>
                </a:cxn>
                <a:cxn ang="0">
                  <a:pos x="407" y="393"/>
                </a:cxn>
                <a:cxn ang="0">
                  <a:pos x="398" y="407"/>
                </a:cxn>
                <a:cxn ang="0">
                  <a:pos x="394" y="417"/>
                </a:cxn>
                <a:cxn ang="0">
                  <a:pos x="374" y="441"/>
                </a:cxn>
                <a:cxn ang="0">
                  <a:pos x="324" y="465"/>
                </a:cxn>
                <a:cxn ang="0">
                  <a:pos x="308" y="433"/>
                </a:cxn>
                <a:cxn ang="0">
                  <a:pos x="293" y="423"/>
                </a:cxn>
                <a:cxn ang="0">
                  <a:pos x="262" y="428"/>
                </a:cxn>
                <a:cxn ang="0">
                  <a:pos x="240" y="414"/>
                </a:cxn>
                <a:cxn ang="0">
                  <a:pos x="221" y="408"/>
                </a:cxn>
                <a:cxn ang="0">
                  <a:pos x="201" y="424"/>
                </a:cxn>
                <a:cxn ang="0">
                  <a:pos x="174" y="427"/>
                </a:cxn>
                <a:cxn ang="0">
                  <a:pos x="160" y="430"/>
                </a:cxn>
                <a:cxn ang="0">
                  <a:pos x="146" y="398"/>
                </a:cxn>
                <a:cxn ang="0">
                  <a:pos x="129" y="398"/>
                </a:cxn>
                <a:cxn ang="0">
                  <a:pos x="110" y="406"/>
                </a:cxn>
                <a:cxn ang="0">
                  <a:pos x="84" y="397"/>
                </a:cxn>
                <a:cxn ang="0">
                  <a:pos x="70" y="387"/>
                </a:cxn>
                <a:cxn ang="0">
                  <a:pos x="62" y="353"/>
                </a:cxn>
                <a:cxn ang="0">
                  <a:pos x="59" y="333"/>
                </a:cxn>
                <a:cxn ang="0">
                  <a:pos x="55" y="305"/>
                </a:cxn>
                <a:cxn ang="0">
                  <a:pos x="39" y="278"/>
                </a:cxn>
                <a:cxn ang="0">
                  <a:pos x="18" y="268"/>
                </a:cxn>
                <a:cxn ang="0">
                  <a:pos x="11" y="233"/>
                </a:cxn>
                <a:cxn ang="0">
                  <a:pos x="1" y="214"/>
                </a:cxn>
                <a:cxn ang="0">
                  <a:pos x="7" y="163"/>
                </a:cxn>
                <a:cxn ang="0">
                  <a:pos x="25" y="134"/>
                </a:cxn>
                <a:cxn ang="0">
                  <a:pos x="60" y="174"/>
                </a:cxn>
                <a:cxn ang="0">
                  <a:pos x="99" y="185"/>
                </a:cxn>
                <a:cxn ang="0">
                  <a:pos x="129" y="186"/>
                </a:cxn>
                <a:cxn ang="0">
                  <a:pos x="156" y="183"/>
                </a:cxn>
                <a:cxn ang="0">
                  <a:pos x="184" y="155"/>
                </a:cxn>
                <a:cxn ang="0">
                  <a:pos x="217" y="166"/>
                </a:cxn>
                <a:cxn ang="0">
                  <a:pos x="253" y="174"/>
                </a:cxn>
                <a:cxn ang="0">
                  <a:pos x="285" y="163"/>
                </a:cxn>
                <a:cxn ang="0">
                  <a:pos x="308" y="147"/>
                </a:cxn>
                <a:cxn ang="0">
                  <a:pos x="330" y="90"/>
                </a:cxn>
                <a:cxn ang="0">
                  <a:pos x="363" y="27"/>
                </a:cxn>
                <a:cxn ang="0">
                  <a:pos x="394" y="0"/>
                </a:cxn>
                <a:cxn ang="0">
                  <a:pos x="468" y="11"/>
                </a:cxn>
              </a:cxnLst>
              <a:rect l="0" t="0" r="r" b="b"/>
              <a:pathLst>
                <a:path w="547" h="467">
                  <a:moveTo>
                    <a:pt x="472" y="11"/>
                  </a:moveTo>
                  <a:lnTo>
                    <a:pt x="475" y="13"/>
                  </a:lnTo>
                  <a:lnTo>
                    <a:pt x="474" y="15"/>
                  </a:lnTo>
                  <a:lnTo>
                    <a:pt x="469" y="18"/>
                  </a:lnTo>
                  <a:lnTo>
                    <a:pt x="464" y="19"/>
                  </a:lnTo>
                  <a:lnTo>
                    <a:pt x="471" y="22"/>
                  </a:lnTo>
                  <a:lnTo>
                    <a:pt x="477" y="27"/>
                  </a:lnTo>
                  <a:lnTo>
                    <a:pt x="485" y="30"/>
                  </a:lnTo>
                  <a:lnTo>
                    <a:pt x="485" y="38"/>
                  </a:lnTo>
                  <a:lnTo>
                    <a:pt x="479" y="41"/>
                  </a:lnTo>
                  <a:lnTo>
                    <a:pt x="471" y="40"/>
                  </a:lnTo>
                  <a:lnTo>
                    <a:pt x="470" y="42"/>
                  </a:lnTo>
                  <a:lnTo>
                    <a:pt x="457" y="43"/>
                  </a:lnTo>
                  <a:lnTo>
                    <a:pt x="453" y="47"/>
                  </a:lnTo>
                  <a:lnTo>
                    <a:pt x="460" y="57"/>
                  </a:lnTo>
                  <a:lnTo>
                    <a:pt x="464" y="59"/>
                  </a:lnTo>
                  <a:lnTo>
                    <a:pt x="465" y="63"/>
                  </a:lnTo>
                  <a:lnTo>
                    <a:pt x="461" y="67"/>
                  </a:lnTo>
                  <a:lnTo>
                    <a:pt x="464" y="70"/>
                  </a:lnTo>
                  <a:lnTo>
                    <a:pt x="470" y="75"/>
                  </a:lnTo>
                  <a:lnTo>
                    <a:pt x="475" y="80"/>
                  </a:lnTo>
                  <a:lnTo>
                    <a:pt x="479" y="88"/>
                  </a:lnTo>
                  <a:lnTo>
                    <a:pt x="496" y="116"/>
                  </a:lnTo>
                  <a:lnTo>
                    <a:pt x="493" y="121"/>
                  </a:lnTo>
                  <a:lnTo>
                    <a:pt x="492" y="124"/>
                  </a:lnTo>
                  <a:lnTo>
                    <a:pt x="490" y="127"/>
                  </a:lnTo>
                  <a:lnTo>
                    <a:pt x="490" y="132"/>
                  </a:lnTo>
                  <a:lnTo>
                    <a:pt x="491" y="137"/>
                  </a:lnTo>
                  <a:lnTo>
                    <a:pt x="541" y="180"/>
                  </a:lnTo>
                  <a:lnTo>
                    <a:pt x="547" y="186"/>
                  </a:lnTo>
                  <a:lnTo>
                    <a:pt x="547" y="191"/>
                  </a:lnTo>
                  <a:lnTo>
                    <a:pt x="538" y="193"/>
                  </a:lnTo>
                  <a:lnTo>
                    <a:pt x="519" y="194"/>
                  </a:lnTo>
                  <a:lnTo>
                    <a:pt x="504" y="191"/>
                  </a:lnTo>
                  <a:lnTo>
                    <a:pt x="496" y="181"/>
                  </a:lnTo>
                  <a:lnTo>
                    <a:pt x="495" y="186"/>
                  </a:lnTo>
                  <a:lnTo>
                    <a:pt x="497" y="194"/>
                  </a:lnTo>
                  <a:lnTo>
                    <a:pt x="496" y="197"/>
                  </a:lnTo>
                  <a:lnTo>
                    <a:pt x="486" y="202"/>
                  </a:lnTo>
                  <a:lnTo>
                    <a:pt x="479" y="212"/>
                  </a:lnTo>
                  <a:lnTo>
                    <a:pt x="474" y="219"/>
                  </a:lnTo>
                  <a:lnTo>
                    <a:pt x="471" y="228"/>
                  </a:lnTo>
                  <a:lnTo>
                    <a:pt x="471" y="240"/>
                  </a:lnTo>
                  <a:lnTo>
                    <a:pt x="468" y="248"/>
                  </a:lnTo>
                  <a:lnTo>
                    <a:pt x="468" y="266"/>
                  </a:lnTo>
                  <a:lnTo>
                    <a:pt x="460" y="276"/>
                  </a:lnTo>
                  <a:lnTo>
                    <a:pt x="447" y="304"/>
                  </a:lnTo>
                  <a:lnTo>
                    <a:pt x="438" y="311"/>
                  </a:lnTo>
                  <a:lnTo>
                    <a:pt x="433" y="309"/>
                  </a:lnTo>
                  <a:lnTo>
                    <a:pt x="427" y="316"/>
                  </a:lnTo>
                  <a:lnTo>
                    <a:pt x="402" y="336"/>
                  </a:lnTo>
                  <a:lnTo>
                    <a:pt x="404" y="339"/>
                  </a:lnTo>
                  <a:lnTo>
                    <a:pt x="410" y="341"/>
                  </a:lnTo>
                  <a:lnTo>
                    <a:pt x="411" y="350"/>
                  </a:lnTo>
                  <a:lnTo>
                    <a:pt x="411" y="358"/>
                  </a:lnTo>
                  <a:lnTo>
                    <a:pt x="422" y="363"/>
                  </a:lnTo>
                  <a:lnTo>
                    <a:pt x="417" y="381"/>
                  </a:lnTo>
                  <a:lnTo>
                    <a:pt x="411" y="377"/>
                  </a:lnTo>
                  <a:lnTo>
                    <a:pt x="409" y="381"/>
                  </a:lnTo>
                  <a:lnTo>
                    <a:pt x="407" y="393"/>
                  </a:lnTo>
                  <a:lnTo>
                    <a:pt x="404" y="401"/>
                  </a:lnTo>
                  <a:lnTo>
                    <a:pt x="399" y="402"/>
                  </a:lnTo>
                  <a:lnTo>
                    <a:pt x="398" y="407"/>
                  </a:lnTo>
                  <a:lnTo>
                    <a:pt x="398" y="412"/>
                  </a:lnTo>
                  <a:lnTo>
                    <a:pt x="396" y="416"/>
                  </a:lnTo>
                  <a:lnTo>
                    <a:pt x="394" y="417"/>
                  </a:lnTo>
                  <a:lnTo>
                    <a:pt x="390" y="420"/>
                  </a:lnTo>
                  <a:lnTo>
                    <a:pt x="387" y="433"/>
                  </a:lnTo>
                  <a:lnTo>
                    <a:pt x="374" y="441"/>
                  </a:lnTo>
                  <a:lnTo>
                    <a:pt x="371" y="441"/>
                  </a:lnTo>
                  <a:lnTo>
                    <a:pt x="361" y="447"/>
                  </a:lnTo>
                  <a:lnTo>
                    <a:pt x="324" y="465"/>
                  </a:lnTo>
                  <a:lnTo>
                    <a:pt x="315" y="467"/>
                  </a:lnTo>
                  <a:lnTo>
                    <a:pt x="310" y="443"/>
                  </a:lnTo>
                  <a:lnTo>
                    <a:pt x="308" y="433"/>
                  </a:lnTo>
                  <a:lnTo>
                    <a:pt x="304" y="430"/>
                  </a:lnTo>
                  <a:lnTo>
                    <a:pt x="301" y="430"/>
                  </a:lnTo>
                  <a:lnTo>
                    <a:pt x="293" y="423"/>
                  </a:lnTo>
                  <a:lnTo>
                    <a:pt x="280" y="423"/>
                  </a:lnTo>
                  <a:lnTo>
                    <a:pt x="271" y="427"/>
                  </a:lnTo>
                  <a:lnTo>
                    <a:pt x="262" y="428"/>
                  </a:lnTo>
                  <a:lnTo>
                    <a:pt x="260" y="423"/>
                  </a:lnTo>
                  <a:lnTo>
                    <a:pt x="259" y="414"/>
                  </a:lnTo>
                  <a:lnTo>
                    <a:pt x="240" y="414"/>
                  </a:lnTo>
                  <a:lnTo>
                    <a:pt x="229" y="407"/>
                  </a:lnTo>
                  <a:lnTo>
                    <a:pt x="223" y="404"/>
                  </a:lnTo>
                  <a:lnTo>
                    <a:pt x="221" y="408"/>
                  </a:lnTo>
                  <a:lnTo>
                    <a:pt x="222" y="413"/>
                  </a:lnTo>
                  <a:lnTo>
                    <a:pt x="213" y="419"/>
                  </a:lnTo>
                  <a:lnTo>
                    <a:pt x="201" y="424"/>
                  </a:lnTo>
                  <a:lnTo>
                    <a:pt x="194" y="425"/>
                  </a:lnTo>
                  <a:lnTo>
                    <a:pt x="183" y="423"/>
                  </a:lnTo>
                  <a:lnTo>
                    <a:pt x="174" y="427"/>
                  </a:lnTo>
                  <a:lnTo>
                    <a:pt x="168" y="428"/>
                  </a:lnTo>
                  <a:lnTo>
                    <a:pt x="163" y="430"/>
                  </a:lnTo>
                  <a:lnTo>
                    <a:pt x="160" y="430"/>
                  </a:lnTo>
                  <a:lnTo>
                    <a:pt x="158" y="412"/>
                  </a:lnTo>
                  <a:lnTo>
                    <a:pt x="151" y="391"/>
                  </a:lnTo>
                  <a:lnTo>
                    <a:pt x="146" y="398"/>
                  </a:lnTo>
                  <a:lnTo>
                    <a:pt x="143" y="401"/>
                  </a:lnTo>
                  <a:lnTo>
                    <a:pt x="133" y="397"/>
                  </a:lnTo>
                  <a:lnTo>
                    <a:pt x="129" y="398"/>
                  </a:lnTo>
                  <a:lnTo>
                    <a:pt x="124" y="403"/>
                  </a:lnTo>
                  <a:lnTo>
                    <a:pt x="119" y="404"/>
                  </a:lnTo>
                  <a:lnTo>
                    <a:pt x="110" y="406"/>
                  </a:lnTo>
                  <a:lnTo>
                    <a:pt x="104" y="403"/>
                  </a:lnTo>
                  <a:lnTo>
                    <a:pt x="94" y="404"/>
                  </a:lnTo>
                  <a:lnTo>
                    <a:pt x="84" y="397"/>
                  </a:lnTo>
                  <a:lnTo>
                    <a:pt x="81" y="400"/>
                  </a:lnTo>
                  <a:lnTo>
                    <a:pt x="73" y="401"/>
                  </a:lnTo>
                  <a:lnTo>
                    <a:pt x="70" y="387"/>
                  </a:lnTo>
                  <a:lnTo>
                    <a:pt x="71" y="377"/>
                  </a:lnTo>
                  <a:lnTo>
                    <a:pt x="67" y="373"/>
                  </a:lnTo>
                  <a:lnTo>
                    <a:pt x="62" y="353"/>
                  </a:lnTo>
                  <a:lnTo>
                    <a:pt x="56" y="341"/>
                  </a:lnTo>
                  <a:lnTo>
                    <a:pt x="56" y="336"/>
                  </a:lnTo>
                  <a:lnTo>
                    <a:pt x="59" y="333"/>
                  </a:lnTo>
                  <a:lnTo>
                    <a:pt x="60" y="325"/>
                  </a:lnTo>
                  <a:lnTo>
                    <a:pt x="57" y="314"/>
                  </a:lnTo>
                  <a:lnTo>
                    <a:pt x="55" y="305"/>
                  </a:lnTo>
                  <a:lnTo>
                    <a:pt x="45" y="288"/>
                  </a:lnTo>
                  <a:lnTo>
                    <a:pt x="43" y="283"/>
                  </a:lnTo>
                  <a:lnTo>
                    <a:pt x="39" y="278"/>
                  </a:lnTo>
                  <a:lnTo>
                    <a:pt x="29" y="274"/>
                  </a:lnTo>
                  <a:lnTo>
                    <a:pt x="23" y="268"/>
                  </a:lnTo>
                  <a:lnTo>
                    <a:pt x="18" y="268"/>
                  </a:lnTo>
                  <a:lnTo>
                    <a:pt x="13" y="264"/>
                  </a:lnTo>
                  <a:lnTo>
                    <a:pt x="12" y="253"/>
                  </a:lnTo>
                  <a:lnTo>
                    <a:pt x="11" y="233"/>
                  </a:lnTo>
                  <a:lnTo>
                    <a:pt x="6" y="223"/>
                  </a:lnTo>
                  <a:lnTo>
                    <a:pt x="2" y="219"/>
                  </a:lnTo>
                  <a:lnTo>
                    <a:pt x="1" y="214"/>
                  </a:lnTo>
                  <a:lnTo>
                    <a:pt x="0" y="196"/>
                  </a:lnTo>
                  <a:lnTo>
                    <a:pt x="1" y="182"/>
                  </a:lnTo>
                  <a:lnTo>
                    <a:pt x="7" y="163"/>
                  </a:lnTo>
                  <a:lnTo>
                    <a:pt x="12" y="154"/>
                  </a:lnTo>
                  <a:lnTo>
                    <a:pt x="19" y="145"/>
                  </a:lnTo>
                  <a:lnTo>
                    <a:pt x="25" y="134"/>
                  </a:lnTo>
                  <a:lnTo>
                    <a:pt x="33" y="129"/>
                  </a:lnTo>
                  <a:lnTo>
                    <a:pt x="33" y="134"/>
                  </a:lnTo>
                  <a:lnTo>
                    <a:pt x="60" y="174"/>
                  </a:lnTo>
                  <a:lnTo>
                    <a:pt x="73" y="185"/>
                  </a:lnTo>
                  <a:lnTo>
                    <a:pt x="87" y="188"/>
                  </a:lnTo>
                  <a:lnTo>
                    <a:pt x="99" y="185"/>
                  </a:lnTo>
                  <a:lnTo>
                    <a:pt x="110" y="183"/>
                  </a:lnTo>
                  <a:lnTo>
                    <a:pt x="120" y="190"/>
                  </a:lnTo>
                  <a:lnTo>
                    <a:pt x="129" y="186"/>
                  </a:lnTo>
                  <a:lnTo>
                    <a:pt x="138" y="186"/>
                  </a:lnTo>
                  <a:lnTo>
                    <a:pt x="148" y="187"/>
                  </a:lnTo>
                  <a:lnTo>
                    <a:pt x="156" y="183"/>
                  </a:lnTo>
                  <a:lnTo>
                    <a:pt x="172" y="165"/>
                  </a:lnTo>
                  <a:lnTo>
                    <a:pt x="179" y="156"/>
                  </a:lnTo>
                  <a:lnTo>
                    <a:pt x="184" y="155"/>
                  </a:lnTo>
                  <a:lnTo>
                    <a:pt x="211" y="156"/>
                  </a:lnTo>
                  <a:lnTo>
                    <a:pt x="216" y="159"/>
                  </a:lnTo>
                  <a:lnTo>
                    <a:pt x="217" y="166"/>
                  </a:lnTo>
                  <a:lnTo>
                    <a:pt x="222" y="166"/>
                  </a:lnTo>
                  <a:lnTo>
                    <a:pt x="243" y="174"/>
                  </a:lnTo>
                  <a:lnTo>
                    <a:pt x="253" y="174"/>
                  </a:lnTo>
                  <a:lnTo>
                    <a:pt x="264" y="167"/>
                  </a:lnTo>
                  <a:lnTo>
                    <a:pt x="273" y="165"/>
                  </a:lnTo>
                  <a:lnTo>
                    <a:pt x="285" y="163"/>
                  </a:lnTo>
                  <a:lnTo>
                    <a:pt x="298" y="159"/>
                  </a:lnTo>
                  <a:lnTo>
                    <a:pt x="304" y="154"/>
                  </a:lnTo>
                  <a:lnTo>
                    <a:pt x="308" y="147"/>
                  </a:lnTo>
                  <a:lnTo>
                    <a:pt x="315" y="135"/>
                  </a:lnTo>
                  <a:lnTo>
                    <a:pt x="324" y="117"/>
                  </a:lnTo>
                  <a:lnTo>
                    <a:pt x="330" y="90"/>
                  </a:lnTo>
                  <a:lnTo>
                    <a:pt x="356" y="61"/>
                  </a:lnTo>
                  <a:lnTo>
                    <a:pt x="361" y="49"/>
                  </a:lnTo>
                  <a:lnTo>
                    <a:pt x="363" y="27"/>
                  </a:lnTo>
                  <a:lnTo>
                    <a:pt x="369" y="10"/>
                  </a:lnTo>
                  <a:lnTo>
                    <a:pt x="375" y="2"/>
                  </a:lnTo>
                  <a:lnTo>
                    <a:pt x="394" y="0"/>
                  </a:lnTo>
                  <a:lnTo>
                    <a:pt x="445" y="2"/>
                  </a:lnTo>
                  <a:lnTo>
                    <a:pt x="454" y="7"/>
                  </a:lnTo>
                  <a:lnTo>
                    <a:pt x="468" y="11"/>
                  </a:lnTo>
                  <a:lnTo>
                    <a:pt x="472" y="1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67" name="Papua New Guinea"/>
            <p:cNvSpPr>
              <a:spLocks noChangeAspect="1"/>
            </p:cNvSpPr>
            <p:nvPr>
              <p:custDataLst>
                <p:tags r:id="rId66"/>
              </p:custDataLst>
            </p:nvPr>
          </p:nvSpPr>
          <p:spPr bwMode="gray">
            <a:xfrm>
              <a:off x="8264178" y="4735052"/>
              <a:ext cx="102986" cy="56174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5" y="69"/>
                </a:cxn>
                <a:cxn ang="0">
                  <a:pos x="11" y="72"/>
                </a:cxn>
                <a:cxn ang="0">
                  <a:pos x="50" y="75"/>
                </a:cxn>
                <a:cxn ang="0">
                  <a:pos x="81" y="73"/>
                </a:cxn>
                <a:cxn ang="0">
                  <a:pos x="88" y="69"/>
                </a:cxn>
                <a:cxn ang="0">
                  <a:pos x="88" y="62"/>
                </a:cxn>
                <a:cxn ang="0">
                  <a:pos x="89" y="58"/>
                </a:cxn>
                <a:cxn ang="0">
                  <a:pos x="93" y="51"/>
                </a:cxn>
                <a:cxn ang="0">
                  <a:pos x="98" y="47"/>
                </a:cxn>
                <a:cxn ang="0">
                  <a:pos x="102" y="49"/>
                </a:cxn>
                <a:cxn ang="0">
                  <a:pos x="97" y="58"/>
                </a:cxn>
                <a:cxn ang="0">
                  <a:pos x="96" y="68"/>
                </a:cxn>
                <a:cxn ang="0">
                  <a:pos x="102" y="72"/>
                </a:cxn>
                <a:cxn ang="0">
                  <a:pos x="110" y="69"/>
                </a:cxn>
                <a:cxn ang="0">
                  <a:pos x="119" y="69"/>
                </a:cxn>
                <a:cxn ang="0">
                  <a:pos x="126" y="73"/>
                </a:cxn>
                <a:cxn ang="0">
                  <a:pos x="135" y="72"/>
                </a:cxn>
                <a:cxn ang="0">
                  <a:pos x="142" y="69"/>
                </a:cxn>
                <a:cxn ang="0">
                  <a:pos x="160" y="47"/>
                </a:cxn>
                <a:cxn ang="0">
                  <a:pos x="169" y="41"/>
                </a:cxn>
                <a:cxn ang="0">
                  <a:pos x="175" y="42"/>
                </a:cxn>
                <a:cxn ang="0">
                  <a:pos x="184" y="37"/>
                </a:cxn>
                <a:cxn ang="0">
                  <a:pos x="185" y="27"/>
                </a:cxn>
                <a:cxn ang="0">
                  <a:pos x="183" y="18"/>
                </a:cxn>
                <a:cxn ang="0">
                  <a:pos x="179" y="9"/>
                </a:cxn>
                <a:cxn ang="0">
                  <a:pos x="179" y="4"/>
                </a:cxn>
                <a:cxn ang="0">
                  <a:pos x="188" y="2"/>
                </a:cxn>
                <a:cxn ang="0">
                  <a:pos x="195" y="5"/>
                </a:cxn>
                <a:cxn ang="0">
                  <a:pos x="201" y="5"/>
                </a:cxn>
                <a:cxn ang="0">
                  <a:pos x="204" y="3"/>
                </a:cxn>
                <a:cxn ang="0">
                  <a:pos x="210" y="0"/>
                </a:cxn>
                <a:cxn ang="0">
                  <a:pos x="217" y="4"/>
                </a:cxn>
                <a:cxn ang="0">
                  <a:pos x="222" y="14"/>
                </a:cxn>
                <a:cxn ang="0">
                  <a:pos x="223" y="27"/>
                </a:cxn>
                <a:cxn ang="0">
                  <a:pos x="221" y="36"/>
                </a:cxn>
                <a:cxn ang="0">
                  <a:pos x="216" y="42"/>
                </a:cxn>
                <a:cxn ang="0">
                  <a:pos x="210" y="45"/>
                </a:cxn>
                <a:cxn ang="0">
                  <a:pos x="206" y="52"/>
                </a:cxn>
                <a:cxn ang="0">
                  <a:pos x="210" y="63"/>
                </a:cxn>
                <a:cxn ang="0">
                  <a:pos x="204" y="74"/>
                </a:cxn>
                <a:cxn ang="0">
                  <a:pos x="195" y="77"/>
                </a:cxn>
                <a:cxn ang="0">
                  <a:pos x="183" y="74"/>
                </a:cxn>
                <a:cxn ang="0">
                  <a:pos x="179" y="79"/>
                </a:cxn>
                <a:cxn ang="0">
                  <a:pos x="178" y="86"/>
                </a:cxn>
                <a:cxn ang="0">
                  <a:pos x="167" y="97"/>
                </a:cxn>
                <a:cxn ang="0">
                  <a:pos x="142" y="110"/>
                </a:cxn>
                <a:cxn ang="0">
                  <a:pos x="132" y="112"/>
                </a:cxn>
                <a:cxn ang="0">
                  <a:pos x="121" y="115"/>
                </a:cxn>
                <a:cxn ang="0">
                  <a:pos x="102" y="115"/>
                </a:cxn>
                <a:cxn ang="0">
                  <a:pos x="91" y="117"/>
                </a:cxn>
                <a:cxn ang="0">
                  <a:pos x="77" y="117"/>
                </a:cxn>
                <a:cxn ang="0">
                  <a:pos x="66" y="106"/>
                </a:cxn>
                <a:cxn ang="0">
                  <a:pos x="59" y="106"/>
                </a:cxn>
                <a:cxn ang="0">
                  <a:pos x="48" y="110"/>
                </a:cxn>
                <a:cxn ang="0">
                  <a:pos x="27" y="96"/>
                </a:cxn>
                <a:cxn ang="0">
                  <a:pos x="12" y="92"/>
                </a:cxn>
                <a:cxn ang="0">
                  <a:pos x="4" y="84"/>
                </a:cxn>
                <a:cxn ang="0">
                  <a:pos x="0" y="73"/>
                </a:cxn>
              </a:cxnLst>
              <a:rect l="0" t="0" r="r" b="b"/>
              <a:pathLst>
                <a:path w="223" h="117">
                  <a:moveTo>
                    <a:pt x="0" y="73"/>
                  </a:moveTo>
                  <a:lnTo>
                    <a:pt x="5" y="69"/>
                  </a:lnTo>
                  <a:lnTo>
                    <a:pt x="11" y="72"/>
                  </a:lnTo>
                  <a:lnTo>
                    <a:pt x="50" y="75"/>
                  </a:lnTo>
                  <a:lnTo>
                    <a:pt x="81" y="73"/>
                  </a:lnTo>
                  <a:lnTo>
                    <a:pt x="88" y="69"/>
                  </a:lnTo>
                  <a:lnTo>
                    <a:pt x="88" y="62"/>
                  </a:lnTo>
                  <a:lnTo>
                    <a:pt x="89" y="58"/>
                  </a:lnTo>
                  <a:lnTo>
                    <a:pt x="93" y="51"/>
                  </a:lnTo>
                  <a:lnTo>
                    <a:pt x="98" y="47"/>
                  </a:lnTo>
                  <a:lnTo>
                    <a:pt x="102" y="49"/>
                  </a:lnTo>
                  <a:lnTo>
                    <a:pt x="97" y="58"/>
                  </a:lnTo>
                  <a:lnTo>
                    <a:pt x="96" y="68"/>
                  </a:lnTo>
                  <a:lnTo>
                    <a:pt x="102" y="72"/>
                  </a:lnTo>
                  <a:lnTo>
                    <a:pt x="110" y="69"/>
                  </a:lnTo>
                  <a:lnTo>
                    <a:pt x="119" y="69"/>
                  </a:lnTo>
                  <a:lnTo>
                    <a:pt x="126" y="73"/>
                  </a:lnTo>
                  <a:lnTo>
                    <a:pt x="135" y="72"/>
                  </a:lnTo>
                  <a:lnTo>
                    <a:pt x="142" y="69"/>
                  </a:lnTo>
                  <a:lnTo>
                    <a:pt x="160" y="47"/>
                  </a:lnTo>
                  <a:lnTo>
                    <a:pt x="169" y="41"/>
                  </a:lnTo>
                  <a:lnTo>
                    <a:pt x="175" y="42"/>
                  </a:lnTo>
                  <a:lnTo>
                    <a:pt x="184" y="37"/>
                  </a:lnTo>
                  <a:lnTo>
                    <a:pt x="185" y="27"/>
                  </a:lnTo>
                  <a:lnTo>
                    <a:pt x="183" y="18"/>
                  </a:lnTo>
                  <a:lnTo>
                    <a:pt x="179" y="9"/>
                  </a:lnTo>
                  <a:lnTo>
                    <a:pt x="179" y="4"/>
                  </a:lnTo>
                  <a:lnTo>
                    <a:pt x="188" y="2"/>
                  </a:lnTo>
                  <a:lnTo>
                    <a:pt x="195" y="5"/>
                  </a:lnTo>
                  <a:lnTo>
                    <a:pt x="201" y="5"/>
                  </a:lnTo>
                  <a:lnTo>
                    <a:pt x="204" y="3"/>
                  </a:lnTo>
                  <a:lnTo>
                    <a:pt x="210" y="0"/>
                  </a:lnTo>
                  <a:lnTo>
                    <a:pt x="217" y="4"/>
                  </a:lnTo>
                  <a:lnTo>
                    <a:pt x="222" y="14"/>
                  </a:lnTo>
                  <a:lnTo>
                    <a:pt x="223" y="27"/>
                  </a:lnTo>
                  <a:lnTo>
                    <a:pt x="221" y="36"/>
                  </a:lnTo>
                  <a:lnTo>
                    <a:pt x="216" y="42"/>
                  </a:lnTo>
                  <a:lnTo>
                    <a:pt x="210" y="45"/>
                  </a:lnTo>
                  <a:lnTo>
                    <a:pt x="206" y="52"/>
                  </a:lnTo>
                  <a:lnTo>
                    <a:pt x="210" y="63"/>
                  </a:lnTo>
                  <a:lnTo>
                    <a:pt x="204" y="74"/>
                  </a:lnTo>
                  <a:lnTo>
                    <a:pt x="195" y="77"/>
                  </a:lnTo>
                  <a:lnTo>
                    <a:pt x="183" y="74"/>
                  </a:lnTo>
                  <a:lnTo>
                    <a:pt x="179" y="79"/>
                  </a:lnTo>
                  <a:lnTo>
                    <a:pt x="178" y="86"/>
                  </a:lnTo>
                  <a:lnTo>
                    <a:pt x="167" y="97"/>
                  </a:lnTo>
                  <a:lnTo>
                    <a:pt x="142" y="110"/>
                  </a:lnTo>
                  <a:lnTo>
                    <a:pt x="132" y="112"/>
                  </a:lnTo>
                  <a:lnTo>
                    <a:pt x="121" y="115"/>
                  </a:lnTo>
                  <a:lnTo>
                    <a:pt x="102" y="115"/>
                  </a:lnTo>
                  <a:lnTo>
                    <a:pt x="91" y="117"/>
                  </a:lnTo>
                  <a:lnTo>
                    <a:pt x="77" y="117"/>
                  </a:lnTo>
                  <a:lnTo>
                    <a:pt x="66" y="106"/>
                  </a:lnTo>
                  <a:lnTo>
                    <a:pt x="59" y="106"/>
                  </a:lnTo>
                  <a:lnTo>
                    <a:pt x="48" y="110"/>
                  </a:lnTo>
                  <a:lnTo>
                    <a:pt x="27" y="96"/>
                  </a:lnTo>
                  <a:lnTo>
                    <a:pt x="12" y="92"/>
                  </a:lnTo>
                  <a:lnTo>
                    <a:pt x="4" y="84"/>
                  </a:lnTo>
                  <a:lnTo>
                    <a:pt x="0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68" name="Papua New Guinea"/>
            <p:cNvSpPr>
              <a:spLocks noChangeAspect="1"/>
            </p:cNvSpPr>
            <p:nvPr>
              <p:custDataLst>
                <p:tags r:id="rId67"/>
              </p:custDataLst>
            </p:nvPr>
          </p:nvSpPr>
          <p:spPr bwMode="gray">
            <a:xfrm>
              <a:off x="8074590" y="4695262"/>
              <a:ext cx="255125" cy="208313"/>
            </a:xfrm>
            <a:custGeom>
              <a:avLst/>
              <a:gdLst/>
              <a:ahLst/>
              <a:cxnLst>
                <a:cxn ang="0">
                  <a:pos x="5" y="134"/>
                </a:cxn>
                <a:cxn ang="0">
                  <a:pos x="0" y="231"/>
                </a:cxn>
                <a:cxn ang="0">
                  <a:pos x="10" y="346"/>
                </a:cxn>
                <a:cxn ang="0">
                  <a:pos x="31" y="362"/>
                </a:cxn>
                <a:cxn ang="0">
                  <a:pos x="56" y="362"/>
                </a:cxn>
                <a:cxn ang="0">
                  <a:pos x="93" y="368"/>
                </a:cxn>
                <a:cxn ang="0">
                  <a:pos x="125" y="352"/>
                </a:cxn>
                <a:cxn ang="0">
                  <a:pos x="118" y="323"/>
                </a:cxn>
                <a:cxn ang="0">
                  <a:pos x="137" y="307"/>
                </a:cxn>
                <a:cxn ang="0">
                  <a:pos x="152" y="298"/>
                </a:cxn>
                <a:cxn ang="0">
                  <a:pos x="155" y="273"/>
                </a:cxn>
                <a:cxn ang="0">
                  <a:pos x="180" y="278"/>
                </a:cxn>
                <a:cxn ang="0">
                  <a:pos x="196" y="276"/>
                </a:cxn>
                <a:cxn ang="0">
                  <a:pos x="211" y="279"/>
                </a:cxn>
                <a:cxn ang="0">
                  <a:pos x="232" y="289"/>
                </a:cxn>
                <a:cxn ang="0">
                  <a:pos x="258" y="296"/>
                </a:cxn>
                <a:cxn ang="0">
                  <a:pos x="291" y="323"/>
                </a:cxn>
                <a:cxn ang="0">
                  <a:pos x="330" y="356"/>
                </a:cxn>
                <a:cxn ang="0">
                  <a:pos x="335" y="375"/>
                </a:cxn>
                <a:cxn ang="0">
                  <a:pos x="357" y="392"/>
                </a:cxn>
                <a:cxn ang="0">
                  <a:pos x="388" y="415"/>
                </a:cxn>
                <a:cxn ang="0">
                  <a:pos x="425" y="419"/>
                </a:cxn>
                <a:cxn ang="0">
                  <a:pos x="495" y="435"/>
                </a:cxn>
                <a:cxn ang="0">
                  <a:pos x="526" y="441"/>
                </a:cxn>
                <a:cxn ang="0">
                  <a:pos x="515" y="427"/>
                </a:cxn>
                <a:cxn ang="0">
                  <a:pos x="544" y="425"/>
                </a:cxn>
                <a:cxn ang="0">
                  <a:pos x="506" y="413"/>
                </a:cxn>
                <a:cxn ang="0">
                  <a:pos x="496" y="391"/>
                </a:cxn>
                <a:cxn ang="0">
                  <a:pos x="462" y="383"/>
                </a:cxn>
                <a:cxn ang="0">
                  <a:pos x="456" y="357"/>
                </a:cxn>
                <a:cxn ang="0">
                  <a:pos x="419" y="351"/>
                </a:cxn>
                <a:cxn ang="0">
                  <a:pos x="397" y="323"/>
                </a:cxn>
                <a:cxn ang="0">
                  <a:pos x="393" y="301"/>
                </a:cxn>
                <a:cxn ang="0">
                  <a:pos x="367" y="285"/>
                </a:cxn>
                <a:cxn ang="0">
                  <a:pos x="341" y="255"/>
                </a:cxn>
                <a:cxn ang="0">
                  <a:pos x="339" y="231"/>
                </a:cxn>
                <a:cxn ang="0">
                  <a:pos x="370" y="227"/>
                </a:cxn>
                <a:cxn ang="0">
                  <a:pos x="375" y="201"/>
                </a:cxn>
                <a:cxn ang="0">
                  <a:pos x="348" y="187"/>
                </a:cxn>
                <a:cxn ang="0">
                  <a:pos x="296" y="166"/>
                </a:cxn>
                <a:cxn ang="0">
                  <a:pos x="266" y="136"/>
                </a:cxn>
                <a:cxn ang="0">
                  <a:pos x="238" y="103"/>
                </a:cxn>
                <a:cxn ang="0">
                  <a:pos x="193" y="70"/>
                </a:cxn>
                <a:cxn ang="0">
                  <a:pos x="166" y="61"/>
                </a:cxn>
                <a:cxn ang="0">
                  <a:pos x="92" y="36"/>
                </a:cxn>
                <a:cxn ang="0">
                  <a:pos x="42" y="16"/>
                </a:cxn>
                <a:cxn ang="0">
                  <a:pos x="1" y="0"/>
                </a:cxn>
              </a:cxnLst>
              <a:rect l="0" t="0" r="r" b="b"/>
              <a:pathLst>
                <a:path w="544" h="446">
                  <a:moveTo>
                    <a:pt x="1" y="0"/>
                  </a:moveTo>
                  <a:lnTo>
                    <a:pt x="0" y="9"/>
                  </a:lnTo>
                  <a:lnTo>
                    <a:pt x="5" y="134"/>
                  </a:lnTo>
                  <a:lnTo>
                    <a:pt x="5" y="206"/>
                  </a:lnTo>
                  <a:lnTo>
                    <a:pt x="1" y="227"/>
                  </a:lnTo>
                  <a:lnTo>
                    <a:pt x="0" y="231"/>
                  </a:lnTo>
                  <a:lnTo>
                    <a:pt x="7" y="248"/>
                  </a:lnTo>
                  <a:lnTo>
                    <a:pt x="7" y="289"/>
                  </a:lnTo>
                  <a:lnTo>
                    <a:pt x="10" y="346"/>
                  </a:lnTo>
                  <a:lnTo>
                    <a:pt x="13" y="360"/>
                  </a:lnTo>
                  <a:lnTo>
                    <a:pt x="26" y="359"/>
                  </a:lnTo>
                  <a:lnTo>
                    <a:pt x="31" y="362"/>
                  </a:lnTo>
                  <a:lnTo>
                    <a:pt x="39" y="365"/>
                  </a:lnTo>
                  <a:lnTo>
                    <a:pt x="48" y="365"/>
                  </a:lnTo>
                  <a:lnTo>
                    <a:pt x="56" y="362"/>
                  </a:lnTo>
                  <a:lnTo>
                    <a:pt x="72" y="362"/>
                  </a:lnTo>
                  <a:lnTo>
                    <a:pt x="77" y="362"/>
                  </a:lnTo>
                  <a:lnTo>
                    <a:pt x="93" y="368"/>
                  </a:lnTo>
                  <a:lnTo>
                    <a:pt x="99" y="366"/>
                  </a:lnTo>
                  <a:lnTo>
                    <a:pt x="114" y="356"/>
                  </a:lnTo>
                  <a:lnTo>
                    <a:pt x="125" y="352"/>
                  </a:lnTo>
                  <a:lnTo>
                    <a:pt x="130" y="346"/>
                  </a:lnTo>
                  <a:lnTo>
                    <a:pt x="124" y="330"/>
                  </a:lnTo>
                  <a:lnTo>
                    <a:pt x="118" y="323"/>
                  </a:lnTo>
                  <a:lnTo>
                    <a:pt x="112" y="317"/>
                  </a:lnTo>
                  <a:lnTo>
                    <a:pt x="131" y="312"/>
                  </a:lnTo>
                  <a:lnTo>
                    <a:pt x="137" y="307"/>
                  </a:lnTo>
                  <a:lnTo>
                    <a:pt x="135" y="302"/>
                  </a:lnTo>
                  <a:lnTo>
                    <a:pt x="140" y="297"/>
                  </a:lnTo>
                  <a:lnTo>
                    <a:pt x="152" y="298"/>
                  </a:lnTo>
                  <a:lnTo>
                    <a:pt x="160" y="296"/>
                  </a:lnTo>
                  <a:lnTo>
                    <a:pt x="157" y="287"/>
                  </a:lnTo>
                  <a:lnTo>
                    <a:pt x="155" y="273"/>
                  </a:lnTo>
                  <a:lnTo>
                    <a:pt x="161" y="278"/>
                  </a:lnTo>
                  <a:lnTo>
                    <a:pt x="173" y="280"/>
                  </a:lnTo>
                  <a:lnTo>
                    <a:pt x="180" y="278"/>
                  </a:lnTo>
                  <a:lnTo>
                    <a:pt x="184" y="273"/>
                  </a:lnTo>
                  <a:lnTo>
                    <a:pt x="189" y="269"/>
                  </a:lnTo>
                  <a:lnTo>
                    <a:pt x="196" y="276"/>
                  </a:lnTo>
                  <a:lnTo>
                    <a:pt x="203" y="273"/>
                  </a:lnTo>
                  <a:lnTo>
                    <a:pt x="210" y="275"/>
                  </a:lnTo>
                  <a:lnTo>
                    <a:pt x="211" y="279"/>
                  </a:lnTo>
                  <a:lnTo>
                    <a:pt x="216" y="282"/>
                  </a:lnTo>
                  <a:lnTo>
                    <a:pt x="223" y="284"/>
                  </a:lnTo>
                  <a:lnTo>
                    <a:pt x="232" y="289"/>
                  </a:lnTo>
                  <a:lnTo>
                    <a:pt x="238" y="290"/>
                  </a:lnTo>
                  <a:lnTo>
                    <a:pt x="247" y="296"/>
                  </a:lnTo>
                  <a:lnTo>
                    <a:pt x="258" y="296"/>
                  </a:lnTo>
                  <a:lnTo>
                    <a:pt x="278" y="302"/>
                  </a:lnTo>
                  <a:lnTo>
                    <a:pt x="289" y="311"/>
                  </a:lnTo>
                  <a:lnTo>
                    <a:pt x="291" y="323"/>
                  </a:lnTo>
                  <a:lnTo>
                    <a:pt x="306" y="341"/>
                  </a:lnTo>
                  <a:lnTo>
                    <a:pt x="312" y="354"/>
                  </a:lnTo>
                  <a:lnTo>
                    <a:pt x="330" y="356"/>
                  </a:lnTo>
                  <a:lnTo>
                    <a:pt x="328" y="365"/>
                  </a:lnTo>
                  <a:lnTo>
                    <a:pt x="329" y="367"/>
                  </a:lnTo>
                  <a:lnTo>
                    <a:pt x="335" y="375"/>
                  </a:lnTo>
                  <a:lnTo>
                    <a:pt x="343" y="378"/>
                  </a:lnTo>
                  <a:lnTo>
                    <a:pt x="350" y="384"/>
                  </a:lnTo>
                  <a:lnTo>
                    <a:pt x="357" y="392"/>
                  </a:lnTo>
                  <a:lnTo>
                    <a:pt x="373" y="410"/>
                  </a:lnTo>
                  <a:lnTo>
                    <a:pt x="378" y="410"/>
                  </a:lnTo>
                  <a:lnTo>
                    <a:pt x="388" y="415"/>
                  </a:lnTo>
                  <a:lnTo>
                    <a:pt x="399" y="416"/>
                  </a:lnTo>
                  <a:lnTo>
                    <a:pt x="408" y="419"/>
                  </a:lnTo>
                  <a:lnTo>
                    <a:pt x="425" y="419"/>
                  </a:lnTo>
                  <a:lnTo>
                    <a:pt x="442" y="424"/>
                  </a:lnTo>
                  <a:lnTo>
                    <a:pt x="494" y="431"/>
                  </a:lnTo>
                  <a:lnTo>
                    <a:pt x="495" y="435"/>
                  </a:lnTo>
                  <a:lnTo>
                    <a:pt x="497" y="441"/>
                  </a:lnTo>
                  <a:lnTo>
                    <a:pt x="512" y="446"/>
                  </a:lnTo>
                  <a:lnTo>
                    <a:pt x="526" y="441"/>
                  </a:lnTo>
                  <a:lnTo>
                    <a:pt x="531" y="435"/>
                  </a:lnTo>
                  <a:lnTo>
                    <a:pt x="522" y="429"/>
                  </a:lnTo>
                  <a:lnTo>
                    <a:pt x="515" y="427"/>
                  </a:lnTo>
                  <a:lnTo>
                    <a:pt x="522" y="426"/>
                  </a:lnTo>
                  <a:lnTo>
                    <a:pt x="533" y="427"/>
                  </a:lnTo>
                  <a:lnTo>
                    <a:pt x="544" y="425"/>
                  </a:lnTo>
                  <a:lnTo>
                    <a:pt x="542" y="420"/>
                  </a:lnTo>
                  <a:lnTo>
                    <a:pt x="517" y="416"/>
                  </a:lnTo>
                  <a:lnTo>
                    <a:pt x="506" y="413"/>
                  </a:lnTo>
                  <a:lnTo>
                    <a:pt x="486" y="402"/>
                  </a:lnTo>
                  <a:lnTo>
                    <a:pt x="489" y="394"/>
                  </a:lnTo>
                  <a:lnTo>
                    <a:pt x="496" y="391"/>
                  </a:lnTo>
                  <a:lnTo>
                    <a:pt x="486" y="386"/>
                  </a:lnTo>
                  <a:lnTo>
                    <a:pt x="473" y="383"/>
                  </a:lnTo>
                  <a:lnTo>
                    <a:pt x="462" y="383"/>
                  </a:lnTo>
                  <a:lnTo>
                    <a:pt x="453" y="377"/>
                  </a:lnTo>
                  <a:lnTo>
                    <a:pt x="454" y="367"/>
                  </a:lnTo>
                  <a:lnTo>
                    <a:pt x="456" y="357"/>
                  </a:lnTo>
                  <a:lnTo>
                    <a:pt x="451" y="354"/>
                  </a:lnTo>
                  <a:lnTo>
                    <a:pt x="426" y="356"/>
                  </a:lnTo>
                  <a:lnTo>
                    <a:pt x="419" y="351"/>
                  </a:lnTo>
                  <a:lnTo>
                    <a:pt x="410" y="336"/>
                  </a:lnTo>
                  <a:lnTo>
                    <a:pt x="403" y="330"/>
                  </a:lnTo>
                  <a:lnTo>
                    <a:pt x="397" y="323"/>
                  </a:lnTo>
                  <a:lnTo>
                    <a:pt x="397" y="309"/>
                  </a:lnTo>
                  <a:lnTo>
                    <a:pt x="395" y="303"/>
                  </a:lnTo>
                  <a:lnTo>
                    <a:pt x="393" y="301"/>
                  </a:lnTo>
                  <a:lnTo>
                    <a:pt x="387" y="300"/>
                  </a:lnTo>
                  <a:lnTo>
                    <a:pt x="383" y="296"/>
                  </a:lnTo>
                  <a:lnTo>
                    <a:pt x="367" y="285"/>
                  </a:lnTo>
                  <a:lnTo>
                    <a:pt x="356" y="271"/>
                  </a:lnTo>
                  <a:lnTo>
                    <a:pt x="348" y="268"/>
                  </a:lnTo>
                  <a:lnTo>
                    <a:pt x="341" y="255"/>
                  </a:lnTo>
                  <a:lnTo>
                    <a:pt x="339" y="244"/>
                  </a:lnTo>
                  <a:lnTo>
                    <a:pt x="334" y="237"/>
                  </a:lnTo>
                  <a:lnTo>
                    <a:pt x="339" y="231"/>
                  </a:lnTo>
                  <a:lnTo>
                    <a:pt x="351" y="231"/>
                  </a:lnTo>
                  <a:lnTo>
                    <a:pt x="362" y="230"/>
                  </a:lnTo>
                  <a:lnTo>
                    <a:pt x="370" y="227"/>
                  </a:lnTo>
                  <a:lnTo>
                    <a:pt x="378" y="227"/>
                  </a:lnTo>
                  <a:lnTo>
                    <a:pt x="379" y="212"/>
                  </a:lnTo>
                  <a:lnTo>
                    <a:pt x="375" y="201"/>
                  </a:lnTo>
                  <a:lnTo>
                    <a:pt x="366" y="193"/>
                  </a:lnTo>
                  <a:lnTo>
                    <a:pt x="356" y="187"/>
                  </a:lnTo>
                  <a:lnTo>
                    <a:pt x="348" y="187"/>
                  </a:lnTo>
                  <a:lnTo>
                    <a:pt x="323" y="182"/>
                  </a:lnTo>
                  <a:lnTo>
                    <a:pt x="314" y="178"/>
                  </a:lnTo>
                  <a:lnTo>
                    <a:pt x="296" y="166"/>
                  </a:lnTo>
                  <a:lnTo>
                    <a:pt x="270" y="160"/>
                  </a:lnTo>
                  <a:lnTo>
                    <a:pt x="266" y="156"/>
                  </a:lnTo>
                  <a:lnTo>
                    <a:pt x="266" y="136"/>
                  </a:lnTo>
                  <a:lnTo>
                    <a:pt x="262" y="124"/>
                  </a:lnTo>
                  <a:lnTo>
                    <a:pt x="250" y="112"/>
                  </a:lnTo>
                  <a:lnTo>
                    <a:pt x="238" y="103"/>
                  </a:lnTo>
                  <a:lnTo>
                    <a:pt x="225" y="97"/>
                  </a:lnTo>
                  <a:lnTo>
                    <a:pt x="201" y="82"/>
                  </a:lnTo>
                  <a:lnTo>
                    <a:pt x="193" y="70"/>
                  </a:lnTo>
                  <a:lnTo>
                    <a:pt x="188" y="65"/>
                  </a:lnTo>
                  <a:lnTo>
                    <a:pt x="177" y="65"/>
                  </a:lnTo>
                  <a:lnTo>
                    <a:pt x="166" y="61"/>
                  </a:lnTo>
                  <a:lnTo>
                    <a:pt x="124" y="43"/>
                  </a:lnTo>
                  <a:lnTo>
                    <a:pt x="102" y="39"/>
                  </a:lnTo>
                  <a:lnTo>
                    <a:pt x="92" y="36"/>
                  </a:lnTo>
                  <a:lnTo>
                    <a:pt x="81" y="33"/>
                  </a:lnTo>
                  <a:lnTo>
                    <a:pt x="63" y="22"/>
                  </a:lnTo>
                  <a:lnTo>
                    <a:pt x="42" y="16"/>
                  </a:lnTo>
                  <a:lnTo>
                    <a:pt x="31" y="10"/>
                  </a:lnTo>
                  <a:lnTo>
                    <a:pt x="16" y="7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grpSp>
          <p:nvGrpSpPr>
            <p:cNvPr id="69" name="Philippines"/>
            <p:cNvGrpSpPr>
              <a:grpSpLocks noChangeAspect="1"/>
            </p:cNvGrpSpPr>
            <p:nvPr/>
          </p:nvGrpSpPr>
          <p:grpSpPr bwMode="gray">
            <a:xfrm>
              <a:off x="7463730" y="4145220"/>
              <a:ext cx="238742" cy="341728"/>
              <a:chOff x="3802" y="2280"/>
              <a:chExt cx="102" cy="146"/>
            </a:xfrm>
            <a:grpFill/>
          </p:grpSpPr>
          <p:sp>
            <p:nvSpPr>
              <p:cNvPr id="336" name="Philippines"/>
              <p:cNvSpPr>
                <a:spLocks noChangeAspect="1"/>
              </p:cNvSpPr>
              <p:nvPr>
                <p:custDataLst>
                  <p:tags r:id="rId313"/>
                </p:custDataLst>
              </p:nvPr>
            </p:nvSpPr>
            <p:spPr bwMode="gray">
              <a:xfrm>
                <a:off x="3802" y="2362"/>
                <a:ext cx="25" cy="33"/>
              </a:xfrm>
              <a:custGeom>
                <a:avLst/>
                <a:gdLst/>
                <a:ahLst/>
                <a:cxnLst>
                  <a:cxn ang="0">
                    <a:pos x="120" y="2"/>
                  </a:cxn>
                  <a:cxn ang="0">
                    <a:pos x="123" y="0"/>
                  </a:cxn>
                  <a:cxn ang="0">
                    <a:pos x="124" y="1"/>
                  </a:cxn>
                  <a:cxn ang="0">
                    <a:pos x="125" y="15"/>
                  </a:cxn>
                  <a:cxn ang="0">
                    <a:pos x="126" y="18"/>
                  </a:cxn>
                  <a:cxn ang="0">
                    <a:pos x="124" y="23"/>
                  </a:cxn>
                  <a:cxn ang="0">
                    <a:pos x="124" y="32"/>
                  </a:cxn>
                  <a:cxn ang="0">
                    <a:pos x="129" y="47"/>
                  </a:cxn>
                  <a:cxn ang="0">
                    <a:pos x="126" y="53"/>
                  </a:cxn>
                  <a:cxn ang="0">
                    <a:pos x="117" y="59"/>
                  </a:cxn>
                  <a:cxn ang="0">
                    <a:pos x="112" y="67"/>
                  </a:cxn>
                  <a:cxn ang="0">
                    <a:pos x="103" y="76"/>
                  </a:cxn>
                  <a:cxn ang="0">
                    <a:pos x="93" y="80"/>
                  </a:cxn>
                  <a:cxn ang="0">
                    <a:pos x="86" y="85"/>
                  </a:cxn>
                  <a:cxn ang="0">
                    <a:pos x="82" y="98"/>
                  </a:cxn>
                  <a:cxn ang="0">
                    <a:pos x="70" y="112"/>
                  </a:cxn>
                  <a:cxn ang="0">
                    <a:pos x="49" y="130"/>
                  </a:cxn>
                  <a:cxn ang="0">
                    <a:pos x="37" y="142"/>
                  </a:cxn>
                  <a:cxn ang="0">
                    <a:pos x="28" y="150"/>
                  </a:cxn>
                  <a:cxn ang="0">
                    <a:pos x="19" y="151"/>
                  </a:cxn>
                  <a:cxn ang="0">
                    <a:pos x="13" y="158"/>
                  </a:cxn>
                  <a:cxn ang="0">
                    <a:pos x="6" y="163"/>
                  </a:cxn>
                  <a:cxn ang="0">
                    <a:pos x="0" y="163"/>
                  </a:cxn>
                  <a:cxn ang="0">
                    <a:pos x="2" y="150"/>
                  </a:cxn>
                  <a:cxn ang="0">
                    <a:pos x="10" y="137"/>
                  </a:cxn>
                  <a:cxn ang="0">
                    <a:pos x="17" y="130"/>
                  </a:cxn>
                  <a:cxn ang="0">
                    <a:pos x="32" y="119"/>
                  </a:cxn>
                  <a:cxn ang="0">
                    <a:pos x="37" y="118"/>
                  </a:cxn>
                  <a:cxn ang="0">
                    <a:pos x="69" y="85"/>
                  </a:cxn>
                  <a:cxn ang="0">
                    <a:pos x="77" y="75"/>
                  </a:cxn>
                  <a:cxn ang="0">
                    <a:pos x="82" y="71"/>
                  </a:cxn>
                  <a:cxn ang="0">
                    <a:pos x="88" y="61"/>
                  </a:cxn>
                  <a:cxn ang="0">
                    <a:pos x="97" y="55"/>
                  </a:cxn>
                  <a:cxn ang="0">
                    <a:pos x="104" y="53"/>
                  </a:cxn>
                  <a:cxn ang="0">
                    <a:pos x="112" y="39"/>
                  </a:cxn>
                  <a:cxn ang="0">
                    <a:pos x="110" y="29"/>
                  </a:cxn>
                  <a:cxn ang="0">
                    <a:pos x="113" y="34"/>
                  </a:cxn>
                  <a:cxn ang="0">
                    <a:pos x="117" y="31"/>
                  </a:cxn>
                  <a:cxn ang="0">
                    <a:pos x="115" y="27"/>
                  </a:cxn>
                  <a:cxn ang="0">
                    <a:pos x="112" y="23"/>
                  </a:cxn>
                  <a:cxn ang="0">
                    <a:pos x="114" y="21"/>
                  </a:cxn>
                  <a:cxn ang="0">
                    <a:pos x="117" y="13"/>
                  </a:cxn>
                  <a:cxn ang="0">
                    <a:pos x="118" y="5"/>
                  </a:cxn>
                  <a:cxn ang="0">
                    <a:pos x="120" y="2"/>
                  </a:cxn>
                </a:cxnLst>
                <a:rect l="0" t="0" r="r" b="b"/>
                <a:pathLst>
                  <a:path w="129" h="163">
                    <a:moveTo>
                      <a:pt x="120" y="2"/>
                    </a:moveTo>
                    <a:lnTo>
                      <a:pt x="123" y="0"/>
                    </a:lnTo>
                    <a:lnTo>
                      <a:pt x="124" y="1"/>
                    </a:lnTo>
                    <a:lnTo>
                      <a:pt x="125" y="15"/>
                    </a:lnTo>
                    <a:lnTo>
                      <a:pt x="126" y="18"/>
                    </a:lnTo>
                    <a:lnTo>
                      <a:pt x="124" y="23"/>
                    </a:lnTo>
                    <a:lnTo>
                      <a:pt x="124" y="32"/>
                    </a:lnTo>
                    <a:lnTo>
                      <a:pt x="129" y="47"/>
                    </a:lnTo>
                    <a:lnTo>
                      <a:pt x="126" y="53"/>
                    </a:lnTo>
                    <a:lnTo>
                      <a:pt x="117" y="59"/>
                    </a:lnTo>
                    <a:lnTo>
                      <a:pt x="112" y="67"/>
                    </a:lnTo>
                    <a:lnTo>
                      <a:pt x="103" y="76"/>
                    </a:lnTo>
                    <a:lnTo>
                      <a:pt x="93" y="80"/>
                    </a:lnTo>
                    <a:lnTo>
                      <a:pt x="86" y="85"/>
                    </a:lnTo>
                    <a:lnTo>
                      <a:pt x="82" y="98"/>
                    </a:lnTo>
                    <a:lnTo>
                      <a:pt x="70" y="112"/>
                    </a:lnTo>
                    <a:lnTo>
                      <a:pt x="49" y="130"/>
                    </a:lnTo>
                    <a:lnTo>
                      <a:pt x="37" y="142"/>
                    </a:lnTo>
                    <a:lnTo>
                      <a:pt x="28" y="150"/>
                    </a:lnTo>
                    <a:lnTo>
                      <a:pt x="19" y="151"/>
                    </a:lnTo>
                    <a:lnTo>
                      <a:pt x="13" y="158"/>
                    </a:lnTo>
                    <a:lnTo>
                      <a:pt x="6" y="163"/>
                    </a:lnTo>
                    <a:lnTo>
                      <a:pt x="0" y="163"/>
                    </a:lnTo>
                    <a:lnTo>
                      <a:pt x="2" y="150"/>
                    </a:lnTo>
                    <a:lnTo>
                      <a:pt x="10" y="137"/>
                    </a:lnTo>
                    <a:lnTo>
                      <a:pt x="17" y="130"/>
                    </a:lnTo>
                    <a:lnTo>
                      <a:pt x="32" y="119"/>
                    </a:lnTo>
                    <a:lnTo>
                      <a:pt x="37" y="118"/>
                    </a:lnTo>
                    <a:lnTo>
                      <a:pt x="69" y="85"/>
                    </a:lnTo>
                    <a:lnTo>
                      <a:pt x="77" y="75"/>
                    </a:lnTo>
                    <a:lnTo>
                      <a:pt x="82" y="71"/>
                    </a:lnTo>
                    <a:lnTo>
                      <a:pt x="88" y="61"/>
                    </a:lnTo>
                    <a:lnTo>
                      <a:pt x="97" y="55"/>
                    </a:lnTo>
                    <a:lnTo>
                      <a:pt x="104" y="53"/>
                    </a:lnTo>
                    <a:lnTo>
                      <a:pt x="112" y="39"/>
                    </a:lnTo>
                    <a:lnTo>
                      <a:pt x="110" y="29"/>
                    </a:lnTo>
                    <a:lnTo>
                      <a:pt x="113" y="34"/>
                    </a:lnTo>
                    <a:lnTo>
                      <a:pt x="117" y="31"/>
                    </a:lnTo>
                    <a:lnTo>
                      <a:pt x="115" y="27"/>
                    </a:lnTo>
                    <a:lnTo>
                      <a:pt x="112" y="23"/>
                    </a:lnTo>
                    <a:lnTo>
                      <a:pt x="114" y="21"/>
                    </a:lnTo>
                    <a:lnTo>
                      <a:pt x="117" y="13"/>
                    </a:lnTo>
                    <a:lnTo>
                      <a:pt x="118" y="5"/>
                    </a:lnTo>
                    <a:lnTo>
                      <a:pt x="120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7" name="Philippines"/>
              <p:cNvSpPr>
                <a:spLocks noChangeAspect="1"/>
              </p:cNvSpPr>
              <p:nvPr>
                <p:custDataLst>
                  <p:tags r:id="rId314"/>
                </p:custDataLst>
              </p:nvPr>
            </p:nvSpPr>
            <p:spPr bwMode="gray">
              <a:xfrm>
                <a:off x="3835" y="2339"/>
                <a:ext cx="14" cy="14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32" y="0"/>
                  </a:cxn>
                  <a:cxn ang="0">
                    <a:pos x="37" y="0"/>
                  </a:cxn>
                  <a:cxn ang="0">
                    <a:pos x="47" y="3"/>
                  </a:cxn>
                  <a:cxn ang="0">
                    <a:pos x="56" y="10"/>
                  </a:cxn>
                  <a:cxn ang="0">
                    <a:pos x="59" y="16"/>
                  </a:cxn>
                  <a:cxn ang="0">
                    <a:pos x="63" y="17"/>
                  </a:cxn>
                  <a:cxn ang="0">
                    <a:pos x="64" y="28"/>
                  </a:cxn>
                  <a:cxn ang="0">
                    <a:pos x="64" y="38"/>
                  </a:cxn>
                  <a:cxn ang="0">
                    <a:pos x="67" y="51"/>
                  </a:cxn>
                  <a:cxn ang="0">
                    <a:pos x="63" y="54"/>
                  </a:cxn>
                  <a:cxn ang="0">
                    <a:pos x="63" y="62"/>
                  </a:cxn>
                  <a:cxn ang="0">
                    <a:pos x="48" y="71"/>
                  </a:cxn>
                  <a:cxn ang="0">
                    <a:pos x="45" y="64"/>
                  </a:cxn>
                  <a:cxn ang="0">
                    <a:pos x="36" y="57"/>
                  </a:cxn>
                  <a:cxn ang="0">
                    <a:pos x="26" y="36"/>
                  </a:cxn>
                  <a:cxn ang="0">
                    <a:pos x="25" y="25"/>
                  </a:cxn>
                  <a:cxn ang="0">
                    <a:pos x="20" y="16"/>
                  </a:cxn>
                  <a:cxn ang="0">
                    <a:pos x="13" y="13"/>
                  </a:cxn>
                  <a:cxn ang="0">
                    <a:pos x="10" y="4"/>
                  </a:cxn>
                  <a:cxn ang="0">
                    <a:pos x="5" y="3"/>
                  </a:cxn>
                  <a:cxn ang="0">
                    <a:pos x="2" y="3"/>
                  </a:cxn>
                </a:cxnLst>
                <a:rect l="0" t="0" r="r" b="b"/>
                <a:pathLst>
                  <a:path w="67" h="71">
                    <a:moveTo>
                      <a:pt x="2" y="3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32" y="0"/>
                    </a:lnTo>
                    <a:lnTo>
                      <a:pt x="37" y="0"/>
                    </a:lnTo>
                    <a:lnTo>
                      <a:pt x="47" y="3"/>
                    </a:lnTo>
                    <a:lnTo>
                      <a:pt x="56" y="10"/>
                    </a:lnTo>
                    <a:lnTo>
                      <a:pt x="59" y="16"/>
                    </a:lnTo>
                    <a:lnTo>
                      <a:pt x="63" y="17"/>
                    </a:lnTo>
                    <a:lnTo>
                      <a:pt x="64" y="28"/>
                    </a:lnTo>
                    <a:lnTo>
                      <a:pt x="64" y="38"/>
                    </a:lnTo>
                    <a:lnTo>
                      <a:pt x="67" y="51"/>
                    </a:lnTo>
                    <a:lnTo>
                      <a:pt x="63" y="54"/>
                    </a:lnTo>
                    <a:lnTo>
                      <a:pt x="63" y="62"/>
                    </a:lnTo>
                    <a:lnTo>
                      <a:pt x="48" y="71"/>
                    </a:lnTo>
                    <a:lnTo>
                      <a:pt x="45" y="64"/>
                    </a:lnTo>
                    <a:lnTo>
                      <a:pt x="36" y="57"/>
                    </a:lnTo>
                    <a:lnTo>
                      <a:pt x="26" y="36"/>
                    </a:lnTo>
                    <a:lnTo>
                      <a:pt x="25" y="25"/>
                    </a:lnTo>
                    <a:lnTo>
                      <a:pt x="20" y="16"/>
                    </a:lnTo>
                    <a:lnTo>
                      <a:pt x="13" y="13"/>
                    </a:lnTo>
                    <a:lnTo>
                      <a:pt x="10" y="4"/>
                    </a:lnTo>
                    <a:lnTo>
                      <a:pt x="5" y="3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8" name="Philippines"/>
              <p:cNvSpPr>
                <a:spLocks noChangeAspect="1"/>
              </p:cNvSpPr>
              <p:nvPr>
                <p:custDataLst>
                  <p:tags r:id="rId315"/>
                </p:custDataLst>
              </p:nvPr>
            </p:nvSpPr>
            <p:spPr bwMode="gray">
              <a:xfrm>
                <a:off x="3830" y="2280"/>
                <a:ext cx="47" cy="69"/>
              </a:xfrm>
              <a:custGeom>
                <a:avLst/>
                <a:gdLst/>
                <a:ahLst/>
                <a:cxnLst>
                  <a:cxn ang="0">
                    <a:pos x="139" y="17"/>
                  </a:cxn>
                  <a:cxn ang="0">
                    <a:pos x="129" y="44"/>
                  </a:cxn>
                  <a:cxn ang="0">
                    <a:pos x="139" y="75"/>
                  </a:cxn>
                  <a:cxn ang="0">
                    <a:pos x="146" y="97"/>
                  </a:cxn>
                  <a:cxn ang="0">
                    <a:pos x="133" y="132"/>
                  </a:cxn>
                  <a:cxn ang="0">
                    <a:pos x="120" y="144"/>
                  </a:cxn>
                  <a:cxn ang="0">
                    <a:pos x="98" y="165"/>
                  </a:cxn>
                  <a:cxn ang="0">
                    <a:pos x="87" y="188"/>
                  </a:cxn>
                  <a:cxn ang="0">
                    <a:pos x="98" y="216"/>
                  </a:cxn>
                  <a:cxn ang="0">
                    <a:pos x="99" y="238"/>
                  </a:cxn>
                  <a:cxn ang="0">
                    <a:pos x="120" y="268"/>
                  </a:cxn>
                  <a:cxn ang="0">
                    <a:pos x="131" y="261"/>
                  </a:cxn>
                  <a:cxn ang="0">
                    <a:pos x="145" y="245"/>
                  </a:cxn>
                  <a:cxn ang="0">
                    <a:pos x="167" y="245"/>
                  </a:cxn>
                  <a:cxn ang="0">
                    <a:pos x="179" y="273"/>
                  </a:cxn>
                  <a:cxn ang="0">
                    <a:pos x="189" y="259"/>
                  </a:cxn>
                  <a:cxn ang="0">
                    <a:pos x="206" y="267"/>
                  </a:cxn>
                  <a:cxn ang="0">
                    <a:pos x="215" y="279"/>
                  </a:cxn>
                  <a:cxn ang="0">
                    <a:pos x="216" y="299"/>
                  </a:cxn>
                  <a:cxn ang="0">
                    <a:pos x="220" y="312"/>
                  </a:cxn>
                  <a:cxn ang="0">
                    <a:pos x="232" y="317"/>
                  </a:cxn>
                  <a:cxn ang="0">
                    <a:pos x="231" y="345"/>
                  </a:cxn>
                  <a:cxn ang="0">
                    <a:pos x="227" y="324"/>
                  </a:cxn>
                  <a:cxn ang="0">
                    <a:pos x="201" y="317"/>
                  </a:cxn>
                  <a:cxn ang="0">
                    <a:pos x="184" y="294"/>
                  </a:cxn>
                  <a:cxn ang="0">
                    <a:pos x="166" y="279"/>
                  </a:cxn>
                  <a:cxn ang="0">
                    <a:pos x="149" y="280"/>
                  </a:cxn>
                  <a:cxn ang="0">
                    <a:pos x="152" y="306"/>
                  </a:cxn>
                  <a:cxn ang="0">
                    <a:pos x="124" y="273"/>
                  </a:cxn>
                  <a:cxn ang="0">
                    <a:pos x="98" y="268"/>
                  </a:cxn>
                  <a:cxn ang="0">
                    <a:pos x="75" y="284"/>
                  </a:cxn>
                  <a:cxn ang="0">
                    <a:pos x="56" y="270"/>
                  </a:cxn>
                  <a:cxn ang="0">
                    <a:pos x="45" y="254"/>
                  </a:cxn>
                  <a:cxn ang="0">
                    <a:pos x="61" y="231"/>
                  </a:cxn>
                  <a:cxn ang="0">
                    <a:pos x="45" y="219"/>
                  </a:cxn>
                  <a:cxn ang="0">
                    <a:pos x="33" y="230"/>
                  </a:cxn>
                  <a:cxn ang="0">
                    <a:pos x="16" y="203"/>
                  </a:cxn>
                  <a:cxn ang="0">
                    <a:pos x="0" y="138"/>
                  </a:cxn>
                  <a:cxn ang="0">
                    <a:pos x="17" y="146"/>
                  </a:cxn>
                  <a:cxn ang="0">
                    <a:pos x="29" y="97"/>
                  </a:cxn>
                  <a:cxn ang="0">
                    <a:pos x="33" y="53"/>
                  </a:cxn>
                  <a:cxn ang="0">
                    <a:pos x="43" y="7"/>
                  </a:cxn>
                  <a:cxn ang="0">
                    <a:pos x="67" y="1"/>
                  </a:cxn>
                  <a:cxn ang="0">
                    <a:pos x="113" y="17"/>
                  </a:cxn>
                  <a:cxn ang="0">
                    <a:pos x="130" y="4"/>
                  </a:cxn>
                </a:cxnLst>
                <a:rect l="0" t="0" r="r" b="b"/>
                <a:pathLst>
                  <a:path w="236" h="345">
                    <a:moveTo>
                      <a:pt x="134" y="10"/>
                    </a:moveTo>
                    <a:lnTo>
                      <a:pt x="137" y="14"/>
                    </a:lnTo>
                    <a:lnTo>
                      <a:pt x="139" y="17"/>
                    </a:lnTo>
                    <a:lnTo>
                      <a:pt x="135" y="22"/>
                    </a:lnTo>
                    <a:lnTo>
                      <a:pt x="130" y="33"/>
                    </a:lnTo>
                    <a:lnTo>
                      <a:pt x="129" y="44"/>
                    </a:lnTo>
                    <a:lnTo>
                      <a:pt x="129" y="66"/>
                    </a:lnTo>
                    <a:lnTo>
                      <a:pt x="134" y="74"/>
                    </a:lnTo>
                    <a:lnTo>
                      <a:pt x="139" y="75"/>
                    </a:lnTo>
                    <a:lnTo>
                      <a:pt x="141" y="81"/>
                    </a:lnTo>
                    <a:lnTo>
                      <a:pt x="146" y="87"/>
                    </a:lnTo>
                    <a:lnTo>
                      <a:pt x="146" y="97"/>
                    </a:lnTo>
                    <a:lnTo>
                      <a:pt x="141" y="109"/>
                    </a:lnTo>
                    <a:lnTo>
                      <a:pt x="135" y="122"/>
                    </a:lnTo>
                    <a:lnTo>
                      <a:pt x="133" y="132"/>
                    </a:lnTo>
                    <a:lnTo>
                      <a:pt x="128" y="143"/>
                    </a:lnTo>
                    <a:lnTo>
                      <a:pt x="121" y="148"/>
                    </a:lnTo>
                    <a:lnTo>
                      <a:pt x="120" y="144"/>
                    </a:lnTo>
                    <a:lnTo>
                      <a:pt x="112" y="150"/>
                    </a:lnTo>
                    <a:lnTo>
                      <a:pt x="104" y="156"/>
                    </a:lnTo>
                    <a:lnTo>
                      <a:pt x="98" y="165"/>
                    </a:lnTo>
                    <a:lnTo>
                      <a:pt x="98" y="175"/>
                    </a:lnTo>
                    <a:lnTo>
                      <a:pt x="94" y="184"/>
                    </a:lnTo>
                    <a:lnTo>
                      <a:pt x="87" y="188"/>
                    </a:lnTo>
                    <a:lnTo>
                      <a:pt x="88" y="198"/>
                    </a:lnTo>
                    <a:lnTo>
                      <a:pt x="93" y="208"/>
                    </a:lnTo>
                    <a:lnTo>
                      <a:pt x="98" y="216"/>
                    </a:lnTo>
                    <a:lnTo>
                      <a:pt x="102" y="222"/>
                    </a:lnTo>
                    <a:lnTo>
                      <a:pt x="99" y="227"/>
                    </a:lnTo>
                    <a:lnTo>
                      <a:pt x="99" y="238"/>
                    </a:lnTo>
                    <a:lnTo>
                      <a:pt x="104" y="247"/>
                    </a:lnTo>
                    <a:lnTo>
                      <a:pt x="106" y="254"/>
                    </a:lnTo>
                    <a:lnTo>
                      <a:pt x="120" y="268"/>
                    </a:lnTo>
                    <a:lnTo>
                      <a:pt x="125" y="268"/>
                    </a:lnTo>
                    <a:lnTo>
                      <a:pt x="134" y="265"/>
                    </a:lnTo>
                    <a:lnTo>
                      <a:pt x="131" y="261"/>
                    </a:lnTo>
                    <a:lnTo>
                      <a:pt x="133" y="251"/>
                    </a:lnTo>
                    <a:lnTo>
                      <a:pt x="136" y="253"/>
                    </a:lnTo>
                    <a:lnTo>
                      <a:pt x="145" y="245"/>
                    </a:lnTo>
                    <a:lnTo>
                      <a:pt x="155" y="247"/>
                    </a:lnTo>
                    <a:lnTo>
                      <a:pt x="160" y="243"/>
                    </a:lnTo>
                    <a:lnTo>
                      <a:pt x="167" y="245"/>
                    </a:lnTo>
                    <a:lnTo>
                      <a:pt x="173" y="252"/>
                    </a:lnTo>
                    <a:lnTo>
                      <a:pt x="178" y="263"/>
                    </a:lnTo>
                    <a:lnTo>
                      <a:pt x="179" y="273"/>
                    </a:lnTo>
                    <a:lnTo>
                      <a:pt x="184" y="276"/>
                    </a:lnTo>
                    <a:lnTo>
                      <a:pt x="190" y="270"/>
                    </a:lnTo>
                    <a:lnTo>
                      <a:pt x="189" y="259"/>
                    </a:lnTo>
                    <a:lnTo>
                      <a:pt x="194" y="262"/>
                    </a:lnTo>
                    <a:lnTo>
                      <a:pt x="198" y="264"/>
                    </a:lnTo>
                    <a:lnTo>
                      <a:pt x="206" y="267"/>
                    </a:lnTo>
                    <a:lnTo>
                      <a:pt x="221" y="273"/>
                    </a:lnTo>
                    <a:lnTo>
                      <a:pt x="223" y="278"/>
                    </a:lnTo>
                    <a:lnTo>
                      <a:pt x="215" y="279"/>
                    </a:lnTo>
                    <a:lnTo>
                      <a:pt x="207" y="285"/>
                    </a:lnTo>
                    <a:lnTo>
                      <a:pt x="209" y="294"/>
                    </a:lnTo>
                    <a:lnTo>
                      <a:pt x="216" y="299"/>
                    </a:lnTo>
                    <a:lnTo>
                      <a:pt x="221" y="301"/>
                    </a:lnTo>
                    <a:lnTo>
                      <a:pt x="219" y="308"/>
                    </a:lnTo>
                    <a:lnTo>
                      <a:pt x="220" y="312"/>
                    </a:lnTo>
                    <a:lnTo>
                      <a:pt x="225" y="312"/>
                    </a:lnTo>
                    <a:lnTo>
                      <a:pt x="226" y="316"/>
                    </a:lnTo>
                    <a:lnTo>
                      <a:pt x="232" y="317"/>
                    </a:lnTo>
                    <a:lnTo>
                      <a:pt x="236" y="321"/>
                    </a:lnTo>
                    <a:lnTo>
                      <a:pt x="236" y="339"/>
                    </a:lnTo>
                    <a:lnTo>
                      <a:pt x="231" y="345"/>
                    </a:lnTo>
                    <a:lnTo>
                      <a:pt x="223" y="338"/>
                    </a:lnTo>
                    <a:lnTo>
                      <a:pt x="221" y="331"/>
                    </a:lnTo>
                    <a:lnTo>
                      <a:pt x="227" y="324"/>
                    </a:lnTo>
                    <a:lnTo>
                      <a:pt x="223" y="324"/>
                    </a:lnTo>
                    <a:lnTo>
                      <a:pt x="211" y="324"/>
                    </a:lnTo>
                    <a:lnTo>
                      <a:pt x="201" y="317"/>
                    </a:lnTo>
                    <a:lnTo>
                      <a:pt x="194" y="315"/>
                    </a:lnTo>
                    <a:lnTo>
                      <a:pt x="190" y="302"/>
                    </a:lnTo>
                    <a:lnTo>
                      <a:pt x="184" y="294"/>
                    </a:lnTo>
                    <a:lnTo>
                      <a:pt x="173" y="289"/>
                    </a:lnTo>
                    <a:lnTo>
                      <a:pt x="168" y="284"/>
                    </a:lnTo>
                    <a:lnTo>
                      <a:pt x="166" y="279"/>
                    </a:lnTo>
                    <a:lnTo>
                      <a:pt x="157" y="270"/>
                    </a:lnTo>
                    <a:lnTo>
                      <a:pt x="147" y="268"/>
                    </a:lnTo>
                    <a:lnTo>
                      <a:pt x="149" y="280"/>
                    </a:lnTo>
                    <a:lnTo>
                      <a:pt x="158" y="302"/>
                    </a:lnTo>
                    <a:lnTo>
                      <a:pt x="158" y="306"/>
                    </a:lnTo>
                    <a:lnTo>
                      <a:pt x="152" y="306"/>
                    </a:lnTo>
                    <a:lnTo>
                      <a:pt x="147" y="294"/>
                    </a:lnTo>
                    <a:lnTo>
                      <a:pt x="137" y="286"/>
                    </a:lnTo>
                    <a:lnTo>
                      <a:pt x="124" y="273"/>
                    </a:lnTo>
                    <a:lnTo>
                      <a:pt x="115" y="268"/>
                    </a:lnTo>
                    <a:lnTo>
                      <a:pt x="109" y="267"/>
                    </a:lnTo>
                    <a:lnTo>
                      <a:pt x="98" y="268"/>
                    </a:lnTo>
                    <a:lnTo>
                      <a:pt x="92" y="278"/>
                    </a:lnTo>
                    <a:lnTo>
                      <a:pt x="85" y="283"/>
                    </a:lnTo>
                    <a:lnTo>
                      <a:pt x="75" y="284"/>
                    </a:lnTo>
                    <a:lnTo>
                      <a:pt x="70" y="278"/>
                    </a:lnTo>
                    <a:lnTo>
                      <a:pt x="63" y="276"/>
                    </a:lnTo>
                    <a:lnTo>
                      <a:pt x="56" y="270"/>
                    </a:lnTo>
                    <a:lnTo>
                      <a:pt x="50" y="274"/>
                    </a:lnTo>
                    <a:lnTo>
                      <a:pt x="47" y="264"/>
                    </a:lnTo>
                    <a:lnTo>
                      <a:pt x="45" y="254"/>
                    </a:lnTo>
                    <a:lnTo>
                      <a:pt x="49" y="247"/>
                    </a:lnTo>
                    <a:lnTo>
                      <a:pt x="56" y="240"/>
                    </a:lnTo>
                    <a:lnTo>
                      <a:pt x="61" y="231"/>
                    </a:lnTo>
                    <a:lnTo>
                      <a:pt x="61" y="225"/>
                    </a:lnTo>
                    <a:lnTo>
                      <a:pt x="55" y="220"/>
                    </a:lnTo>
                    <a:lnTo>
                      <a:pt x="45" y="219"/>
                    </a:lnTo>
                    <a:lnTo>
                      <a:pt x="44" y="233"/>
                    </a:lnTo>
                    <a:lnTo>
                      <a:pt x="42" y="238"/>
                    </a:lnTo>
                    <a:lnTo>
                      <a:pt x="33" y="230"/>
                    </a:lnTo>
                    <a:lnTo>
                      <a:pt x="28" y="219"/>
                    </a:lnTo>
                    <a:lnTo>
                      <a:pt x="21" y="219"/>
                    </a:lnTo>
                    <a:lnTo>
                      <a:pt x="16" y="203"/>
                    </a:lnTo>
                    <a:lnTo>
                      <a:pt x="13" y="188"/>
                    </a:lnTo>
                    <a:lnTo>
                      <a:pt x="2" y="155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8" y="136"/>
                    </a:lnTo>
                    <a:lnTo>
                      <a:pt x="17" y="146"/>
                    </a:lnTo>
                    <a:lnTo>
                      <a:pt x="29" y="143"/>
                    </a:lnTo>
                    <a:lnTo>
                      <a:pt x="28" y="113"/>
                    </a:lnTo>
                    <a:lnTo>
                      <a:pt x="29" y="97"/>
                    </a:lnTo>
                    <a:lnTo>
                      <a:pt x="34" y="82"/>
                    </a:lnTo>
                    <a:lnTo>
                      <a:pt x="34" y="65"/>
                    </a:lnTo>
                    <a:lnTo>
                      <a:pt x="33" y="53"/>
                    </a:lnTo>
                    <a:lnTo>
                      <a:pt x="34" y="41"/>
                    </a:lnTo>
                    <a:lnTo>
                      <a:pt x="38" y="17"/>
                    </a:lnTo>
                    <a:lnTo>
                      <a:pt x="43" y="7"/>
                    </a:lnTo>
                    <a:lnTo>
                      <a:pt x="50" y="0"/>
                    </a:lnTo>
                    <a:lnTo>
                      <a:pt x="56" y="1"/>
                    </a:lnTo>
                    <a:lnTo>
                      <a:pt x="67" y="1"/>
                    </a:lnTo>
                    <a:lnTo>
                      <a:pt x="80" y="4"/>
                    </a:lnTo>
                    <a:lnTo>
                      <a:pt x="102" y="17"/>
                    </a:lnTo>
                    <a:lnTo>
                      <a:pt x="113" y="17"/>
                    </a:lnTo>
                    <a:lnTo>
                      <a:pt x="120" y="15"/>
                    </a:lnTo>
                    <a:lnTo>
                      <a:pt x="123" y="4"/>
                    </a:lnTo>
                    <a:lnTo>
                      <a:pt x="130" y="4"/>
                    </a:lnTo>
                    <a:lnTo>
                      <a:pt x="134" y="1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9" name="Philippines"/>
              <p:cNvSpPr>
                <a:spLocks noChangeAspect="1"/>
              </p:cNvSpPr>
              <p:nvPr>
                <p:custDataLst>
                  <p:tags r:id="rId316"/>
                </p:custDataLst>
              </p:nvPr>
            </p:nvSpPr>
            <p:spPr bwMode="gray">
              <a:xfrm>
                <a:off x="3867" y="2349"/>
                <a:ext cx="9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6" y="2"/>
                  </a:cxn>
                  <a:cxn ang="0">
                    <a:pos x="7" y="4"/>
                  </a:cxn>
                  <a:cxn ang="0">
                    <a:pos x="9" y="6"/>
                  </a:cxn>
                  <a:cxn ang="0">
                    <a:pos x="14" y="6"/>
                  </a:cxn>
                  <a:cxn ang="0">
                    <a:pos x="43" y="29"/>
                  </a:cxn>
                  <a:cxn ang="0">
                    <a:pos x="45" y="35"/>
                  </a:cxn>
                  <a:cxn ang="0">
                    <a:pos x="45" y="45"/>
                  </a:cxn>
                  <a:cxn ang="0">
                    <a:pos x="35" y="41"/>
                  </a:cxn>
                  <a:cxn ang="0">
                    <a:pos x="27" y="35"/>
                  </a:cxn>
                  <a:cxn ang="0">
                    <a:pos x="20" y="25"/>
                  </a:cxn>
                  <a:cxn ang="0">
                    <a:pos x="17" y="22"/>
                  </a:cxn>
                  <a:cxn ang="0">
                    <a:pos x="9" y="27"/>
                  </a:cxn>
                  <a:cxn ang="0">
                    <a:pos x="2" y="33"/>
                  </a:cxn>
                  <a:cxn ang="0">
                    <a:pos x="0" y="32"/>
                  </a:cxn>
                  <a:cxn ang="0">
                    <a:pos x="2" y="18"/>
                  </a:cxn>
                  <a:cxn ang="0">
                    <a:pos x="2" y="0"/>
                  </a:cxn>
                </a:cxnLst>
                <a:rect l="0" t="0" r="r" b="b"/>
                <a:pathLst>
                  <a:path w="45" h="45">
                    <a:moveTo>
                      <a:pt x="2" y="0"/>
                    </a:moveTo>
                    <a:lnTo>
                      <a:pt x="6" y="2"/>
                    </a:lnTo>
                    <a:lnTo>
                      <a:pt x="7" y="4"/>
                    </a:lnTo>
                    <a:lnTo>
                      <a:pt x="9" y="6"/>
                    </a:lnTo>
                    <a:lnTo>
                      <a:pt x="14" y="6"/>
                    </a:lnTo>
                    <a:lnTo>
                      <a:pt x="43" y="29"/>
                    </a:lnTo>
                    <a:lnTo>
                      <a:pt x="45" y="35"/>
                    </a:lnTo>
                    <a:lnTo>
                      <a:pt x="45" y="45"/>
                    </a:lnTo>
                    <a:lnTo>
                      <a:pt x="35" y="41"/>
                    </a:lnTo>
                    <a:lnTo>
                      <a:pt x="27" y="35"/>
                    </a:lnTo>
                    <a:lnTo>
                      <a:pt x="20" y="25"/>
                    </a:lnTo>
                    <a:lnTo>
                      <a:pt x="17" y="22"/>
                    </a:lnTo>
                    <a:lnTo>
                      <a:pt x="9" y="27"/>
                    </a:lnTo>
                    <a:lnTo>
                      <a:pt x="2" y="33"/>
                    </a:lnTo>
                    <a:lnTo>
                      <a:pt x="0" y="32"/>
                    </a:lnTo>
                    <a:lnTo>
                      <a:pt x="2" y="18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0" name="Philippines"/>
              <p:cNvSpPr>
                <a:spLocks noChangeAspect="1"/>
              </p:cNvSpPr>
              <p:nvPr>
                <p:custDataLst>
                  <p:tags r:id="rId317"/>
                </p:custDataLst>
              </p:nvPr>
            </p:nvSpPr>
            <p:spPr bwMode="gray">
              <a:xfrm>
                <a:off x="3879" y="2348"/>
                <a:ext cx="15" cy="17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3" y="4"/>
                  </a:cxn>
                  <a:cxn ang="0">
                    <a:pos x="26" y="5"/>
                  </a:cxn>
                  <a:cxn ang="0">
                    <a:pos x="38" y="0"/>
                  </a:cxn>
                  <a:cxn ang="0">
                    <a:pos x="44" y="2"/>
                  </a:cxn>
                  <a:cxn ang="0">
                    <a:pos x="51" y="6"/>
                  </a:cxn>
                  <a:cxn ang="0">
                    <a:pos x="55" y="15"/>
                  </a:cxn>
                  <a:cxn ang="0">
                    <a:pos x="64" y="21"/>
                  </a:cxn>
                  <a:cxn ang="0">
                    <a:pos x="64" y="32"/>
                  </a:cxn>
                  <a:cxn ang="0">
                    <a:pos x="62" y="47"/>
                  </a:cxn>
                  <a:cxn ang="0">
                    <a:pos x="64" y="57"/>
                  </a:cxn>
                  <a:cxn ang="0">
                    <a:pos x="72" y="78"/>
                  </a:cxn>
                  <a:cxn ang="0">
                    <a:pos x="77" y="85"/>
                  </a:cxn>
                  <a:cxn ang="0">
                    <a:pos x="62" y="85"/>
                  </a:cxn>
                  <a:cxn ang="0">
                    <a:pos x="51" y="83"/>
                  </a:cxn>
                  <a:cxn ang="0">
                    <a:pos x="48" y="73"/>
                  </a:cxn>
                  <a:cxn ang="0">
                    <a:pos x="42" y="70"/>
                  </a:cxn>
                  <a:cxn ang="0">
                    <a:pos x="34" y="64"/>
                  </a:cxn>
                  <a:cxn ang="0">
                    <a:pos x="34" y="59"/>
                  </a:cxn>
                  <a:cxn ang="0">
                    <a:pos x="37" y="51"/>
                  </a:cxn>
                  <a:cxn ang="0">
                    <a:pos x="35" y="48"/>
                  </a:cxn>
                  <a:cxn ang="0">
                    <a:pos x="19" y="32"/>
                  </a:cxn>
                  <a:cxn ang="0">
                    <a:pos x="13" y="30"/>
                  </a:cxn>
                  <a:cxn ang="0">
                    <a:pos x="6" y="21"/>
                  </a:cxn>
                  <a:cxn ang="0">
                    <a:pos x="0" y="6"/>
                  </a:cxn>
                  <a:cxn ang="0">
                    <a:pos x="0" y="4"/>
                  </a:cxn>
                </a:cxnLst>
                <a:rect l="0" t="0" r="r" b="b"/>
                <a:pathLst>
                  <a:path w="77" h="85">
                    <a:moveTo>
                      <a:pt x="0" y="4"/>
                    </a:moveTo>
                    <a:lnTo>
                      <a:pt x="3" y="4"/>
                    </a:lnTo>
                    <a:lnTo>
                      <a:pt x="26" y="5"/>
                    </a:lnTo>
                    <a:lnTo>
                      <a:pt x="38" y="0"/>
                    </a:lnTo>
                    <a:lnTo>
                      <a:pt x="44" y="2"/>
                    </a:lnTo>
                    <a:lnTo>
                      <a:pt x="51" y="6"/>
                    </a:lnTo>
                    <a:lnTo>
                      <a:pt x="55" y="15"/>
                    </a:lnTo>
                    <a:lnTo>
                      <a:pt x="64" y="21"/>
                    </a:lnTo>
                    <a:lnTo>
                      <a:pt x="64" y="32"/>
                    </a:lnTo>
                    <a:lnTo>
                      <a:pt x="62" y="47"/>
                    </a:lnTo>
                    <a:lnTo>
                      <a:pt x="64" y="57"/>
                    </a:lnTo>
                    <a:lnTo>
                      <a:pt x="72" y="78"/>
                    </a:lnTo>
                    <a:lnTo>
                      <a:pt x="77" y="85"/>
                    </a:lnTo>
                    <a:lnTo>
                      <a:pt x="62" y="85"/>
                    </a:lnTo>
                    <a:lnTo>
                      <a:pt x="51" y="83"/>
                    </a:lnTo>
                    <a:lnTo>
                      <a:pt x="48" y="73"/>
                    </a:lnTo>
                    <a:lnTo>
                      <a:pt x="42" y="70"/>
                    </a:lnTo>
                    <a:lnTo>
                      <a:pt x="34" y="64"/>
                    </a:lnTo>
                    <a:lnTo>
                      <a:pt x="34" y="59"/>
                    </a:lnTo>
                    <a:lnTo>
                      <a:pt x="37" y="51"/>
                    </a:lnTo>
                    <a:lnTo>
                      <a:pt x="35" y="48"/>
                    </a:lnTo>
                    <a:lnTo>
                      <a:pt x="19" y="32"/>
                    </a:lnTo>
                    <a:lnTo>
                      <a:pt x="13" y="30"/>
                    </a:lnTo>
                    <a:lnTo>
                      <a:pt x="6" y="21"/>
                    </a:lnTo>
                    <a:lnTo>
                      <a:pt x="0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1" name="Philippines"/>
              <p:cNvSpPr>
                <a:spLocks noChangeAspect="1"/>
              </p:cNvSpPr>
              <p:nvPr>
                <p:custDataLst>
                  <p:tags r:id="rId318"/>
                </p:custDataLst>
              </p:nvPr>
            </p:nvSpPr>
            <p:spPr bwMode="gray">
              <a:xfrm>
                <a:off x="3853" y="2356"/>
                <a:ext cx="13" cy="17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11" y="2"/>
                  </a:cxn>
                  <a:cxn ang="0">
                    <a:pos x="24" y="11"/>
                  </a:cxn>
                  <a:cxn ang="0">
                    <a:pos x="27" y="17"/>
                  </a:cxn>
                  <a:cxn ang="0">
                    <a:pos x="33" y="18"/>
                  </a:cxn>
                  <a:cxn ang="0">
                    <a:pos x="49" y="18"/>
                  </a:cxn>
                  <a:cxn ang="0">
                    <a:pos x="50" y="22"/>
                  </a:cxn>
                  <a:cxn ang="0">
                    <a:pos x="60" y="19"/>
                  </a:cxn>
                  <a:cxn ang="0">
                    <a:pos x="63" y="21"/>
                  </a:cxn>
                  <a:cxn ang="0">
                    <a:pos x="63" y="33"/>
                  </a:cxn>
                  <a:cxn ang="0">
                    <a:pos x="60" y="44"/>
                  </a:cxn>
                  <a:cxn ang="0">
                    <a:pos x="52" y="49"/>
                  </a:cxn>
                  <a:cxn ang="0">
                    <a:pos x="44" y="59"/>
                  </a:cxn>
                  <a:cxn ang="0">
                    <a:pos x="36" y="65"/>
                  </a:cxn>
                  <a:cxn ang="0">
                    <a:pos x="32" y="67"/>
                  </a:cxn>
                  <a:cxn ang="0">
                    <a:pos x="23" y="68"/>
                  </a:cxn>
                  <a:cxn ang="0">
                    <a:pos x="11" y="73"/>
                  </a:cxn>
                  <a:cxn ang="0">
                    <a:pos x="3" y="83"/>
                  </a:cxn>
                  <a:cxn ang="0">
                    <a:pos x="1" y="71"/>
                  </a:cxn>
                  <a:cxn ang="0">
                    <a:pos x="1" y="59"/>
                  </a:cxn>
                  <a:cxn ang="0">
                    <a:pos x="3" y="45"/>
                  </a:cxn>
                  <a:cxn ang="0">
                    <a:pos x="6" y="17"/>
                  </a:cxn>
                  <a:cxn ang="0">
                    <a:pos x="4" y="11"/>
                  </a:cxn>
                  <a:cxn ang="0">
                    <a:pos x="0" y="6"/>
                  </a:cxn>
                  <a:cxn ang="0">
                    <a:pos x="0" y="1"/>
                  </a:cxn>
                </a:cxnLst>
                <a:rect l="0" t="0" r="r" b="b"/>
                <a:pathLst>
                  <a:path w="63" h="83">
                    <a:moveTo>
                      <a:pt x="0" y="1"/>
                    </a:moveTo>
                    <a:lnTo>
                      <a:pt x="2" y="0"/>
                    </a:lnTo>
                    <a:lnTo>
                      <a:pt x="11" y="2"/>
                    </a:lnTo>
                    <a:lnTo>
                      <a:pt x="24" y="11"/>
                    </a:lnTo>
                    <a:lnTo>
                      <a:pt x="27" y="17"/>
                    </a:lnTo>
                    <a:lnTo>
                      <a:pt x="33" y="18"/>
                    </a:lnTo>
                    <a:lnTo>
                      <a:pt x="49" y="18"/>
                    </a:lnTo>
                    <a:lnTo>
                      <a:pt x="50" y="22"/>
                    </a:lnTo>
                    <a:lnTo>
                      <a:pt x="60" y="19"/>
                    </a:lnTo>
                    <a:lnTo>
                      <a:pt x="63" y="21"/>
                    </a:lnTo>
                    <a:lnTo>
                      <a:pt x="63" y="33"/>
                    </a:lnTo>
                    <a:lnTo>
                      <a:pt x="60" y="44"/>
                    </a:lnTo>
                    <a:lnTo>
                      <a:pt x="52" y="49"/>
                    </a:lnTo>
                    <a:lnTo>
                      <a:pt x="44" y="59"/>
                    </a:lnTo>
                    <a:lnTo>
                      <a:pt x="36" y="65"/>
                    </a:lnTo>
                    <a:lnTo>
                      <a:pt x="32" y="67"/>
                    </a:lnTo>
                    <a:lnTo>
                      <a:pt x="23" y="68"/>
                    </a:lnTo>
                    <a:lnTo>
                      <a:pt x="11" y="73"/>
                    </a:lnTo>
                    <a:lnTo>
                      <a:pt x="3" y="83"/>
                    </a:lnTo>
                    <a:lnTo>
                      <a:pt x="1" y="71"/>
                    </a:lnTo>
                    <a:lnTo>
                      <a:pt x="1" y="59"/>
                    </a:lnTo>
                    <a:lnTo>
                      <a:pt x="3" y="45"/>
                    </a:lnTo>
                    <a:lnTo>
                      <a:pt x="6" y="17"/>
                    </a:lnTo>
                    <a:lnTo>
                      <a:pt x="4" y="11"/>
                    </a:lnTo>
                    <a:lnTo>
                      <a:pt x="0" y="6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" name="Philippines"/>
              <p:cNvSpPr>
                <a:spLocks noChangeAspect="1"/>
              </p:cNvSpPr>
              <p:nvPr>
                <p:custDataLst>
                  <p:tags r:id="rId319"/>
                </p:custDataLst>
              </p:nvPr>
            </p:nvSpPr>
            <p:spPr bwMode="gray">
              <a:xfrm>
                <a:off x="3858" y="2367"/>
                <a:ext cx="12" cy="21"/>
              </a:xfrm>
              <a:custGeom>
                <a:avLst/>
                <a:gdLst/>
                <a:ahLst/>
                <a:cxnLst>
                  <a:cxn ang="0">
                    <a:pos x="29" y="8"/>
                  </a:cxn>
                  <a:cxn ang="0">
                    <a:pos x="39" y="0"/>
                  </a:cxn>
                  <a:cxn ang="0">
                    <a:pos x="43" y="1"/>
                  </a:cxn>
                  <a:cxn ang="0">
                    <a:pos x="59" y="5"/>
                  </a:cxn>
                  <a:cxn ang="0">
                    <a:pos x="59" y="14"/>
                  </a:cxn>
                  <a:cxn ang="0">
                    <a:pos x="57" y="25"/>
                  </a:cxn>
                  <a:cxn ang="0">
                    <a:pos x="52" y="30"/>
                  </a:cxn>
                  <a:cxn ang="0">
                    <a:pos x="51" y="41"/>
                  </a:cxn>
                  <a:cxn ang="0">
                    <a:pos x="41" y="62"/>
                  </a:cxn>
                  <a:cxn ang="0">
                    <a:pos x="40" y="75"/>
                  </a:cxn>
                  <a:cxn ang="0">
                    <a:pos x="41" y="83"/>
                  </a:cxn>
                  <a:cxn ang="0">
                    <a:pos x="44" y="90"/>
                  </a:cxn>
                  <a:cxn ang="0">
                    <a:pos x="43" y="101"/>
                  </a:cxn>
                  <a:cxn ang="0">
                    <a:pos x="34" y="107"/>
                  </a:cxn>
                  <a:cxn ang="0">
                    <a:pos x="25" y="97"/>
                  </a:cxn>
                  <a:cxn ang="0">
                    <a:pos x="19" y="89"/>
                  </a:cxn>
                  <a:cxn ang="0">
                    <a:pos x="13" y="86"/>
                  </a:cxn>
                  <a:cxn ang="0">
                    <a:pos x="6" y="79"/>
                  </a:cxn>
                  <a:cxn ang="0">
                    <a:pos x="0" y="69"/>
                  </a:cxn>
                  <a:cxn ang="0">
                    <a:pos x="3" y="57"/>
                  </a:cxn>
                  <a:cxn ang="0">
                    <a:pos x="18" y="51"/>
                  </a:cxn>
                  <a:cxn ang="0">
                    <a:pos x="22" y="42"/>
                  </a:cxn>
                  <a:cxn ang="0">
                    <a:pos x="22" y="25"/>
                  </a:cxn>
                  <a:cxn ang="0">
                    <a:pos x="27" y="10"/>
                  </a:cxn>
                  <a:cxn ang="0">
                    <a:pos x="29" y="8"/>
                  </a:cxn>
                </a:cxnLst>
                <a:rect l="0" t="0" r="r" b="b"/>
                <a:pathLst>
                  <a:path w="59" h="107">
                    <a:moveTo>
                      <a:pt x="29" y="8"/>
                    </a:moveTo>
                    <a:lnTo>
                      <a:pt x="39" y="0"/>
                    </a:lnTo>
                    <a:lnTo>
                      <a:pt x="43" y="1"/>
                    </a:lnTo>
                    <a:lnTo>
                      <a:pt x="59" y="5"/>
                    </a:lnTo>
                    <a:lnTo>
                      <a:pt x="59" y="14"/>
                    </a:lnTo>
                    <a:lnTo>
                      <a:pt x="57" y="25"/>
                    </a:lnTo>
                    <a:lnTo>
                      <a:pt x="52" y="30"/>
                    </a:lnTo>
                    <a:lnTo>
                      <a:pt x="51" y="41"/>
                    </a:lnTo>
                    <a:lnTo>
                      <a:pt x="41" y="62"/>
                    </a:lnTo>
                    <a:lnTo>
                      <a:pt x="40" y="75"/>
                    </a:lnTo>
                    <a:lnTo>
                      <a:pt x="41" y="83"/>
                    </a:lnTo>
                    <a:lnTo>
                      <a:pt x="44" y="90"/>
                    </a:lnTo>
                    <a:lnTo>
                      <a:pt x="43" y="101"/>
                    </a:lnTo>
                    <a:lnTo>
                      <a:pt x="34" y="107"/>
                    </a:lnTo>
                    <a:lnTo>
                      <a:pt x="25" y="97"/>
                    </a:lnTo>
                    <a:lnTo>
                      <a:pt x="19" y="89"/>
                    </a:lnTo>
                    <a:lnTo>
                      <a:pt x="13" y="86"/>
                    </a:lnTo>
                    <a:lnTo>
                      <a:pt x="6" y="79"/>
                    </a:lnTo>
                    <a:lnTo>
                      <a:pt x="0" y="69"/>
                    </a:lnTo>
                    <a:lnTo>
                      <a:pt x="3" y="57"/>
                    </a:lnTo>
                    <a:lnTo>
                      <a:pt x="18" y="51"/>
                    </a:lnTo>
                    <a:lnTo>
                      <a:pt x="22" y="42"/>
                    </a:lnTo>
                    <a:lnTo>
                      <a:pt x="22" y="25"/>
                    </a:lnTo>
                    <a:lnTo>
                      <a:pt x="27" y="10"/>
                    </a:lnTo>
                    <a:lnTo>
                      <a:pt x="29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3" name="Philippines"/>
              <p:cNvSpPr>
                <a:spLocks noChangeAspect="1"/>
              </p:cNvSpPr>
              <p:nvPr>
                <p:custDataLst>
                  <p:tags r:id="rId320"/>
                </p:custDataLst>
              </p:nvPr>
            </p:nvSpPr>
            <p:spPr bwMode="gray">
              <a:xfrm>
                <a:off x="3879" y="2361"/>
                <a:ext cx="10" cy="1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5"/>
                  </a:cxn>
                  <a:cxn ang="0">
                    <a:pos x="6" y="8"/>
                  </a:cxn>
                  <a:cxn ang="0">
                    <a:pos x="11" y="6"/>
                  </a:cxn>
                  <a:cxn ang="0">
                    <a:pos x="16" y="8"/>
                  </a:cxn>
                  <a:cxn ang="0">
                    <a:pos x="29" y="7"/>
                  </a:cxn>
                  <a:cxn ang="0">
                    <a:pos x="37" y="18"/>
                  </a:cxn>
                  <a:cxn ang="0">
                    <a:pos x="38" y="43"/>
                  </a:cxn>
                  <a:cxn ang="0">
                    <a:pos x="43" y="51"/>
                  </a:cxn>
                  <a:cxn ang="0">
                    <a:pos x="48" y="64"/>
                  </a:cxn>
                  <a:cxn ang="0">
                    <a:pos x="51" y="69"/>
                  </a:cxn>
                  <a:cxn ang="0">
                    <a:pos x="44" y="72"/>
                  </a:cxn>
                  <a:cxn ang="0">
                    <a:pos x="38" y="70"/>
                  </a:cxn>
                  <a:cxn ang="0">
                    <a:pos x="37" y="81"/>
                  </a:cxn>
                  <a:cxn ang="0">
                    <a:pos x="29" y="78"/>
                  </a:cxn>
                  <a:cxn ang="0">
                    <a:pos x="26" y="67"/>
                  </a:cxn>
                  <a:cxn ang="0">
                    <a:pos x="26" y="43"/>
                  </a:cxn>
                  <a:cxn ang="0">
                    <a:pos x="19" y="30"/>
                  </a:cxn>
                  <a:cxn ang="0">
                    <a:pos x="8" y="34"/>
                  </a:cxn>
                  <a:cxn ang="0">
                    <a:pos x="6" y="22"/>
                  </a:cxn>
                  <a:cxn ang="0">
                    <a:pos x="3" y="10"/>
                  </a:cxn>
                  <a:cxn ang="0">
                    <a:pos x="1" y="6"/>
                  </a:cxn>
                  <a:cxn ang="0">
                    <a:pos x="0" y="0"/>
                  </a:cxn>
                </a:cxnLst>
                <a:rect l="0" t="0" r="r" b="b"/>
                <a:pathLst>
                  <a:path w="51" h="81">
                    <a:moveTo>
                      <a:pt x="0" y="0"/>
                    </a:moveTo>
                    <a:lnTo>
                      <a:pt x="2" y="5"/>
                    </a:lnTo>
                    <a:lnTo>
                      <a:pt x="6" y="8"/>
                    </a:lnTo>
                    <a:lnTo>
                      <a:pt x="11" y="6"/>
                    </a:lnTo>
                    <a:lnTo>
                      <a:pt x="16" y="8"/>
                    </a:lnTo>
                    <a:lnTo>
                      <a:pt x="29" y="7"/>
                    </a:lnTo>
                    <a:lnTo>
                      <a:pt x="37" y="18"/>
                    </a:lnTo>
                    <a:lnTo>
                      <a:pt x="38" y="43"/>
                    </a:lnTo>
                    <a:lnTo>
                      <a:pt x="43" y="51"/>
                    </a:lnTo>
                    <a:lnTo>
                      <a:pt x="48" y="64"/>
                    </a:lnTo>
                    <a:lnTo>
                      <a:pt x="51" y="69"/>
                    </a:lnTo>
                    <a:lnTo>
                      <a:pt x="44" y="72"/>
                    </a:lnTo>
                    <a:lnTo>
                      <a:pt x="38" y="70"/>
                    </a:lnTo>
                    <a:lnTo>
                      <a:pt x="37" y="81"/>
                    </a:lnTo>
                    <a:lnTo>
                      <a:pt x="29" y="78"/>
                    </a:lnTo>
                    <a:lnTo>
                      <a:pt x="26" y="67"/>
                    </a:lnTo>
                    <a:lnTo>
                      <a:pt x="26" y="43"/>
                    </a:lnTo>
                    <a:lnTo>
                      <a:pt x="19" y="30"/>
                    </a:lnTo>
                    <a:lnTo>
                      <a:pt x="8" y="34"/>
                    </a:lnTo>
                    <a:lnTo>
                      <a:pt x="6" y="22"/>
                    </a:lnTo>
                    <a:lnTo>
                      <a:pt x="3" y="10"/>
                    </a:lnTo>
                    <a:lnTo>
                      <a:pt x="1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4" name="Philippines"/>
              <p:cNvSpPr>
                <a:spLocks noChangeAspect="1"/>
              </p:cNvSpPr>
              <p:nvPr>
                <p:custDataLst>
                  <p:tags r:id="rId321"/>
                </p:custDataLst>
              </p:nvPr>
            </p:nvSpPr>
            <p:spPr bwMode="gray">
              <a:xfrm>
                <a:off x="3869" y="2363"/>
                <a:ext cx="7" cy="20"/>
              </a:xfrm>
              <a:custGeom>
                <a:avLst/>
                <a:gdLst/>
                <a:ahLst/>
                <a:cxnLst>
                  <a:cxn ang="0">
                    <a:pos x="35" y="2"/>
                  </a:cxn>
                  <a:cxn ang="0">
                    <a:pos x="37" y="0"/>
                  </a:cxn>
                  <a:cxn ang="0">
                    <a:pos x="38" y="5"/>
                  </a:cxn>
                  <a:cxn ang="0">
                    <a:pos x="37" y="10"/>
                  </a:cxn>
                  <a:cxn ang="0">
                    <a:pos x="37" y="33"/>
                  </a:cxn>
                  <a:cxn ang="0">
                    <a:pos x="36" y="48"/>
                  </a:cxn>
                  <a:cxn ang="0">
                    <a:pos x="24" y="58"/>
                  </a:cxn>
                  <a:cxn ang="0">
                    <a:pos x="15" y="75"/>
                  </a:cxn>
                  <a:cxn ang="0">
                    <a:pos x="10" y="86"/>
                  </a:cxn>
                  <a:cxn ang="0">
                    <a:pos x="6" y="96"/>
                  </a:cxn>
                  <a:cxn ang="0">
                    <a:pos x="3" y="99"/>
                  </a:cxn>
                  <a:cxn ang="0">
                    <a:pos x="0" y="87"/>
                  </a:cxn>
                  <a:cxn ang="0">
                    <a:pos x="0" y="78"/>
                  </a:cxn>
                  <a:cxn ang="0">
                    <a:pos x="8" y="58"/>
                  </a:cxn>
                  <a:cxn ang="0">
                    <a:pos x="17" y="41"/>
                  </a:cxn>
                  <a:cxn ang="0">
                    <a:pos x="26" y="21"/>
                  </a:cxn>
                  <a:cxn ang="0">
                    <a:pos x="31" y="5"/>
                  </a:cxn>
                  <a:cxn ang="0">
                    <a:pos x="35" y="2"/>
                  </a:cxn>
                </a:cxnLst>
                <a:rect l="0" t="0" r="r" b="b"/>
                <a:pathLst>
                  <a:path w="38" h="99">
                    <a:moveTo>
                      <a:pt x="35" y="2"/>
                    </a:moveTo>
                    <a:lnTo>
                      <a:pt x="37" y="0"/>
                    </a:lnTo>
                    <a:lnTo>
                      <a:pt x="38" y="5"/>
                    </a:lnTo>
                    <a:lnTo>
                      <a:pt x="37" y="10"/>
                    </a:lnTo>
                    <a:lnTo>
                      <a:pt x="37" y="33"/>
                    </a:lnTo>
                    <a:lnTo>
                      <a:pt x="36" y="48"/>
                    </a:lnTo>
                    <a:lnTo>
                      <a:pt x="24" y="58"/>
                    </a:lnTo>
                    <a:lnTo>
                      <a:pt x="15" y="75"/>
                    </a:lnTo>
                    <a:lnTo>
                      <a:pt x="10" y="86"/>
                    </a:lnTo>
                    <a:lnTo>
                      <a:pt x="6" y="96"/>
                    </a:lnTo>
                    <a:lnTo>
                      <a:pt x="3" y="99"/>
                    </a:lnTo>
                    <a:lnTo>
                      <a:pt x="0" y="87"/>
                    </a:lnTo>
                    <a:lnTo>
                      <a:pt x="0" y="78"/>
                    </a:lnTo>
                    <a:lnTo>
                      <a:pt x="8" y="58"/>
                    </a:lnTo>
                    <a:lnTo>
                      <a:pt x="17" y="41"/>
                    </a:lnTo>
                    <a:lnTo>
                      <a:pt x="26" y="21"/>
                    </a:lnTo>
                    <a:lnTo>
                      <a:pt x="31" y="5"/>
                    </a:lnTo>
                    <a:lnTo>
                      <a:pt x="35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5" name="Philippines"/>
              <p:cNvSpPr>
                <a:spLocks noChangeAspect="1"/>
              </p:cNvSpPr>
              <p:nvPr>
                <p:custDataLst>
                  <p:tags r:id="rId322"/>
                </p:custDataLst>
              </p:nvPr>
            </p:nvSpPr>
            <p:spPr bwMode="gray">
              <a:xfrm>
                <a:off x="3874" y="2375"/>
                <a:ext cx="8" cy="7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0" y="16"/>
                  </a:cxn>
                  <a:cxn ang="0">
                    <a:pos x="2" y="16"/>
                  </a:cxn>
                  <a:cxn ang="0">
                    <a:pos x="9" y="12"/>
                  </a:cxn>
                  <a:cxn ang="0">
                    <a:pos x="12" y="5"/>
                  </a:cxn>
                  <a:cxn ang="0">
                    <a:pos x="20" y="0"/>
                  </a:cxn>
                  <a:cxn ang="0">
                    <a:pos x="32" y="5"/>
                  </a:cxn>
                  <a:cxn ang="0">
                    <a:pos x="39" y="3"/>
                  </a:cxn>
                  <a:cxn ang="0">
                    <a:pos x="39" y="14"/>
                  </a:cxn>
                  <a:cxn ang="0">
                    <a:pos x="38" y="18"/>
                  </a:cxn>
                  <a:cxn ang="0">
                    <a:pos x="39" y="24"/>
                  </a:cxn>
                  <a:cxn ang="0">
                    <a:pos x="37" y="27"/>
                  </a:cxn>
                  <a:cxn ang="0">
                    <a:pos x="22" y="31"/>
                  </a:cxn>
                  <a:cxn ang="0">
                    <a:pos x="7" y="30"/>
                  </a:cxn>
                  <a:cxn ang="0">
                    <a:pos x="4" y="26"/>
                  </a:cxn>
                  <a:cxn ang="0">
                    <a:pos x="0" y="18"/>
                  </a:cxn>
                </a:cxnLst>
                <a:rect l="0" t="0" r="r" b="b"/>
                <a:pathLst>
                  <a:path w="39" h="31">
                    <a:moveTo>
                      <a:pt x="0" y="18"/>
                    </a:moveTo>
                    <a:lnTo>
                      <a:pt x="0" y="16"/>
                    </a:lnTo>
                    <a:lnTo>
                      <a:pt x="2" y="16"/>
                    </a:lnTo>
                    <a:lnTo>
                      <a:pt x="9" y="12"/>
                    </a:lnTo>
                    <a:lnTo>
                      <a:pt x="12" y="5"/>
                    </a:lnTo>
                    <a:lnTo>
                      <a:pt x="20" y="0"/>
                    </a:lnTo>
                    <a:lnTo>
                      <a:pt x="32" y="5"/>
                    </a:lnTo>
                    <a:lnTo>
                      <a:pt x="39" y="3"/>
                    </a:lnTo>
                    <a:lnTo>
                      <a:pt x="39" y="14"/>
                    </a:lnTo>
                    <a:lnTo>
                      <a:pt x="38" y="18"/>
                    </a:lnTo>
                    <a:lnTo>
                      <a:pt x="39" y="24"/>
                    </a:lnTo>
                    <a:lnTo>
                      <a:pt x="37" y="27"/>
                    </a:lnTo>
                    <a:lnTo>
                      <a:pt x="22" y="31"/>
                    </a:lnTo>
                    <a:lnTo>
                      <a:pt x="7" y="30"/>
                    </a:lnTo>
                    <a:lnTo>
                      <a:pt x="4" y="26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6" name="Philippines"/>
              <p:cNvSpPr>
                <a:spLocks noChangeAspect="1"/>
              </p:cNvSpPr>
              <p:nvPr>
                <p:custDataLst>
                  <p:tags r:id="rId323"/>
                </p:custDataLst>
              </p:nvPr>
            </p:nvSpPr>
            <p:spPr bwMode="gray">
              <a:xfrm>
                <a:off x="3853" y="2380"/>
                <a:ext cx="51" cy="46"/>
              </a:xfrm>
              <a:custGeom>
                <a:avLst/>
                <a:gdLst/>
                <a:ahLst/>
                <a:cxnLst>
                  <a:cxn ang="0">
                    <a:pos x="190" y="0"/>
                  </a:cxn>
                  <a:cxn ang="0">
                    <a:pos x="207" y="10"/>
                  </a:cxn>
                  <a:cxn ang="0">
                    <a:pos x="224" y="26"/>
                  </a:cxn>
                  <a:cxn ang="0">
                    <a:pos x="233" y="33"/>
                  </a:cxn>
                  <a:cxn ang="0">
                    <a:pos x="240" y="51"/>
                  </a:cxn>
                  <a:cxn ang="0">
                    <a:pos x="242" y="70"/>
                  </a:cxn>
                  <a:cxn ang="0">
                    <a:pos x="246" y="86"/>
                  </a:cxn>
                  <a:cxn ang="0">
                    <a:pos x="250" y="110"/>
                  </a:cxn>
                  <a:cxn ang="0">
                    <a:pos x="254" y="142"/>
                  </a:cxn>
                  <a:cxn ang="0">
                    <a:pos x="243" y="152"/>
                  </a:cxn>
                  <a:cxn ang="0">
                    <a:pos x="238" y="185"/>
                  </a:cxn>
                  <a:cxn ang="0">
                    <a:pos x="227" y="167"/>
                  </a:cxn>
                  <a:cxn ang="0">
                    <a:pos x="221" y="142"/>
                  </a:cxn>
                  <a:cxn ang="0">
                    <a:pos x="212" y="131"/>
                  </a:cxn>
                  <a:cxn ang="0">
                    <a:pos x="192" y="158"/>
                  </a:cxn>
                  <a:cxn ang="0">
                    <a:pos x="197" y="179"/>
                  </a:cxn>
                  <a:cxn ang="0">
                    <a:pos x="206" y="201"/>
                  </a:cxn>
                  <a:cxn ang="0">
                    <a:pos x="194" y="227"/>
                  </a:cxn>
                  <a:cxn ang="0">
                    <a:pos x="184" y="211"/>
                  </a:cxn>
                  <a:cxn ang="0">
                    <a:pos x="174" y="211"/>
                  </a:cxn>
                  <a:cxn ang="0">
                    <a:pos x="156" y="210"/>
                  </a:cxn>
                  <a:cxn ang="0">
                    <a:pos x="125" y="189"/>
                  </a:cxn>
                  <a:cxn ang="0">
                    <a:pos x="119" y="171"/>
                  </a:cxn>
                  <a:cxn ang="0">
                    <a:pos x="113" y="150"/>
                  </a:cxn>
                  <a:cxn ang="0">
                    <a:pos x="125" y="126"/>
                  </a:cxn>
                  <a:cxn ang="0">
                    <a:pos x="105" y="108"/>
                  </a:cxn>
                  <a:cxn ang="0">
                    <a:pos x="89" y="104"/>
                  </a:cxn>
                  <a:cxn ang="0">
                    <a:pos x="81" y="125"/>
                  </a:cxn>
                  <a:cxn ang="0">
                    <a:pos x="68" y="121"/>
                  </a:cxn>
                  <a:cxn ang="0">
                    <a:pos x="55" y="126"/>
                  </a:cxn>
                  <a:cxn ang="0">
                    <a:pos x="50" y="123"/>
                  </a:cxn>
                  <a:cxn ang="0">
                    <a:pos x="39" y="112"/>
                  </a:cxn>
                  <a:cxn ang="0">
                    <a:pos x="16" y="153"/>
                  </a:cxn>
                  <a:cxn ang="0">
                    <a:pos x="3" y="155"/>
                  </a:cxn>
                  <a:cxn ang="0">
                    <a:pos x="7" y="121"/>
                  </a:cxn>
                  <a:cxn ang="0">
                    <a:pos x="22" y="93"/>
                  </a:cxn>
                  <a:cxn ang="0">
                    <a:pos x="56" y="76"/>
                  </a:cxn>
                  <a:cxn ang="0">
                    <a:pos x="73" y="64"/>
                  </a:cxn>
                  <a:cxn ang="0">
                    <a:pos x="99" y="64"/>
                  </a:cxn>
                  <a:cxn ang="0">
                    <a:pos x="98" y="94"/>
                  </a:cxn>
                  <a:cxn ang="0">
                    <a:pos x="127" y="69"/>
                  </a:cxn>
                  <a:cxn ang="0">
                    <a:pos x="146" y="66"/>
                  </a:cxn>
                  <a:cxn ang="0">
                    <a:pos x="153" y="49"/>
                  </a:cxn>
                  <a:cxn ang="0">
                    <a:pos x="169" y="46"/>
                  </a:cxn>
                  <a:cxn ang="0">
                    <a:pos x="189" y="43"/>
                  </a:cxn>
                  <a:cxn ang="0">
                    <a:pos x="194" y="26"/>
                  </a:cxn>
                  <a:cxn ang="0">
                    <a:pos x="191" y="1"/>
                  </a:cxn>
                </a:cxnLst>
                <a:rect l="0" t="0" r="r" b="b"/>
                <a:pathLst>
                  <a:path w="254" h="227">
                    <a:moveTo>
                      <a:pt x="191" y="1"/>
                    </a:moveTo>
                    <a:lnTo>
                      <a:pt x="190" y="0"/>
                    </a:lnTo>
                    <a:lnTo>
                      <a:pt x="200" y="0"/>
                    </a:lnTo>
                    <a:lnTo>
                      <a:pt x="207" y="10"/>
                    </a:lnTo>
                    <a:lnTo>
                      <a:pt x="215" y="13"/>
                    </a:lnTo>
                    <a:lnTo>
                      <a:pt x="224" y="26"/>
                    </a:lnTo>
                    <a:lnTo>
                      <a:pt x="229" y="26"/>
                    </a:lnTo>
                    <a:lnTo>
                      <a:pt x="233" y="33"/>
                    </a:lnTo>
                    <a:lnTo>
                      <a:pt x="240" y="46"/>
                    </a:lnTo>
                    <a:lnTo>
                      <a:pt x="240" y="51"/>
                    </a:lnTo>
                    <a:lnTo>
                      <a:pt x="231" y="64"/>
                    </a:lnTo>
                    <a:lnTo>
                      <a:pt x="242" y="70"/>
                    </a:lnTo>
                    <a:lnTo>
                      <a:pt x="242" y="81"/>
                    </a:lnTo>
                    <a:lnTo>
                      <a:pt x="246" y="86"/>
                    </a:lnTo>
                    <a:lnTo>
                      <a:pt x="248" y="104"/>
                    </a:lnTo>
                    <a:lnTo>
                      <a:pt x="250" y="110"/>
                    </a:lnTo>
                    <a:lnTo>
                      <a:pt x="254" y="124"/>
                    </a:lnTo>
                    <a:lnTo>
                      <a:pt x="254" y="142"/>
                    </a:lnTo>
                    <a:lnTo>
                      <a:pt x="249" y="150"/>
                    </a:lnTo>
                    <a:lnTo>
                      <a:pt x="243" y="152"/>
                    </a:lnTo>
                    <a:lnTo>
                      <a:pt x="238" y="161"/>
                    </a:lnTo>
                    <a:lnTo>
                      <a:pt x="238" y="185"/>
                    </a:lnTo>
                    <a:lnTo>
                      <a:pt x="231" y="179"/>
                    </a:lnTo>
                    <a:lnTo>
                      <a:pt x="227" y="167"/>
                    </a:lnTo>
                    <a:lnTo>
                      <a:pt x="227" y="151"/>
                    </a:lnTo>
                    <a:lnTo>
                      <a:pt x="221" y="142"/>
                    </a:lnTo>
                    <a:lnTo>
                      <a:pt x="217" y="134"/>
                    </a:lnTo>
                    <a:lnTo>
                      <a:pt x="212" y="131"/>
                    </a:lnTo>
                    <a:lnTo>
                      <a:pt x="207" y="135"/>
                    </a:lnTo>
                    <a:lnTo>
                      <a:pt x="192" y="158"/>
                    </a:lnTo>
                    <a:lnTo>
                      <a:pt x="191" y="172"/>
                    </a:lnTo>
                    <a:lnTo>
                      <a:pt x="197" y="179"/>
                    </a:lnTo>
                    <a:lnTo>
                      <a:pt x="202" y="189"/>
                    </a:lnTo>
                    <a:lnTo>
                      <a:pt x="206" y="201"/>
                    </a:lnTo>
                    <a:lnTo>
                      <a:pt x="206" y="207"/>
                    </a:lnTo>
                    <a:lnTo>
                      <a:pt x="194" y="227"/>
                    </a:lnTo>
                    <a:lnTo>
                      <a:pt x="186" y="223"/>
                    </a:lnTo>
                    <a:lnTo>
                      <a:pt x="184" y="211"/>
                    </a:lnTo>
                    <a:lnTo>
                      <a:pt x="183" y="205"/>
                    </a:lnTo>
                    <a:lnTo>
                      <a:pt x="174" y="211"/>
                    </a:lnTo>
                    <a:lnTo>
                      <a:pt x="164" y="212"/>
                    </a:lnTo>
                    <a:lnTo>
                      <a:pt x="156" y="210"/>
                    </a:lnTo>
                    <a:lnTo>
                      <a:pt x="133" y="199"/>
                    </a:lnTo>
                    <a:lnTo>
                      <a:pt x="125" y="189"/>
                    </a:lnTo>
                    <a:lnTo>
                      <a:pt x="120" y="182"/>
                    </a:lnTo>
                    <a:lnTo>
                      <a:pt x="119" y="171"/>
                    </a:lnTo>
                    <a:lnTo>
                      <a:pt x="116" y="162"/>
                    </a:lnTo>
                    <a:lnTo>
                      <a:pt x="113" y="150"/>
                    </a:lnTo>
                    <a:lnTo>
                      <a:pt x="125" y="134"/>
                    </a:lnTo>
                    <a:lnTo>
                      <a:pt x="125" y="126"/>
                    </a:lnTo>
                    <a:lnTo>
                      <a:pt x="116" y="116"/>
                    </a:lnTo>
                    <a:lnTo>
                      <a:pt x="105" y="108"/>
                    </a:lnTo>
                    <a:lnTo>
                      <a:pt x="97" y="104"/>
                    </a:lnTo>
                    <a:lnTo>
                      <a:pt x="89" y="104"/>
                    </a:lnTo>
                    <a:lnTo>
                      <a:pt x="81" y="119"/>
                    </a:lnTo>
                    <a:lnTo>
                      <a:pt x="81" y="125"/>
                    </a:lnTo>
                    <a:lnTo>
                      <a:pt x="73" y="121"/>
                    </a:lnTo>
                    <a:lnTo>
                      <a:pt x="68" y="121"/>
                    </a:lnTo>
                    <a:lnTo>
                      <a:pt x="68" y="114"/>
                    </a:lnTo>
                    <a:lnTo>
                      <a:pt x="55" y="126"/>
                    </a:lnTo>
                    <a:lnTo>
                      <a:pt x="54" y="132"/>
                    </a:lnTo>
                    <a:lnTo>
                      <a:pt x="50" y="123"/>
                    </a:lnTo>
                    <a:lnTo>
                      <a:pt x="47" y="112"/>
                    </a:lnTo>
                    <a:lnTo>
                      <a:pt x="39" y="112"/>
                    </a:lnTo>
                    <a:lnTo>
                      <a:pt x="28" y="124"/>
                    </a:lnTo>
                    <a:lnTo>
                      <a:pt x="16" y="153"/>
                    </a:lnTo>
                    <a:lnTo>
                      <a:pt x="9" y="156"/>
                    </a:lnTo>
                    <a:lnTo>
                      <a:pt x="3" y="155"/>
                    </a:lnTo>
                    <a:lnTo>
                      <a:pt x="0" y="144"/>
                    </a:lnTo>
                    <a:lnTo>
                      <a:pt x="7" y="121"/>
                    </a:lnTo>
                    <a:lnTo>
                      <a:pt x="12" y="104"/>
                    </a:lnTo>
                    <a:lnTo>
                      <a:pt x="22" y="93"/>
                    </a:lnTo>
                    <a:lnTo>
                      <a:pt x="52" y="85"/>
                    </a:lnTo>
                    <a:lnTo>
                      <a:pt x="56" y="76"/>
                    </a:lnTo>
                    <a:lnTo>
                      <a:pt x="63" y="69"/>
                    </a:lnTo>
                    <a:lnTo>
                      <a:pt x="73" y="64"/>
                    </a:lnTo>
                    <a:lnTo>
                      <a:pt x="79" y="56"/>
                    </a:lnTo>
                    <a:lnTo>
                      <a:pt x="99" y="64"/>
                    </a:lnTo>
                    <a:lnTo>
                      <a:pt x="104" y="76"/>
                    </a:lnTo>
                    <a:lnTo>
                      <a:pt x="98" y="94"/>
                    </a:lnTo>
                    <a:lnTo>
                      <a:pt x="120" y="85"/>
                    </a:lnTo>
                    <a:lnTo>
                      <a:pt x="127" y="69"/>
                    </a:lnTo>
                    <a:lnTo>
                      <a:pt x="138" y="64"/>
                    </a:lnTo>
                    <a:lnTo>
                      <a:pt x="146" y="66"/>
                    </a:lnTo>
                    <a:lnTo>
                      <a:pt x="151" y="60"/>
                    </a:lnTo>
                    <a:lnTo>
                      <a:pt x="153" y="49"/>
                    </a:lnTo>
                    <a:lnTo>
                      <a:pt x="158" y="43"/>
                    </a:lnTo>
                    <a:lnTo>
                      <a:pt x="169" y="46"/>
                    </a:lnTo>
                    <a:lnTo>
                      <a:pt x="181" y="40"/>
                    </a:lnTo>
                    <a:lnTo>
                      <a:pt x="189" y="43"/>
                    </a:lnTo>
                    <a:lnTo>
                      <a:pt x="192" y="39"/>
                    </a:lnTo>
                    <a:lnTo>
                      <a:pt x="194" y="26"/>
                    </a:lnTo>
                    <a:lnTo>
                      <a:pt x="191" y="7"/>
                    </a:lnTo>
                    <a:lnTo>
                      <a:pt x="191" y="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70" name="Brunei"/>
            <p:cNvSpPr>
              <a:spLocks noChangeAspect="1"/>
            </p:cNvSpPr>
            <p:nvPr>
              <p:custDataLst>
                <p:tags r:id="rId68"/>
              </p:custDataLst>
            </p:nvPr>
          </p:nvSpPr>
          <p:spPr bwMode="gray">
            <a:xfrm>
              <a:off x="7379432" y="4498652"/>
              <a:ext cx="35109" cy="28087"/>
            </a:xfrm>
            <a:custGeom>
              <a:avLst/>
              <a:gdLst/>
              <a:ahLst/>
              <a:cxnLst>
                <a:cxn ang="0">
                  <a:pos x="67" y="9"/>
                </a:cxn>
                <a:cxn ang="0">
                  <a:pos x="72" y="14"/>
                </a:cxn>
                <a:cxn ang="0">
                  <a:pos x="76" y="21"/>
                </a:cxn>
                <a:cxn ang="0">
                  <a:pos x="77" y="26"/>
                </a:cxn>
                <a:cxn ang="0">
                  <a:pos x="77" y="32"/>
                </a:cxn>
                <a:cxn ang="0">
                  <a:pos x="76" y="37"/>
                </a:cxn>
                <a:cxn ang="0">
                  <a:pos x="70" y="37"/>
                </a:cxn>
                <a:cxn ang="0">
                  <a:pos x="65" y="35"/>
                </a:cxn>
                <a:cxn ang="0">
                  <a:pos x="61" y="27"/>
                </a:cxn>
                <a:cxn ang="0">
                  <a:pos x="59" y="20"/>
                </a:cxn>
                <a:cxn ang="0">
                  <a:pos x="56" y="16"/>
                </a:cxn>
                <a:cxn ang="0">
                  <a:pos x="51" y="16"/>
                </a:cxn>
                <a:cxn ang="0">
                  <a:pos x="46" y="19"/>
                </a:cxn>
                <a:cxn ang="0">
                  <a:pos x="43" y="24"/>
                </a:cxn>
                <a:cxn ang="0">
                  <a:pos x="41" y="48"/>
                </a:cxn>
                <a:cxn ang="0">
                  <a:pos x="39" y="56"/>
                </a:cxn>
                <a:cxn ang="0">
                  <a:pos x="34" y="58"/>
                </a:cxn>
                <a:cxn ang="0">
                  <a:pos x="29" y="57"/>
                </a:cxn>
                <a:cxn ang="0">
                  <a:pos x="26" y="53"/>
                </a:cxn>
                <a:cxn ang="0">
                  <a:pos x="21" y="48"/>
                </a:cxn>
                <a:cxn ang="0">
                  <a:pos x="17" y="42"/>
                </a:cxn>
                <a:cxn ang="0">
                  <a:pos x="7" y="31"/>
                </a:cxn>
                <a:cxn ang="0">
                  <a:pos x="3" y="29"/>
                </a:cxn>
                <a:cxn ang="0">
                  <a:pos x="0" y="27"/>
                </a:cxn>
                <a:cxn ang="0">
                  <a:pos x="2" y="25"/>
                </a:cxn>
                <a:cxn ang="0">
                  <a:pos x="11" y="22"/>
                </a:cxn>
                <a:cxn ang="0">
                  <a:pos x="26" y="21"/>
                </a:cxn>
                <a:cxn ang="0">
                  <a:pos x="33" y="16"/>
                </a:cxn>
                <a:cxn ang="0">
                  <a:pos x="53" y="0"/>
                </a:cxn>
                <a:cxn ang="0">
                  <a:pos x="55" y="8"/>
                </a:cxn>
                <a:cxn ang="0">
                  <a:pos x="67" y="9"/>
                </a:cxn>
              </a:cxnLst>
              <a:rect l="0" t="0" r="r" b="b"/>
              <a:pathLst>
                <a:path w="77" h="58">
                  <a:moveTo>
                    <a:pt x="67" y="9"/>
                  </a:moveTo>
                  <a:lnTo>
                    <a:pt x="72" y="14"/>
                  </a:lnTo>
                  <a:lnTo>
                    <a:pt x="76" y="21"/>
                  </a:lnTo>
                  <a:lnTo>
                    <a:pt x="77" y="26"/>
                  </a:lnTo>
                  <a:lnTo>
                    <a:pt x="77" y="32"/>
                  </a:lnTo>
                  <a:lnTo>
                    <a:pt x="76" y="37"/>
                  </a:lnTo>
                  <a:lnTo>
                    <a:pt x="70" y="37"/>
                  </a:lnTo>
                  <a:lnTo>
                    <a:pt x="65" y="35"/>
                  </a:lnTo>
                  <a:lnTo>
                    <a:pt x="61" y="27"/>
                  </a:lnTo>
                  <a:lnTo>
                    <a:pt x="59" y="20"/>
                  </a:lnTo>
                  <a:lnTo>
                    <a:pt x="56" y="16"/>
                  </a:lnTo>
                  <a:lnTo>
                    <a:pt x="51" y="16"/>
                  </a:lnTo>
                  <a:lnTo>
                    <a:pt x="46" y="19"/>
                  </a:lnTo>
                  <a:lnTo>
                    <a:pt x="43" y="24"/>
                  </a:lnTo>
                  <a:lnTo>
                    <a:pt x="41" y="48"/>
                  </a:lnTo>
                  <a:lnTo>
                    <a:pt x="39" y="56"/>
                  </a:lnTo>
                  <a:lnTo>
                    <a:pt x="34" y="58"/>
                  </a:lnTo>
                  <a:lnTo>
                    <a:pt x="29" y="57"/>
                  </a:lnTo>
                  <a:lnTo>
                    <a:pt x="26" y="53"/>
                  </a:lnTo>
                  <a:lnTo>
                    <a:pt x="21" y="48"/>
                  </a:lnTo>
                  <a:lnTo>
                    <a:pt x="17" y="42"/>
                  </a:lnTo>
                  <a:lnTo>
                    <a:pt x="7" y="31"/>
                  </a:lnTo>
                  <a:lnTo>
                    <a:pt x="3" y="29"/>
                  </a:lnTo>
                  <a:lnTo>
                    <a:pt x="0" y="27"/>
                  </a:lnTo>
                  <a:lnTo>
                    <a:pt x="2" y="25"/>
                  </a:lnTo>
                  <a:lnTo>
                    <a:pt x="11" y="22"/>
                  </a:lnTo>
                  <a:lnTo>
                    <a:pt x="26" y="21"/>
                  </a:lnTo>
                  <a:lnTo>
                    <a:pt x="33" y="16"/>
                  </a:lnTo>
                  <a:lnTo>
                    <a:pt x="53" y="0"/>
                  </a:lnTo>
                  <a:lnTo>
                    <a:pt x="55" y="8"/>
                  </a:lnTo>
                  <a:lnTo>
                    <a:pt x="67" y="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71" name="Indonesia"/>
            <p:cNvSpPr>
              <a:spLocks noChangeAspect="1"/>
            </p:cNvSpPr>
            <p:nvPr>
              <p:custDataLst>
                <p:tags r:id="rId69"/>
              </p:custDataLst>
            </p:nvPr>
          </p:nvSpPr>
          <p:spPr bwMode="gray">
            <a:xfrm>
              <a:off x="7433265" y="4711646"/>
              <a:ext cx="7022" cy="21065"/>
            </a:xfrm>
            <a:custGeom>
              <a:avLst/>
              <a:gdLst/>
              <a:ahLst/>
              <a:cxnLst>
                <a:cxn ang="0">
                  <a:pos x="8" y="1"/>
                </a:cxn>
                <a:cxn ang="0">
                  <a:pos x="9" y="0"/>
                </a:cxn>
                <a:cxn ang="0">
                  <a:pos x="11" y="10"/>
                </a:cxn>
                <a:cxn ang="0">
                  <a:pos x="13" y="26"/>
                </a:cxn>
                <a:cxn ang="0">
                  <a:pos x="15" y="33"/>
                </a:cxn>
                <a:cxn ang="0">
                  <a:pos x="9" y="41"/>
                </a:cxn>
                <a:cxn ang="0">
                  <a:pos x="4" y="42"/>
                </a:cxn>
                <a:cxn ang="0">
                  <a:pos x="0" y="27"/>
                </a:cxn>
                <a:cxn ang="0">
                  <a:pos x="0" y="13"/>
                </a:cxn>
                <a:cxn ang="0">
                  <a:pos x="3" y="4"/>
                </a:cxn>
                <a:cxn ang="0">
                  <a:pos x="8" y="0"/>
                </a:cxn>
                <a:cxn ang="0">
                  <a:pos x="8" y="1"/>
                </a:cxn>
              </a:cxnLst>
              <a:rect l="0" t="0" r="r" b="b"/>
              <a:pathLst>
                <a:path w="15" h="42">
                  <a:moveTo>
                    <a:pt x="8" y="1"/>
                  </a:moveTo>
                  <a:lnTo>
                    <a:pt x="9" y="0"/>
                  </a:lnTo>
                  <a:lnTo>
                    <a:pt x="11" y="10"/>
                  </a:lnTo>
                  <a:lnTo>
                    <a:pt x="13" y="26"/>
                  </a:lnTo>
                  <a:lnTo>
                    <a:pt x="15" y="33"/>
                  </a:lnTo>
                  <a:lnTo>
                    <a:pt x="9" y="41"/>
                  </a:lnTo>
                  <a:lnTo>
                    <a:pt x="4" y="42"/>
                  </a:lnTo>
                  <a:lnTo>
                    <a:pt x="0" y="27"/>
                  </a:lnTo>
                  <a:lnTo>
                    <a:pt x="0" y="13"/>
                  </a:lnTo>
                  <a:lnTo>
                    <a:pt x="3" y="4"/>
                  </a:lnTo>
                  <a:lnTo>
                    <a:pt x="8" y="0"/>
                  </a:lnTo>
                  <a:lnTo>
                    <a:pt x="8" y="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72" name="Timor-Leste"/>
            <p:cNvSpPr>
              <a:spLocks noChangeAspect="1"/>
            </p:cNvSpPr>
            <p:nvPr>
              <p:custDataLst>
                <p:tags r:id="rId70"/>
              </p:custDataLst>
            </p:nvPr>
          </p:nvSpPr>
          <p:spPr bwMode="gray">
            <a:xfrm>
              <a:off x="7655622" y="4842720"/>
              <a:ext cx="63196" cy="28087"/>
            </a:xfrm>
            <a:custGeom>
              <a:avLst/>
              <a:gdLst/>
              <a:ahLst/>
              <a:cxnLst>
                <a:cxn ang="0">
                  <a:pos x="0" y="39"/>
                </a:cxn>
                <a:cxn ang="0">
                  <a:pos x="2" y="38"/>
                </a:cxn>
                <a:cxn ang="0">
                  <a:pos x="11" y="29"/>
                </a:cxn>
                <a:cxn ang="0">
                  <a:pos x="18" y="17"/>
                </a:cxn>
                <a:cxn ang="0">
                  <a:pos x="27" y="16"/>
                </a:cxn>
                <a:cxn ang="0">
                  <a:pos x="55" y="11"/>
                </a:cxn>
                <a:cxn ang="0">
                  <a:pos x="61" y="7"/>
                </a:cxn>
                <a:cxn ang="0">
                  <a:pos x="71" y="10"/>
                </a:cxn>
                <a:cxn ang="0">
                  <a:pos x="98" y="7"/>
                </a:cxn>
                <a:cxn ang="0">
                  <a:pos x="109" y="3"/>
                </a:cxn>
                <a:cxn ang="0">
                  <a:pos x="118" y="2"/>
                </a:cxn>
                <a:cxn ang="0">
                  <a:pos x="124" y="0"/>
                </a:cxn>
                <a:cxn ang="0">
                  <a:pos x="132" y="2"/>
                </a:cxn>
                <a:cxn ang="0">
                  <a:pos x="133" y="6"/>
                </a:cxn>
                <a:cxn ang="0">
                  <a:pos x="129" y="19"/>
                </a:cxn>
                <a:cxn ang="0">
                  <a:pos x="113" y="23"/>
                </a:cxn>
                <a:cxn ang="0">
                  <a:pos x="88" y="37"/>
                </a:cxn>
                <a:cxn ang="0">
                  <a:pos x="73" y="40"/>
                </a:cxn>
                <a:cxn ang="0">
                  <a:pos x="61" y="46"/>
                </a:cxn>
                <a:cxn ang="0">
                  <a:pos x="39" y="51"/>
                </a:cxn>
                <a:cxn ang="0">
                  <a:pos x="23" y="61"/>
                </a:cxn>
                <a:cxn ang="0">
                  <a:pos x="18" y="59"/>
                </a:cxn>
                <a:cxn ang="0">
                  <a:pos x="0" y="39"/>
                </a:cxn>
              </a:cxnLst>
              <a:rect l="0" t="0" r="r" b="b"/>
              <a:pathLst>
                <a:path w="133" h="61">
                  <a:moveTo>
                    <a:pt x="0" y="39"/>
                  </a:moveTo>
                  <a:lnTo>
                    <a:pt x="2" y="38"/>
                  </a:lnTo>
                  <a:lnTo>
                    <a:pt x="11" y="29"/>
                  </a:lnTo>
                  <a:lnTo>
                    <a:pt x="18" y="17"/>
                  </a:lnTo>
                  <a:lnTo>
                    <a:pt x="27" y="16"/>
                  </a:lnTo>
                  <a:lnTo>
                    <a:pt x="55" y="11"/>
                  </a:lnTo>
                  <a:lnTo>
                    <a:pt x="61" y="7"/>
                  </a:lnTo>
                  <a:lnTo>
                    <a:pt x="71" y="10"/>
                  </a:lnTo>
                  <a:lnTo>
                    <a:pt x="98" y="7"/>
                  </a:lnTo>
                  <a:lnTo>
                    <a:pt x="109" y="3"/>
                  </a:lnTo>
                  <a:lnTo>
                    <a:pt x="118" y="2"/>
                  </a:lnTo>
                  <a:lnTo>
                    <a:pt x="124" y="0"/>
                  </a:lnTo>
                  <a:lnTo>
                    <a:pt x="132" y="2"/>
                  </a:lnTo>
                  <a:lnTo>
                    <a:pt x="133" y="6"/>
                  </a:lnTo>
                  <a:lnTo>
                    <a:pt x="129" y="19"/>
                  </a:lnTo>
                  <a:lnTo>
                    <a:pt x="113" y="23"/>
                  </a:lnTo>
                  <a:lnTo>
                    <a:pt x="88" y="37"/>
                  </a:lnTo>
                  <a:lnTo>
                    <a:pt x="73" y="40"/>
                  </a:lnTo>
                  <a:lnTo>
                    <a:pt x="61" y="46"/>
                  </a:lnTo>
                  <a:lnTo>
                    <a:pt x="39" y="51"/>
                  </a:lnTo>
                  <a:lnTo>
                    <a:pt x="23" y="61"/>
                  </a:lnTo>
                  <a:lnTo>
                    <a:pt x="18" y="59"/>
                  </a:lnTo>
                  <a:lnTo>
                    <a:pt x="0" y="3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73" name="Indonesia"/>
            <p:cNvSpPr>
              <a:spLocks noChangeAspect="1"/>
            </p:cNvSpPr>
            <p:nvPr>
              <p:custDataLst>
                <p:tags r:id="rId71"/>
              </p:custDataLst>
            </p:nvPr>
          </p:nvSpPr>
          <p:spPr bwMode="gray">
            <a:xfrm>
              <a:off x="7625195" y="4861445"/>
              <a:ext cx="39790" cy="32768"/>
            </a:xfrm>
            <a:custGeom>
              <a:avLst/>
              <a:gdLst/>
              <a:ahLst/>
              <a:cxnLst>
                <a:cxn ang="0">
                  <a:pos x="85" y="20"/>
                </a:cxn>
                <a:cxn ang="0">
                  <a:pos x="85" y="22"/>
                </a:cxn>
                <a:cxn ang="0">
                  <a:pos x="80" y="35"/>
                </a:cxn>
                <a:cxn ang="0">
                  <a:pos x="69" y="46"/>
                </a:cxn>
                <a:cxn ang="0">
                  <a:pos x="63" y="54"/>
                </a:cxn>
                <a:cxn ang="0">
                  <a:pos x="54" y="58"/>
                </a:cxn>
                <a:cxn ang="0">
                  <a:pos x="49" y="60"/>
                </a:cxn>
                <a:cxn ang="0">
                  <a:pos x="40" y="63"/>
                </a:cxn>
                <a:cxn ang="0">
                  <a:pos x="31" y="68"/>
                </a:cxn>
                <a:cxn ang="0">
                  <a:pos x="21" y="70"/>
                </a:cxn>
                <a:cxn ang="0">
                  <a:pos x="15" y="71"/>
                </a:cxn>
                <a:cxn ang="0">
                  <a:pos x="5" y="71"/>
                </a:cxn>
                <a:cxn ang="0">
                  <a:pos x="0" y="66"/>
                </a:cxn>
                <a:cxn ang="0">
                  <a:pos x="8" y="58"/>
                </a:cxn>
                <a:cxn ang="0">
                  <a:pos x="9" y="52"/>
                </a:cxn>
                <a:cxn ang="0">
                  <a:pos x="6" y="46"/>
                </a:cxn>
                <a:cxn ang="0">
                  <a:pos x="8" y="31"/>
                </a:cxn>
                <a:cxn ang="0">
                  <a:pos x="15" y="23"/>
                </a:cxn>
                <a:cxn ang="0">
                  <a:pos x="22" y="17"/>
                </a:cxn>
                <a:cxn ang="0">
                  <a:pos x="32" y="15"/>
                </a:cxn>
                <a:cxn ang="0">
                  <a:pos x="41" y="9"/>
                </a:cxn>
                <a:cxn ang="0">
                  <a:pos x="48" y="6"/>
                </a:cxn>
                <a:cxn ang="0">
                  <a:pos x="53" y="4"/>
                </a:cxn>
                <a:cxn ang="0">
                  <a:pos x="62" y="3"/>
                </a:cxn>
                <a:cxn ang="0">
                  <a:pos x="67" y="0"/>
                </a:cxn>
                <a:cxn ang="0">
                  <a:pos x="85" y="20"/>
                </a:cxn>
              </a:cxnLst>
              <a:rect l="0" t="0" r="r" b="b"/>
              <a:pathLst>
                <a:path w="85" h="71">
                  <a:moveTo>
                    <a:pt x="85" y="20"/>
                  </a:moveTo>
                  <a:lnTo>
                    <a:pt x="85" y="22"/>
                  </a:lnTo>
                  <a:lnTo>
                    <a:pt x="80" y="35"/>
                  </a:lnTo>
                  <a:lnTo>
                    <a:pt x="69" y="46"/>
                  </a:lnTo>
                  <a:lnTo>
                    <a:pt x="63" y="54"/>
                  </a:lnTo>
                  <a:lnTo>
                    <a:pt x="54" y="58"/>
                  </a:lnTo>
                  <a:lnTo>
                    <a:pt x="49" y="60"/>
                  </a:lnTo>
                  <a:lnTo>
                    <a:pt x="40" y="63"/>
                  </a:lnTo>
                  <a:lnTo>
                    <a:pt x="31" y="68"/>
                  </a:lnTo>
                  <a:lnTo>
                    <a:pt x="21" y="70"/>
                  </a:lnTo>
                  <a:lnTo>
                    <a:pt x="15" y="71"/>
                  </a:lnTo>
                  <a:lnTo>
                    <a:pt x="5" y="71"/>
                  </a:lnTo>
                  <a:lnTo>
                    <a:pt x="0" y="66"/>
                  </a:lnTo>
                  <a:lnTo>
                    <a:pt x="8" y="58"/>
                  </a:lnTo>
                  <a:lnTo>
                    <a:pt x="9" y="52"/>
                  </a:lnTo>
                  <a:lnTo>
                    <a:pt x="6" y="46"/>
                  </a:lnTo>
                  <a:lnTo>
                    <a:pt x="8" y="31"/>
                  </a:lnTo>
                  <a:lnTo>
                    <a:pt x="15" y="23"/>
                  </a:lnTo>
                  <a:lnTo>
                    <a:pt x="22" y="17"/>
                  </a:lnTo>
                  <a:lnTo>
                    <a:pt x="32" y="15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3" y="4"/>
                  </a:lnTo>
                  <a:lnTo>
                    <a:pt x="62" y="3"/>
                  </a:lnTo>
                  <a:lnTo>
                    <a:pt x="67" y="0"/>
                  </a:lnTo>
                  <a:lnTo>
                    <a:pt x="85" y="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74" name="Indonesia"/>
            <p:cNvSpPr>
              <a:spLocks noChangeAspect="1"/>
            </p:cNvSpPr>
            <p:nvPr>
              <p:custDataLst>
                <p:tags r:id="rId72"/>
              </p:custDataLst>
            </p:nvPr>
          </p:nvSpPr>
          <p:spPr bwMode="gray">
            <a:xfrm>
              <a:off x="7737543" y="4699943"/>
              <a:ext cx="74899" cy="28087"/>
            </a:xfrm>
            <a:custGeom>
              <a:avLst/>
              <a:gdLst/>
              <a:ahLst/>
              <a:cxnLst>
                <a:cxn ang="0">
                  <a:pos x="3" y="38"/>
                </a:cxn>
                <a:cxn ang="0">
                  <a:pos x="1" y="37"/>
                </a:cxn>
                <a:cxn ang="0">
                  <a:pos x="0" y="24"/>
                </a:cxn>
                <a:cxn ang="0">
                  <a:pos x="2" y="18"/>
                </a:cxn>
                <a:cxn ang="0">
                  <a:pos x="7" y="14"/>
                </a:cxn>
                <a:cxn ang="0">
                  <a:pos x="12" y="8"/>
                </a:cxn>
                <a:cxn ang="0">
                  <a:pos x="17" y="3"/>
                </a:cxn>
                <a:cxn ang="0">
                  <a:pos x="43" y="5"/>
                </a:cxn>
                <a:cxn ang="0">
                  <a:pos x="54" y="4"/>
                </a:cxn>
                <a:cxn ang="0">
                  <a:pos x="63" y="2"/>
                </a:cxn>
                <a:cxn ang="0">
                  <a:pos x="70" y="5"/>
                </a:cxn>
                <a:cxn ang="0">
                  <a:pos x="88" y="0"/>
                </a:cxn>
                <a:cxn ang="0">
                  <a:pos x="99" y="4"/>
                </a:cxn>
                <a:cxn ang="0">
                  <a:pos x="108" y="11"/>
                </a:cxn>
                <a:cxn ang="0">
                  <a:pos x="116" y="13"/>
                </a:cxn>
                <a:cxn ang="0">
                  <a:pos x="125" y="13"/>
                </a:cxn>
                <a:cxn ang="0">
                  <a:pos x="132" y="10"/>
                </a:cxn>
                <a:cxn ang="0">
                  <a:pos x="142" y="14"/>
                </a:cxn>
                <a:cxn ang="0">
                  <a:pos x="148" y="30"/>
                </a:cxn>
                <a:cxn ang="0">
                  <a:pos x="152" y="35"/>
                </a:cxn>
                <a:cxn ang="0">
                  <a:pos x="160" y="37"/>
                </a:cxn>
                <a:cxn ang="0">
                  <a:pos x="162" y="50"/>
                </a:cxn>
                <a:cxn ang="0">
                  <a:pos x="157" y="59"/>
                </a:cxn>
                <a:cxn ang="0">
                  <a:pos x="149" y="54"/>
                </a:cxn>
                <a:cxn ang="0">
                  <a:pos x="108" y="32"/>
                </a:cxn>
                <a:cxn ang="0">
                  <a:pos x="98" y="30"/>
                </a:cxn>
                <a:cxn ang="0">
                  <a:pos x="88" y="30"/>
                </a:cxn>
                <a:cxn ang="0">
                  <a:pos x="88" y="35"/>
                </a:cxn>
                <a:cxn ang="0">
                  <a:pos x="83" y="36"/>
                </a:cxn>
                <a:cxn ang="0">
                  <a:pos x="72" y="35"/>
                </a:cxn>
                <a:cxn ang="0">
                  <a:pos x="62" y="34"/>
                </a:cxn>
                <a:cxn ang="0">
                  <a:pos x="54" y="26"/>
                </a:cxn>
                <a:cxn ang="0">
                  <a:pos x="45" y="30"/>
                </a:cxn>
                <a:cxn ang="0">
                  <a:pos x="41" y="35"/>
                </a:cxn>
                <a:cxn ang="0">
                  <a:pos x="34" y="37"/>
                </a:cxn>
                <a:cxn ang="0">
                  <a:pos x="24" y="32"/>
                </a:cxn>
                <a:cxn ang="0">
                  <a:pos x="13" y="21"/>
                </a:cxn>
                <a:cxn ang="0">
                  <a:pos x="11" y="24"/>
                </a:cxn>
                <a:cxn ang="0">
                  <a:pos x="3" y="38"/>
                </a:cxn>
              </a:cxnLst>
              <a:rect l="0" t="0" r="r" b="b"/>
              <a:pathLst>
                <a:path w="162" h="59">
                  <a:moveTo>
                    <a:pt x="3" y="38"/>
                  </a:moveTo>
                  <a:lnTo>
                    <a:pt x="1" y="37"/>
                  </a:lnTo>
                  <a:lnTo>
                    <a:pt x="0" y="24"/>
                  </a:lnTo>
                  <a:lnTo>
                    <a:pt x="2" y="18"/>
                  </a:lnTo>
                  <a:lnTo>
                    <a:pt x="7" y="14"/>
                  </a:lnTo>
                  <a:lnTo>
                    <a:pt x="12" y="8"/>
                  </a:lnTo>
                  <a:lnTo>
                    <a:pt x="17" y="3"/>
                  </a:lnTo>
                  <a:lnTo>
                    <a:pt x="43" y="5"/>
                  </a:lnTo>
                  <a:lnTo>
                    <a:pt x="54" y="4"/>
                  </a:lnTo>
                  <a:lnTo>
                    <a:pt x="63" y="2"/>
                  </a:lnTo>
                  <a:lnTo>
                    <a:pt x="70" y="5"/>
                  </a:lnTo>
                  <a:lnTo>
                    <a:pt x="88" y="0"/>
                  </a:lnTo>
                  <a:lnTo>
                    <a:pt x="99" y="4"/>
                  </a:lnTo>
                  <a:lnTo>
                    <a:pt x="108" y="11"/>
                  </a:lnTo>
                  <a:lnTo>
                    <a:pt x="116" y="13"/>
                  </a:lnTo>
                  <a:lnTo>
                    <a:pt x="125" y="13"/>
                  </a:lnTo>
                  <a:lnTo>
                    <a:pt x="132" y="10"/>
                  </a:lnTo>
                  <a:lnTo>
                    <a:pt x="142" y="14"/>
                  </a:lnTo>
                  <a:lnTo>
                    <a:pt x="148" y="30"/>
                  </a:lnTo>
                  <a:lnTo>
                    <a:pt x="152" y="35"/>
                  </a:lnTo>
                  <a:lnTo>
                    <a:pt x="160" y="37"/>
                  </a:lnTo>
                  <a:lnTo>
                    <a:pt x="162" y="50"/>
                  </a:lnTo>
                  <a:lnTo>
                    <a:pt x="157" y="59"/>
                  </a:lnTo>
                  <a:lnTo>
                    <a:pt x="149" y="54"/>
                  </a:lnTo>
                  <a:lnTo>
                    <a:pt x="108" y="32"/>
                  </a:lnTo>
                  <a:lnTo>
                    <a:pt x="98" y="30"/>
                  </a:lnTo>
                  <a:lnTo>
                    <a:pt x="88" y="30"/>
                  </a:lnTo>
                  <a:lnTo>
                    <a:pt x="88" y="35"/>
                  </a:lnTo>
                  <a:lnTo>
                    <a:pt x="83" y="36"/>
                  </a:lnTo>
                  <a:lnTo>
                    <a:pt x="72" y="35"/>
                  </a:lnTo>
                  <a:lnTo>
                    <a:pt x="62" y="34"/>
                  </a:lnTo>
                  <a:lnTo>
                    <a:pt x="54" y="26"/>
                  </a:lnTo>
                  <a:lnTo>
                    <a:pt x="45" y="30"/>
                  </a:lnTo>
                  <a:lnTo>
                    <a:pt x="41" y="35"/>
                  </a:lnTo>
                  <a:lnTo>
                    <a:pt x="34" y="37"/>
                  </a:lnTo>
                  <a:lnTo>
                    <a:pt x="24" y="32"/>
                  </a:lnTo>
                  <a:lnTo>
                    <a:pt x="13" y="21"/>
                  </a:lnTo>
                  <a:lnTo>
                    <a:pt x="11" y="24"/>
                  </a:lnTo>
                  <a:lnTo>
                    <a:pt x="3" y="3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75" name="Indonesia"/>
            <p:cNvSpPr>
              <a:spLocks noChangeAspect="1"/>
            </p:cNvSpPr>
            <p:nvPr>
              <p:custDataLst>
                <p:tags r:id="rId73"/>
              </p:custDataLst>
            </p:nvPr>
          </p:nvSpPr>
          <p:spPr bwMode="gray">
            <a:xfrm>
              <a:off x="7505824" y="4585254"/>
              <a:ext cx="161501" cy="189589"/>
            </a:xfrm>
            <a:custGeom>
              <a:avLst/>
              <a:gdLst/>
              <a:ahLst/>
              <a:cxnLst>
                <a:cxn ang="0">
                  <a:pos x="141" y="30"/>
                </a:cxn>
                <a:cxn ang="0">
                  <a:pos x="163" y="33"/>
                </a:cxn>
                <a:cxn ang="0">
                  <a:pos x="184" y="36"/>
                </a:cxn>
                <a:cxn ang="0">
                  <a:pos x="205" y="43"/>
                </a:cxn>
                <a:cxn ang="0">
                  <a:pos x="229" y="42"/>
                </a:cxn>
                <a:cxn ang="0">
                  <a:pos x="288" y="42"/>
                </a:cxn>
                <a:cxn ang="0">
                  <a:pos x="325" y="6"/>
                </a:cxn>
                <a:cxn ang="0">
                  <a:pos x="344" y="4"/>
                </a:cxn>
                <a:cxn ang="0">
                  <a:pos x="339" y="30"/>
                </a:cxn>
                <a:cxn ang="0">
                  <a:pos x="303" y="69"/>
                </a:cxn>
                <a:cxn ang="0">
                  <a:pos x="268" y="78"/>
                </a:cxn>
                <a:cxn ang="0">
                  <a:pos x="218" y="68"/>
                </a:cxn>
                <a:cxn ang="0">
                  <a:pos x="164" y="72"/>
                </a:cxn>
                <a:cxn ang="0">
                  <a:pos x="145" y="69"/>
                </a:cxn>
                <a:cxn ang="0">
                  <a:pos x="121" y="72"/>
                </a:cxn>
                <a:cxn ang="0">
                  <a:pos x="87" y="69"/>
                </a:cxn>
                <a:cxn ang="0">
                  <a:pos x="67" y="107"/>
                </a:cxn>
                <a:cxn ang="0">
                  <a:pos x="86" y="148"/>
                </a:cxn>
                <a:cxn ang="0">
                  <a:pos x="124" y="164"/>
                </a:cxn>
                <a:cxn ang="0">
                  <a:pos x="151" y="143"/>
                </a:cxn>
                <a:cxn ang="0">
                  <a:pos x="172" y="148"/>
                </a:cxn>
                <a:cxn ang="0">
                  <a:pos x="215" y="138"/>
                </a:cxn>
                <a:cxn ang="0">
                  <a:pos x="244" y="124"/>
                </a:cxn>
                <a:cxn ang="0">
                  <a:pos x="243" y="150"/>
                </a:cxn>
                <a:cxn ang="0">
                  <a:pos x="198" y="172"/>
                </a:cxn>
                <a:cxn ang="0">
                  <a:pos x="166" y="189"/>
                </a:cxn>
                <a:cxn ang="0">
                  <a:pos x="137" y="193"/>
                </a:cxn>
                <a:cxn ang="0">
                  <a:pos x="180" y="251"/>
                </a:cxn>
                <a:cxn ang="0">
                  <a:pos x="196" y="271"/>
                </a:cxn>
                <a:cxn ang="0">
                  <a:pos x="184" y="286"/>
                </a:cxn>
                <a:cxn ang="0">
                  <a:pos x="202" y="309"/>
                </a:cxn>
                <a:cxn ang="0">
                  <a:pos x="216" y="320"/>
                </a:cxn>
                <a:cxn ang="0">
                  <a:pos x="211" y="337"/>
                </a:cxn>
                <a:cxn ang="0">
                  <a:pos x="175" y="354"/>
                </a:cxn>
                <a:cxn ang="0">
                  <a:pos x="146" y="348"/>
                </a:cxn>
                <a:cxn ang="0">
                  <a:pos x="143" y="314"/>
                </a:cxn>
                <a:cxn ang="0">
                  <a:pos x="113" y="280"/>
                </a:cxn>
                <a:cxn ang="0">
                  <a:pos x="119" y="245"/>
                </a:cxn>
                <a:cxn ang="0">
                  <a:pos x="92" y="245"/>
                </a:cxn>
                <a:cxn ang="0">
                  <a:pos x="83" y="280"/>
                </a:cxn>
                <a:cxn ang="0">
                  <a:pos x="86" y="354"/>
                </a:cxn>
                <a:cxn ang="0">
                  <a:pos x="85" y="397"/>
                </a:cxn>
                <a:cxn ang="0">
                  <a:pos x="55" y="404"/>
                </a:cxn>
                <a:cxn ang="0">
                  <a:pos x="27" y="384"/>
                </a:cxn>
                <a:cxn ang="0">
                  <a:pos x="43" y="316"/>
                </a:cxn>
                <a:cxn ang="0">
                  <a:pos x="22" y="284"/>
                </a:cxn>
                <a:cxn ang="0">
                  <a:pos x="0" y="259"/>
                </a:cxn>
                <a:cxn ang="0">
                  <a:pos x="18" y="210"/>
                </a:cxn>
                <a:cxn ang="0">
                  <a:pos x="37" y="144"/>
                </a:cxn>
                <a:cxn ang="0">
                  <a:pos x="51" y="138"/>
                </a:cxn>
                <a:cxn ang="0">
                  <a:pos x="45" y="97"/>
                </a:cxn>
                <a:cxn ang="0">
                  <a:pos x="55" y="80"/>
                </a:cxn>
                <a:cxn ang="0">
                  <a:pos x="73" y="46"/>
                </a:cxn>
                <a:cxn ang="0">
                  <a:pos x="93" y="51"/>
                </a:cxn>
                <a:cxn ang="0">
                  <a:pos x="110" y="24"/>
                </a:cxn>
              </a:cxnLst>
              <a:rect l="0" t="0" r="r" b="b"/>
              <a:pathLst>
                <a:path w="345" h="404">
                  <a:moveTo>
                    <a:pt x="120" y="22"/>
                  </a:moveTo>
                  <a:lnTo>
                    <a:pt x="139" y="24"/>
                  </a:lnTo>
                  <a:lnTo>
                    <a:pt x="141" y="30"/>
                  </a:lnTo>
                  <a:lnTo>
                    <a:pt x="147" y="35"/>
                  </a:lnTo>
                  <a:lnTo>
                    <a:pt x="155" y="36"/>
                  </a:lnTo>
                  <a:lnTo>
                    <a:pt x="163" y="33"/>
                  </a:lnTo>
                  <a:lnTo>
                    <a:pt x="169" y="33"/>
                  </a:lnTo>
                  <a:lnTo>
                    <a:pt x="178" y="35"/>
                  </a:lnTo>
                  <a:lnTo>
                    <a:pt x="184" y="36"/>
                  </a:lnTo>
                  <a:lnTo>
                    <a:pt x="193" y="36"/>
                  </a:lnTo>
                  <a:lnTo>
                    <a:pt x="201" y="38"/>
                  </a:lnTo>
                  <a:lnTo>
                    <a:pt x="205" y="43"/>
                  </a:lnTo>
                  <a:lnTo>
                    <a:pt x="216" y="47"/>
                  </a:lnTo>
                  <a:lnTo>
                    <a:pt x="222" y="46"/>
                  </a:lnTo>
                  <a:lnTo>
                    <a:pt x="229" y="42"/>
                  </a:lnTo>
                  <a:lnTo>
                    <a:pt x="237" y="41"/>
                  </a:lnTo>
                  <a:lnTo>
                    <a:pt x="274" y="46"/>
                  </a:lnTo>
                  <a:lnTo>
                    <a:pt x="288" y="42"/>
                  </a:lnTo>
                  <a:lnTo>
                    <a:pt x="309" y="21"/>
                  </a:lnTo>
                  <a:lnTo>
                    <a:pt x="317" y="16"/>
                  </a:lnTo>
                  <a:lnTo>
                    <a:pt x="325" y="6"/>
                  </a:lnTo>
                  <a:lnTo>
                    <a:pt x="335" y="0"/>
                  </a:lnTo>
                  <a:lnTo>
                    <a:pt x="341" y="2"/>
                  </a:lnTo>
                  <a:lnTo>
                    <a:pt x="344" y="4"/>
                  </a:lnTo>
                  <a:lnTo>
                    <a:pt x="345" y="13"/>
                  </a:lnTo>
                  <a:lnTo>
                    <a:pt x="344" y="20"/>
                  </a:lnTo>
                  <a:lnTo>
                    <a:pt x="339" y="30"/>
                  </a:lnTo>
                  <a:lnTo>
                    <a:pt x="323" y="47"/>
                  </a:lnTo>
                  <a:lnTo>
                    <a:pt x="313" y="60"/>
                  </a:lnTo>
                  <a:lnTo>
                    <a:pt x="303" y="69"/>
                  </a:lnTo>
                  <a:lnTo>
                    <a:pt x="293" y="75"/>
                  </a:lnTo>
                  <a:lnTo>
                    <a:pt x="280" y="75"/>
                  </a:lnTo>
                  <a:lnTo>
                    <a:pt x="268" y="78"/>
                  </a:lnTo>
                  <a:lnTo>
                    <a:pt x="245" y="78"/>
                  </a:lnTo>
                  <a:lnTo>
                    <a:pt x="234" y="70"/>
                  </a:lnTo>
                  <a:lnTo>
                    <a:pt x="218" y="68"/>
                  </a:lnTo>
                  <a:lnTo>
                    <a:pt x="201" y="68"/>
                  </a:lnTo>
                  <a:lnTo>
                    <a:pt x="178" y="69"/>
                  </a:lnTo>
                  <a:lnTo>
                    <a:pt x="164" y="72"/>
                  </a:lnTo>
                  <a:lnTo>
                    <a:pt x="156" y="68"/>
                  </a:lnTo>
                  <a:lnTo>
                    <a:pt x="148" y="68"/>
                  </a:lnTo>
                  <a:lnTo>
                    <a:pt x="145" y="69"/>
                  </a:lnTo>
                  <a:lnTo>
                    <a:pt x="135" y="67"/>
                  </a:lnTo>
                  <a:lnTo>
                    <a:pt x="130" y="68"/>
                  </a:lnTo>
                  <a:lnTo>
                    <a:pt x="121" y="72"/>
                  </a:lnTo>
                  <a:lnTo>
                    <a:pt x="109" y="72"/>
                  </a:lnTo>
                  <a:lnTo>
                    <a:pt x="98" y="69"/>
                  </a:lnTo>
                  <a:lnTo>
                    <a:pt x="87" y="69"/>
                  </a:lnTo>
                  <a:lnTo>
                    <a:pt x="77" y="80"/>
                  </a:lnTo>
                  <a:lnTo>
                    <a:pt x="70" y="94"/>
                  </a:lnTo>
                  <a:lnTo>
                    <a:pt x="67" y="107"/>
                  </a:lnTo>
                  <a:lnTo>
                    <a:pt x="67" y="137"/>
                  </a:lnTo>
                  <a:lnTo>
                    <a:pt x="75" y="144"/>
                  </a:lnTo>
                  <a:lnTo>
                    <a:pt x="86" y="148"/>
                  </a:lnTo>
                  <a:lnTo>
                    <a:pt x="100" y="171"/>
                  </a:lnTo>
                  <a:lnTo>
                    <a:pt x="121" y="170"/>
                  </a:lnTo>
                  <a:lnTo>
                    <a:pt x="124" y="164"/>
                  </a:lnTo>
                  <a:lnTo>
                    <a:pt x="132" y="156"/>
                  </a:lnTo>
                  <a:lnTo>
                    <a:pt x="140" y="146"/>
                  </a:lnTo>
                  <a:lnTo>
                    <a:pt x="151" y="143"/>
                  </a:lnTo>
                  <a:lnTo>
                    <a:pt x="159" y="145"/>
                  </a:lnTo>
                  <a:lnTo>
                    <a:pt x="163" y="145"/>
                  </a:lnTo>
                  <a:lnTo>
                    <a:pt x="172" y="148"/>
                  </a:lnTo>
                  <a:lnTo>
                    <a:pt x="177" y="140"/>
                  </a:lnTo>
                  <a:lnTo>
                    <a:pt x="193" y="138"/>
                  </a:lnTo>
                  <a:lnTo>
                    <a:pt x="215" y="138"/>
                  </a:lnTo>
                  <a:lnTo>
                    <a:pt x="217" y="129"/>
                  </a:lnTo>
                  <a:lnTo>
                    <a:pt x="233" y="124"/>
                  </a:lnTo>
                  <a:lnTo>
                    <a:pt x="244" y="124"/>
                  </a:lnTo>
                  <a:lnTo>
                    <a:pt x="250" y="133"/>
                  </a:lnTo>
                  <a:lnTo>
                    <a:pt x="249" y="144"/>
                  </a:lnTo>
                  <a:lnTo>
                    <a:pt x="243" y="150"/>
                  </a:lnTo>
                  <a:lnTo>
                    <a:pt x="231" y="144"/>
                  </a:lnTo>
                  <a:lnTo>
                    <a:pt x="218" y="146"/>
                  </a:lnTo>
                  <a:lnTo>
                    <a:pt x="198" y="172"/>
                  </a:lnTo>
                  <a:lnTo>
                    <a:pt x="189" y="180"/>
                  </a:lnTo>
                  <a:lnTo>
                    <a:pt x="173" y="187"/>
                  </a:lnTo>
                  <a:lnTo>
                    <a:pt x="166" y="189"/>
                  </a:lnTo>
                  <a:lnTo>
                    <a:pt x="155" y="196"/>
                  </a:lnTo>
                  <a:lnTo>
                    <a:pt x="150" y="197"/>
                  </a:lnTo>
                  <a:lnTo>
                    <a:pt x="137" y="193"/>
                  </a:lnTo>
                  <a:lnTo>
                    <a:pt x="139" y="203"/>
                  </a:lnTo>
                  <a:lnTo>
                    <a:pt x="152" y="212"/>
                  </a:lnTo>
                  <a:lnTo>
                    <a:pt x="180" y="251"/>
                  </a:lnTo>
                  <a:lnTo>
                    <a:pt x="185" y="252"/>
                  </a:lnTo>
                  <a:lnTo>
                    <a:pt x="190" y="263"/>
                  </a:lnTo>
                  <a:lnTo>
                    <a:pt x="196" y="271"/>
                  </a:lnTo>
                  <a:lnTo>
                    <a:pt x="193" y="277"/>
                  </a:lnTo>
                  <a:lnTo>
                    <a:pt x="185" y="279"/>
                  </a:lnTo>
                  <a:lnTo>
                    <a:pt x="184" y="286"/>
                  </a:lnTo>
                  <a:lnTo>
                    <a:pt x="185" y="293"/>
                  </a:lnTo>
                  <a:lnTo>
                    <a:pt x="198" y="301"/>
                  </a:lnTo>
                  <a:lnTo>
                    <a:pt x="202" y="309"/>
                  </a:lnTo>
                  <a:lnTo>
                    <a:pt x="202" y="317"/>
                  </a:lnTo>
                  <a:lnTo>
                    <a:pt x="209" y="321"/>
                  </a:lnTo>
                  <a:lnTo>
                    <a:pt x="216" y="320"/>
                  </a:lnTo>
                  <a:lnTo>
                    <a:pt x="218" y="328"/>
                  </a:lnTo>
                  <a:lnTo>
                    <a:pt x="215" y="332"/>
                  </a:lnTo>
                  <a:lnTo>
                    <a:pt x="211" y="337"/>
                  </a:lnTo>
                  <a:lnTo>
                    <a:pt x="196" y="337"/>
                  </a:lnTo>
                  <a:lnTo>
                    <a:pt x="182" y="341"/>
                  </a:lnTo>
                  <a:lnTo>
                    <a:pt x="175" y="354"/>
                  </a:lnTo>
                  <a:lnTo>
                    <a:pt x="166" y="360"/>
                  </a:lnTo>
                  <a:lnTo>
                    <a:pt x="150" y="359"/>
                  </a:lnTo>
                  <a:lnTo>
                    <a:pt x="146" y="348"/>
                  </a:lnTo>
                  <a:lnTo>
                    <a:pt x="145" y="333"/>
                  </a:lnTo>
                  <a:lnTo>
                    <a:pt x="148" y="321"/>
                  </a:lnTo>
                  <a:lnTo>
                    <a:pt x="143" y="314"/>
                  </a:lnTo>
                  <a:lnTo>
                    <a:pt x="131" y="305"/>
                  </a:lnTo>
                  <a:lnTo>
                    <a:pt x="120" y="294"/>
                  </a:lnTo>
                  <a:lnTo>
                    <a:pt x="113" y="280"/>
                  </a:lnTo>
                  <a:lnTo>
                    <a:pt x="121" y="264"/>
                  </a:lnTo>
                  <a:lnTo>
                    <a:pt x="121" y="253"/>
                  </a:lnTo>
                  <a:lnTo>
                    <a:pt x="119" y="245"/>
                  </a:lnTo>
                  <a:lnTo>
                    <a:pt x="116" y="239"/>
                  </a:lnTo>
                  <a:lnTo>
                    <a:pt x="105" y="237"/>
                  </a:lnTo>
                  <a:lnTo>
                    <a:pt x="92" y="245"/>
                  </a:lnTo>
                  <a:lnTo>
                    <a:pt x="81" y="253"/>
                  </a:lnTo>
                  <a:lnTo>
                    <a:pt x="76" y="267"/>
                  </a:lnTo>
                  <a:lnTo>
                    <a:pt x="83" y="280"/>
                  </a:lnTo>
                  <a:lnTo>
                    <a:pt x="83" y="294"/>
                  </a:lnTo>
                  <a:lnTo>
                    <a:pt x="82" y="344"/>
                  </a:lnTo>
                  <a:lnTo>
                    <a:pt x="86" y="354"/>
                  </a:lnTo>
                  <a:lnTo>
                    <a:pt x="80" y="368"/>
                  </a:lnTo>
                  <a:lnTo>
                    <a:pt x="81" y="384"/>
                  </a:lnTo>
                  <a:lnTo>
                    <a:pt x="85" y="397"/>
                  </a:lnTo>
                  <a:lnTo>
                    <a:pt x="82" y="400"/>
                  </a:lnTo>
                  <a:lnTo>
                    <a:pt x="67" y="401"/>
                  </a:lnTo>
                  <a:lnTo>
                    <a:pt x="55" y="404"/>
                  </a:lnTo>
                  <a:lnTo>
                    <a:pt x="42" y="403"/>
                  </a:lnTo>
                  <a:lnTo>
                    <a:pt x="33" y="398"/>
                  </a:lnTo>
                  <a:lnTo>
                    <a:pt x="27" y="384"/>
                  </a:lnTo>
                  <a:lnTo>
                    <a:pt x="34" y="363"/>
                  </a:lnTo>
                  <a:lnTo>
                    <a:pt x="35" y="350"/>
                  </a:lnTo>
                  <a:lnTo>
                    <a:pt x="43" y="316"/>
                  </a:lnTo>
                  <a:lnTo>
                    <a:pt x="39" y="310"/>
                  </a:lnTo>
                  <a:lnTo>
                    <a:pt x="34" y="284"/>
                  </a:lnTo>
                  <a:lnTo>
                    <a:pt x="22" y="284"/>
                  </a:lnTo>
                  <a:lnTo>
                    <a:pt x="11" y="285"/>
                  </a:lnTo>
                  <a:lnTo>
                    <a:pt x="2" y="273"/>
                  </a:lnTo>
                  <a:lnTo>
                    <a:pt x="0" y="259"/>
                  </a:lnTo>
                  <a:lnTo>
                    <a:pt x="1" y="240"/>
                  </a:lnTo>
                  <a:lnTo>
                    <a:pt x="12" y="226"/>
                  </a:lnTo>
                  <a:lnTo>
                    <a:pt x="18" y="210"/>
                  </a:lnTo>
                  <a:lnTo>
                    <a:pt x="26" y="196"/>
                  </a:lnTo>
                  <a:lnTo>
                    <a:pt x="24" y="166"/>
                  </a:lnTo>
                  <a:lnTo>
                    <a:pt x="37" y="144"/>
                  </a:lnTo>
                  <a:lnTo>
                    <a:pt x="44" y="137"/>
                  </a:lnTo>
                  <a:lnTo>
                    <a:pt x="49" y="128"/>
                  </a:lnTo>
                  <a:lnTo>
                    <a:pt x="51" y="138"/>
                  </a:lnTo>
                  <a:lnTo>
                    <a:pt x="54" y="126"/>
                  </a:lnTo>
                  <a:lnTo>
                    <a:pt x="53" y="105"/>
                  </a:lnTo>
                  <a:lnTo>
                    <a:pt x="45" y="97"/>
                  </a:lnTo>
                  <a:lnTo>
                    <a:pt x="48" y="97"/>
                  </a:lnTo>
                  <a:lnTo>
                    <a:pt x="55" y="86"/>
                  </a:lnTo>
                  <a:lnTo>
                    <a:pt x="55" y="80"/>
                  </a:lnTo>
                  <a:lnTo>
                    <a:pt x="57" y="69"/>
                  </a:lnTo>
                  <a:lnTo>
                    <a:pt x="62" y="58"/>
                  </a:lnTo>
                  <a:lnTo>
                    <a:pt x="73" y="46"/>
                  </a:lnTo>
                  <a:lnTo>
                    <a:pt x="78" y="46"/>
                  </a:lnTo>
                  <a:lnTo>
                    <a:pt x="86" y="52"/>
                  </a:lnTo>
                  <a:lnTo>
                    <a:pt x="93" y="51"/>
                  </a:lnTo>
                  <a:lnTo>
                    <a:pt x="102" y="40"/>
                  </a:lnTo>
                  <a:lnTo>
                    <a:pt x="104" y="27"/>
                  </a:lnTo>
                  <a:lnTo>
                    <a:pt x="110" y="24"/>
                  </a:lnTo>
                  <a:lnTo>
                    <a:pt x="120" y="2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76" name="Indonesia"/>
            <p:cNvSpPr>
              <a:spLocks noChangeAspect="1"/>
            </p:cNvSpPr>
            <p:nvPr>
              <p:custDataLst>
                <p:tags r:id="rId74"/>
              </p:custDataLst>
            </p:nvPr>
          </p:nvSpPr>
          <p:spPr bwMode="gray">
            <a:xfrm>
              <a:off x="7723500" y="4571210"/>
              <a:ext cx="37450" cy="79580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32" y="0"/>
                </a:cxn>
                <a:cxn ang="0">
                  <a:pos x="34" y="2"/>
                </a:cxn>
                <a:cxn ang="0">
                  <a:pos x="36" y="6"/>
                </a:cxn>
                <a:cxn ang="0">
                  <a:pos x="31" y="14"/>
                </a:cxn>
                <a:cxn ang="0">
                  <a:pos x="27" y="17"/>
                </a:cxn>
                <a:cxn ang="0">
                  <a:pos x="26" y="21"/>
                </a:cxn>
                <a:cxn ang="0">
                  <a:pos x="31" y="25"/>
                </a:cxn>
                <a:cxn ang="0">
                  <a:pos x="34" y="36"/>
                </a:cxn>
                <a:cxn ang="0">
                  <a:pos x="36" y="45"/>
                </a:cxn>
                <a:cxn ang="0">
                  <a:pos x="34" y="53"/>
                </a:cxn>
                <a:cxn ang="0">
                  <a:pos x="22" y="65"/>
                </a:cxn>
                <a:cxn ang="0">
                  <a:pos x="15" y="72"/>
                </a:cxn>
                <a:cxn ang="0">
                  <a:pos x="15" y="74"/>
                </a:cxn>
                <a:cxn ang="0">
                  <a:pos x="22" y="75"/>
                </a:cxn>
                <a:cxn ang="0">
                  <a:pos x="28" y="69"/>
                </a:cxn>
                <a:cxn ang="0">
                  <a:pos x="37" y="63"/>
                </a:cxn>
                <a:cxn ang="0">
                  <a:pos x="47" y="45"/>
                </a:cxn>
                <a:cxn ang="0">
                  <a:pos x="57" y="40"/>
                </a:cxn>
                <a:cxn ang="0">
                  <a:pos x="68" y="38"/>
                </a:cxn>
                <a:cxn ang="0">
                  <a:pos x="70" y="41"/>
                </a:cxn>
                <a:cxn ang="0">
                  <a:pos x="74" y="49"/>
                </a:cxn>
                <a:cxn ang="0">
                  <a:pos x="74" y="63"/>
                </a:cxn>
                <a:cxn ang="0">
                  <a:pos x="52" y="78"/>
                </a:cxn>
                <a:cxn ang="0">
                  <a:pos x="52" y="81"/>
                </a:cxn>
                <a:cxn ang="0">
                  <a:pos x="69" y="92"/>
                </a:cxn>
                <a:cxn ang="0">
                  <a:pos x="70" y="99"/>
                </a:cxn>
                <a:cxn ang="0">
                  <a:pos x="74" y="103"/>
                </a:cxn>
                <a:cxn ang="0">
                  <a:pos x="80" y="107"/>
                </a:cxn>
                <a:cxn ang="0">
                  <a:pos x="70" y="108"/>
                </a:cxn>
                <a:cxn ang="0">
                  <a:pos x="62" y="102"/>
                </a:cxn>
                <a:cxn ang="0">
                  <a:pos x="47" y="100"/>
                </a:cxn>
                <a:cxn ang="0">
                  <a:pos x="36" y="96"/>
                </a:cxn>
                <a:cxn ang="0">
                  <a:pos x="31" y="102"/>
                </a:cxn>
                <a:cxn ang="0">
                  <a:pos x="30" y="118"/>
                </a:cxn>
                <a:cxn ang="0">
                  <a:pos x="32" y="137"/>
                </a:cxn>
                <a:cxn ang="0">
                  <a:pos x="37" y="146"/>
                </a:cxn>
                <a:cxn ang="0">
                  <a:pos x="43" y="158"/>
                </a:cxn>
                <a:cxn ang="0">
                  <a:pos x="54" y="170"/>
                </a:cxn>
                <a:cxn ang="0">
                  <a:pos x="49" y="170"/>
                </a:cxn>
                <a:cxn ang="0">
                  <a:pos x="39" y="160"/>
                </a:cxn>
                <a:cxn ang="0">
                  <a:pos x="21" y="137"/>
                </a:cxn>
                <a:cxn ang="0">
                  <a:pos x="17" y="106"/>
                </a:cxn>
                <a:cxn ang="0">
                  <a:pos x="12" y="92"/>
                </a:cxn>
                <a:cxn ang="0">
                  <a:pos x="12" y="80"/>
                </a:cxn>
                <a:cxn ang="0">
                  <a:pos x="10" y="72"/>
                </a:cxn>
                <a:cxn ang="0">
                  <a:pos x="5" y="68"/>
                </a:cxn>
                <a:cxn ang="0">
                  <a:pos x="0" y="59"/>
                </a:cxn>
                <a:cxn ang="0">
                  <a:pos x="1" y="49"/>
                </a:cxn>
                <a:cxn ang="0">
                  <a:pos x="3" y="48"/>
                </a:cxn>
                <a:cxn ang="0">
                  <a:pos x="10" y="25"/>
                </a:cxn>
                <a:cxn ang="0">
                  <a:pos x="15" y="15"/>
                </a:cxn>
                <a:cxn ang="0">
                  <a:pos x="31" y="0"/>
                </a:cxn>
              </a:cxnLst>
              <a:rect l="0" t="0" r="r" b="b"/>
              <a:pathLst>
                <a:path w="80" h="170">
                  <a:moveTo>
                    <a:pt x="31" y="0"/>
                  </a:moveTo>
                  <a:lnTo>
                    <a:pt x="32" y="0"/>
                  </a:lnTo>
                  <a:lnTo>
                    <a:pt x="34" y="2"/>
                  </a:lnTo>
                  <a:lnTo>
                    <a:pt x="36" y="6"/>
                  </a:lnTo>
                  <a:lnTo>
                    <a:pt x="31" y="14"/>
                  </a:lnTo>
                  <a:lnTo>
                    <a:pt x="27" y="17"/>
                  </a:lnTo>
                  <a:lnTo>
                    <a:pt x="26" y="21"/>
                  </a:lnTo>
                  <a:lnTo>
                    <a:pt x="31" y="25"/>
                  </a:lnTo>
                  <a:lnTo>
                    <a:pt x="34" y="36"/>
                  </a:lnTo>
                  <a:lnTo>
                    <a:pt x="36" y="45"/>
                  </a:lnTo>
                  <a:lnTo>
                    <a:pt x="34" y="53"/>
                  </a:lnTo>
                  <a:lnTo>
                    <a:pt x="22" y="65"/>
                  </a:lnTo>
                  <a:lnTo>
                    <a:pt x="15" y="72"/>
                  </a:lnTo>
                  <a:lnTo>
                    <a:pt x="15" y="74"/>
                  </a:lnTo>
                  <a:lnTo>
                    <a:pt x="22" y="75"/>
                  </a:lnTo>
                  <a:lnTo>
                    <a:pt x="28" y="69"/>
                  </a:lnTo>
                  <a:lnTo>
                    <a:pt x="37" y="63"/>
                  </a:lnTo>
                  <a:lnTo>
                    <a:pt x="47" y="45"/>
                  </a:lnTo>
                  <a:lnTo>
                    <a:pt x="57" y="40"/>
                  </a:lnTo>
                  <a:lnTo>
                    <a:pt x="68" y="38"/>
                  </a:lnTo>
                  <a:lnTo>
                    <a:pt x="70" y="41"/>
                  </a:lnTo>
                  <a:lnTo>
                    <a:pt x="74" y="49"/>
                  </a:lnTo>
                  <a:lnTo>
                    <a:pt x="74" y="63"/>
                  </a:lnTo>
                  <a:lnTo>
                    <a:pt x="52" y="78"/>
                  </a:lnTo>
                  <a:lnTo>
                    <a:pt x="52" y="81"/>
                  </a:lnTo>
                  <a:lnTo>
                    <a:pt x="69" y="92"/>
                  </a:lnTo>
                  <a:lnTo>
                    <a:pt x="70" y="99"/>
                  </a:lnTo>
                  <a:lnTo>
                    <a:pt x="74" y="103"/>
                  </a:lnTo>
                  <a:lnTo>
                    <a:pt x="80" y="107"/>
                  </a:lnTo>
                  <a:lnTo>
                    <a:pt x="70" y="108"/>
                  </a:lnTo>
                  <a:lnTo>
                    <a:pt x="62" y="102"/>
                  </a:lnTo>
                  <a:lnTo>
                    <a:pt x="47" y="100"/>
                  </a:lnTo>
                  <a:lnTo>
                    <a:pt x="36" y="96"/>
                  </a:lnTo>
                  <a:lnTo>
                    <a:pt x="31" y="102"/>
                  </a:lnTo>
                  <a:lnTo>
                    <a:pt x="30" y="118"/>
                  </a:lnTo>
                  <a:lnTo>
                    <a:pt x="32" y="137"/>
                  </a:lnTo>
                  <a:lnTo>
                    <a:pt x="37" y="146"/>
                  </a:lnTo>
                  <a:lnTo>
                    <a:pt x="43" y="158"/>
                  </a:lnTo>
                  <a:lnTo>
                    <a:pt x="54" y="170"/>
                  </a:lnTo>
                  <a:lnTo>
                    <a:pt x="49" y="170"/>
                  </a:lnTo>
                  <a:lnTo>
                    <a:pt x="39" y="160"/>
                  </a:lnTo>
                  <a:lnTo>
                    <a:pt x="21" y="137"/>
                  </a:lnTo>
                  <a:lnTo>
                    <a:pt x="17" y="106"/>
                  </a:lnTo>
                  <a:lnTo>
                    <a:pt x="12" y="92"/>
                  </a:lnTo>
                  <a:lnTo>
                    <a:pt x="12" y="80"/>
                  </a:lnTo>
                  <a:lnTo>
                    <a:pt x="10" y="72"/>
                  </a:lnTo>
                  <a:lnTo>
                    <a:pt x="5" y="68"/>
                  </a:lnTo>
                  <a:lnTo>
                    <a:pt x="0" y="59"/>
                  </a:lnTo>
                  <a:lnTo>
                    <a:pt x="1" y="49"/>
                  </a:lnTo>
                  <a:lnTo>
                    <a:pt x="3" y="48"/>
                  </a:lnTo>
                  <a:lnTo>
                    <a:pt x="10" y="25"/>
                  </a:lnTo>
                  <a:lnTo>
                    <a:pt x="15" y="15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77" name="Indonesia"/>
            <p:cNvSpPr>
              <a:spLocks noChangeAspect="1"/>
            </p:cNvSpPr>
            <p:nvPr>
              <p:custDataLst>
                <p:tags r:id="rId75"/>
              </p:custDataLst>
            </p:nvPr>
          </p:nvSpPr>
          <p:spPr bwMode="gray">
            <a:xfrm>
              <a:off x="7814783" y="4639088"/>
              <a:ext cx="266828" cy="224698"/>
            </a:xfrm>
            <a:custGeom>
              <a:avLst/>
              <a:gdLst/>
              <a:ahLst/>
              <a:cxnLst>
                <a:cxn ang="0">
                  <a:pos x="549" y="469"/>
                </a:cxn>
                <a:cxn ang="0">
                  <a:pos x="503" y="428"/>
                </a:cxn>
                <a:cxn ang="0">
                  <a:pos x="474" y="427"/>
                </a:cxn>
                <a:cxn ang="0">
                  <a:pos x="441" y="433"/>
                </a:cxn>
                <a:cxn ang="0">
                  <a:pos x="426" y="433"/>
                </a:cxn>
                <a:cxn ang="0">
                  <a:pos x="378" y="431"/>
                </a:cxn>
                <a:cxn ang="0">
                  <a:pos x="419" y="383"/>
                </a:cxn>
                <a:cxn ang="0">
                  <a:pos x="444" y="385"/>
                </a:cxn>
                <a:cxn ang="0">
                  <a:pos x="431" y="368"/>
                </a:cxn>
                <a:cxn ang="0">
                  <a:pos x="421" y="335"/>
                </a:cxn>
                <a:cxn ang="0">
                  <a:pos x="406" y="293"/>
                </a:cxn>
                <a:cxn ang="0">
                  <a:pos x="378" y="269"/>
                </a:cxn>
                <a:cxn ang="0">
                  <a:pos x="342" y="250"/>
                </a:cxn>
                <a:cxn ang="0">
                  <a:pos x="290" y="235"/>
                </a:cxn>
                <a:cxn ang="0">
                  <a:pos x="229" y="223"/>
                </a:cxn>
                <a:cxn ang="0">
                  <a:pos x="210" y="206"/>
                </a:cxn>
                <a:cxn ang="0">
                  <a:pos x="188" y="203"/>
                </a:cxn>
                <a:cxn ang="0">
                  <a:pos x="168" y="183"/>
                </a:cxn>
                <a:cxn ang="0">
                  <a:pos x="161" y="149"/>
                </a:cxn>
                <a:cxn ang="0">
                  <a:pos x="152" y="167"/>
                </a:cxn>
                <a:cxn ang="0">
                  <a:pos x="132" y="203"/>
                </a:cxn>
                <a:cxn ang="0">
                  <a:pos x="105" y="190"/>
                </a:cxn>
                <a:cxn ang="0">
                  <a:pos x="95" y="163"/>
                </a:cxn>
                <a:cxn ang="0">
                  <a:pos x="56" y="141"/>
                </a:cxn>
                <a:cxn ang="0">
                  <a:pos x="95" y="130"/>
                </a:cxn>
                <a:cxn ang="0">
                  <a:pos x="147" y="120"/>
                </a:cxn>
                <a:cxn ang="0">
                  <a:pos x="162" y="93"/>
                </a:cxn>
                <a:cxn ang="0">
                  <a:pos x="94" y="106"/>
                </a:cxn>
                <a:cxn ang="0">
                  <a:pos x="55" y="83"/>
                </a:cxn>
                <a:cxn ang="0">
                  <a:pos x="27" y="63"/>
                </a:cxn>
                <a:cxn ang="0">
                  <a:pos x="2" y="51"/>
                </a:cxn>
                <a:cxn ang="0">
                  <a:pos x="29" y="23"/>
                </a:cxn>
                <a:cxn ang="0">
                  <a:pos x="78" y="0"/>
                </a:cxn>
                <a:cxn ang="0">
                  <a:pos x="126" y="18"/>
                </a:cxn>
                <a:cxn ang="0">
                  <a:pos x="178" y="49"/>
                </a:cxn>
                <a:cxn ang="0">
                  <a:pos x="179" y="114"/>
                </a:cxn>
                <a:cxn ang="0">
                  <a:pos x="205" y="122"/>
                </a:cxn>
                <a:cxn ang="0">
                  <a:pos x="234" y="164"/>
                </a:cxn>
                <a:cxn ang="0">
                  <a:pos x="269" y="148"/>
                </a:cxn>
                <a:cxn ang="0">
                  <a:pos x="302" y="103"/>
                </a:cxn>
                <a:cxn ang="0">
                  <a:pos x="345" y="90"/>
                </a:cxn>
                <a:cxn ang="0">
                  <a:pos x="380" y="57"/>
                </a:cxn>
                <a:cxn ang="0">
                  <a:pos x="421" y="77"/>
                </a:cxn>
                <a:cxn ang="0">
                  <a:pos x="471" y="100"/>
                </a:cxn>
                <a:cxn ang="0">
                  <a:pos x="506" y="104"/>
                </a:cxn>
                <a:cxn ang="0">
                  <a:pos x="534" y="114"/>
                </a:cxn>
                <a:cxn ang="0">
                  <a:pos x="543" y="121"/>
                </a:cxn>
                <a:cxn ang="0">
                  <a:pos x="555" y="129"/>
                </a:cxn>
                <a:cxn ang="0">
                  <a:pos x="555" y="351"/>
                </a:cxn>
                <a:cxn ang="0">
                  <a:pos x="568" y="480"/>
                </a:cxn>
              </a:cxnLst>
              <a:rect l="0" t="0" r="r" b="b"/>
              <a:pathLst>
                <a:path w="568" h="480">
                  <a:moveTo>
                    <a:pt x="568" y="480"/>
                  </a:moveTo>
                  <a:lnTo>
                    <a:pt x="568" y="479"/>
                  </a:lnTo>
                  <a:lnTo>
                    <a:pt x="556" y="475"/>
                  </a:lnTo>
                  <a:lnTo>
                    <a:pt x="549" y="469"/>
                  </a:lnTo>
                  <a:lnTo>
                    <a:pt x="532" y="455"/>
                  </a:lnTo>
                  <a:lnTo>
                    <a:pt x="523" y="444"/>
                  </a:lnTo>
                  <a:lnTo>
                    <a:pt x="513" y="433"/>
                  </a:lnTo>
                  <a:lnTo>
                    <a:pt x="503" y="428"/>
                  </a:lnTo>
                  <a:lnTo>
                    <a:pt x="501" y="425"/>
                  </a:lnTo>
                  <a:lnTo>
                    <a:pt x="497" y="421"/>
                  </a:lnTo>
                  <a:lnTo>
                    <a:pt x="484" y="423"/>
                  </a:lnTo>
                  <a:lnTo>
                    <a:pt x="474" y="427"/>
                  </a:lnTo>
                  <a:lnTo>
                    <a:pt x="455" y="423"/>
                  </a:lnTo>
                  <a:lnTo>
                    <a:pt x="447" y="431"/>
                  </a:lnTo>
                  <a:lnTo>
                    <a:pt x="442" y="426"/>
                  </a:lnTo>
                  <a:lnTo>
                    <a:pt x="441" y="433"/>
                  </a:lnTo>
                  <a:lnTo>
                    <a:pt x="441" y="436"/>
                  </a:lnTo>
                  <a:lnTo>
                    <a:pt x="438" y="437"/>
                  </a:lnTo>
                  <a:lnTo>
                    <a:pt x="431" y="437"/>
                  </a:lnTo>
                  <a:lnTo>
                    <a:pt x="426" y="433"/>
                  </a:lnTo>
                  <a:lnTo>
                    <a:pt x="405" y="439"/>
                  </a:lnTo>
                  <a:lnTo>
                    <a:pt x="385" y="440"/>
                  </a:lnTo>
                  <a:lnTo>
                    <a:pt x="378" y="440"/>
                  </a:lnTo>
                  <a:lnTo>
                    <a:pt x="378" y="431"/>
                  </a:lnTo>
                  <a:lnTo>
                    <a:pt x="384" y="421"/>
                  </a:lnTo>
                  <a:lnTo>
                    <a:pt x="390" y="405"/>
                  </a:lnTo>
                  <a:lnTo>
                    <a:pt x="406" y="386"/>
                  </a:lnTo>
                  <a:lnTo>
                    <a:pt x="419" y="383"/>
                  </a:lnTo>
                  <a:lnTo>
                    <a:pt x="427" y="384"/>
                  </a:lnTo>
                  <a:lnTo>
                    <a:pt x="437" y="390"/>
                  </a:lnTo>
                  <a:lnTo>
                    <a:pt x="444" y="393"/>
                  </a:lnTo>
                  <a:lnTo>
                    <a:pt x="444" y="385"/>
                  </a:lnTo>
                  <a:lnTo>
                    <a:pt x="433" y="377"/>
                  </a:lnTo>
                  <a:lnTo>
                    <a:pt x="435" y="373"/>
                  </a:lnTo>
                  <a:lnTo>
                    <a:pt x="442" y="372"/>
                  </a:lnTo>
                  <a:lnTo>
                    <a:pt x="431" y="368"/>
                  </a:lnTo>
                  <a:lnTo>
                    <a:pt x="420" y="359"/>
                  </a:lnTo>
                  <a:lnTo>
                    <a:pt x="426" y="357"/>
                  </a:lnTo>
                  <a:lnTo>
                    <a:pt x="430" y="341"/>
                  </a:lnTo>
                  <a:lnTo>
                    <a:pt x="421" y="335"/>
                  </a:lnTo>
                  <a:lnTo>
                    <a:pt x="414" y="321"/>
                  </a:lnTo>
                  <a:lnTo>
                    <a:pt x="410" y="300"/>
                  </a:lnTo>
                  <a:lnTo>
                    <a:pt x="410" y="297"/>
                  </a:lnTo>
                  <a:lnTo>
                    <a:pt x="406" y="293"/>
                  </a:lnTo>
                  <a:lnTo>
                    <a:pt x="395" y="277"/>
                  </a:lnTo>
                  <a:lnTo>
                    <a:pt x="389" y="277"/>
                  </a:lnTo>
                  <a:lnTo>
                    <a:pt x="383" y="275"/>
                  </a:lnTo>
                  <a:lnTo>
                    <a:pt x="378" y="269"/>
                  </a:lnTo>
                  <a:lnTo>
                    <a:pt x="377" y="269"/>
                  </a:lnTo>
                  <a:lnTo>
                    <a:pt x="372" y="262"/>
                  </a:lnTo>
                  <a:lnTo>
                    <a:pt x="361" y="260"/>
                  </a:lnTo>
                  <a:lnTo>
                    <a:pt x="342" y="250"/>
                  </a:lnTo>
                  <a:lnTo>
                    <a:pt x="334" y="251"/>
                  </a:lnTo>
                  <a:lnTo>
                    <a:pt x="313" y="240"/>
                  </a:lnTo>
                  <a:lnTo>
                    <a:pt x="299" y="237"/>
                  </a:lnTo>
                  <a:lnTo>
                    <a:pt x="290" y="235"/>
                  </a:lnTo>
                  <a:lnTo>
                    <a:pt x="270" y="228"/>
                  </a:lnTo>
                  <a:lnTo>
                    <a:pt x="260" y="227"/>
                  </a:lnTo>
                  <a:lnTo>
                    <a:pt x="243" y="224"/>
                  </a:lnTo>
                  <a:lnTo>
                    <a:pt x="229" y="223"/>
                  </a:lnTo>
                  <a:lnTo>
                    <a:pt x="228" y="219"/>
                  </a:lnTo>
                  <a:lnTo>
                    <a:pt x="224" y="218"/>
                  </a:lnTo>
                  <a:lnTo>
                    <a:pt x="215" y="213"/>
                  </a:lnTo>
                  <a:lnTo>
                    <a:pt x="210" y="206"/>
                  </a:lnTo>
                  <a:lnTo>
                    <a:pt x="207" y="199"/>
                  </a:lnTo>
                  <a:lnTo>
                    <a:pt x="199" y="199"/>
                  </a:lnTo>
                  <a:lnTo>
                    <a:pt x="189" y="197"/>
                  </a:lnTo>
                  <a:lnTo>
                    <a:pt x="188" y="203"/>
                  </a:lnTo>
                  <a:lnTo>
                    <a:pt x="184" y="197"/>
                  </a:lnTo>
                  <a:lnTo>
                    <a:pt x="175" y="191"/>
                  </a:lnTo>
                  <a:lnTo>
                    <a:pt x="170" y="189"/>
                  </a:lnTo>
                  <a:lnTo>
                    <a:pt x="168" y="183"/>
                  </a:lnTo>
                  <a:lnTo>
                    <a:pt x="158" y="179"/>
                  </a:lnTo>
                  <a:lnTo>
                    <a:pt x="156" y="171"/>
                  </a:lnTo>
                  <a:lnTo>
                    <a:pt x="157" y="162"/>
                  </a:lnTo>
                  <a:lnTo>
                    <a:pt x="161" y="149"/>
                  </a:lnTo>
                  <a:lnTo>
                    <a:pt x="159" y="142"/>
                  </a:lnTo>
                  <a:lnTo>
                    <a:pt x="157" y="148"/>
                  </a:lnTo>
                  <a:lnTo>
                    <a:pt x="156" y="159"/>
                  </a:lnTo>
                  <a:lnTo>
                    <a:pt x="152" y="167"/>
                  </a:lnTo>
                  <a:lnTo>
                    <a:pt x="145" y="181"/>
                  </a:lnTo>
                  <a:lnTo>
                    <a:pt x="142" y="189"/>
                  </a:lnTo>
                  <a:lnTo>
                    <a:pt x="138" y="196"/>
                  </a:lnTo>
                  <a:lnTo>
                    <a:pt x="132" y="203"/>
                  </a:lnTo>
                  <a:lnTo>
                    <a:pt x="113" y="206"/>
                  </a:lnTo>
                  <a:lnTo>
                    <a:pt x="108" y="203"/>
                  </a:lnTo>
                  <a:lnTo>
                    <a:pt x="105" y="200"/>
                  </a:lnTo>
                  <a:lnTo>
                    <a:pt x="105" y="190"/>
                  </a:lnTo>
                  <a:lnTo>
                    <a:pt x="102" y="179"/>
                  </a:lnTo>
                  <a:lnTo>
                    <a:pt x="103" y="174"/>
                  </a:lnTo>
                  <a:lnTo>
                    <a:pt x="103" y="163"/>
                  </a:lnTo>
                  <a:lnTo>
                    <a:pt x="95" y="163"/>
                  </a:lnTo>
                  <a:lnTo>
                    <a:pt x="88" y="149"/>
                  </a:lnTo>
                  <a:lnTo>
                    <a:pt x="78" y="143"/>
                  </a:lnTo>
                  <a:lnTo>
                    <a:pt x="65" y="143"/>
                  </a:lnTo>
                  <a:lnTo>
                    <a:pt x="56" y="141"/>
                  </a:lnTo>
                  <a:lnTo>
                    <a:pt x="57" y="132"/>
                  </a:lnTo>
                  <a:lnTo>
                    <a:pt x="67" y="127"/>
                  </a:lnTo>
                  <a:lnTo>
                    <a:pt x="81" y="127"/>
                  </a:lnTo>
                  <a:lnTo>
                    <a:pt x="95" y="130"/>
                  </a:lnTo>
                  <a:lnTo>
                    <a:pt x="115" y="119"/>
                  </a:lnTo>
                  <a:lnTo>
                    <a:pt x="125" y="115"/>
                  </a:lnTo>
                  <a:lnTo>
                    <a:pt x="135" y="119"/>
                  </a:lnTo>
                  <a:lnTo>
                    <a:pt x="147" y="120"/>
                  </a:lnTo>
                  <a:lnTo>
                    <a:pt x="156" y="116"/>
                  </a:lnTo>
                  <a:lnTo>
                    <a:pt x="157" y="105"/>
                  </a:lnTo>
                  <a:lnTo>
                    <a:pt x="161" y="99"/>
                  </a:lnTo>
                  <a:lnTo>
                    <a:pt x="162" y="93"/>
                  </a:lnTo>
                  <a:lnTo>
                    <a:pt x="152" y="97"/>
                  </a:lnTo>
                  <a:lnTo>
                    <a:pt x="132" y="101"/>
                  </a:lnTo>
                  <a:lnTo>
                    <a:pt x="110" y="106"/>
                  </a:lnTo>
                  <a:lnTo>
                    <a:pt x="94" y="106"/>
                  </a:lnTo>
                  <a:lnTo>
                    <a:pt x="86" y="104"/>
                  </a:lnTo>
                  <a:lnTo>
                    <a:pt x="77" y="106"/>
                  </a:lnTo>
                  <a:lnTo>
                    <a:pt x="62" y="99"/>
                  </a:lnTo>
                  <a:lnTo>
                    <a:pt x="55" y="83"/>
                  </a:lnTo>
                  <a:lnTo>
                    <a:pt x="52" y="72"/>
                  </a:lnTo>
                  <a:lnTo>
                    <a:pt x="46" y="67"/>
                  </a:lnTo>
                  <a:lnTo>
                    <a:pt x="36" y="62"/>
                  </a:lnTo>
                  <a:lnTo>
                    <a:pt x="27" y="63"/>
                  </a:lnTo>
                  <a:lnTo>
                    <a:pt x="19" y="60"/>
                  </a:lnTo>
                  <a:lnTo>
                    <a:pt x="17" y="66"/>
                  </a:lnTo>
                  <a:lnTo>
                    <a:pt x="0" y="58"/>
                  </a:lnTo>
                  <a:lnTo>
                    <a:pt x="2" y="51"/>
                  </a:lnTo>
                  <a:lnTo>
                    <a:pt x="7" y="45"/>
                  </a:lnTo>
                  <a:lnTo>
                    <a:pt x="16" y="28"/>
                  </a:lnTo>
                  <a:lnTo>
                    <a:pt x="19" y="25"/>
                  </a:lnTo>
                  <a:lnTo>
                    <a:pt x="29" y="23"/>
                  </a:lnTo>
                  <a:lnTo>
                    <a:pt x="38" y="23"/>
                  </a:lnTo>
                  <a:lnTo>
                    <a:pt x="48" y="19"/>
                  </a:lnTo>
                  <a:lnTo>
                    <a:pt x="66" y="3"/>
                  </a:lnTo>
                  <a:lnTo>
                    <a:pt x="78" y="0"/>
                  </a:lnTo>
                  <a:lnTo>
                    <a:pt x="93" y="0"/>
                  </a:lnTo>
                  <a:lnTo>
                    <a:pt x="107" y="2"/>
                  </a:lnTo>
                  <a:lnTo>
                    <a:pt x="119" y="11"/>
                  </a:lnTo>
                  <a:lnTo>
                    <a:pt x="126" y="18"/>
                  </a:lnTo>
                  <a:lnTo>
                    <a:pt x="135" y="23"/>
                  </a:lnTo>
                  <a:lnTo>
                    <a:pt x="168" y="23"/>
                  </a:lnTo>
                  <a:lnTo>
                    <a:pt x="172" y="39"/>
                  </a:lnTo>
                  <a:lnTo>
                    <a:pt x="178" y="49"/>
                  </a:lnTo>
                  <a:lnTo>
                    <a:pt x="179" y="65"/>
                  </a:lnTo>
                  <a:lnTo>
                    <a:pt x="175" y="77"/>
                  </a:lnTo>
                  <a:lnTo>
                    <a:pt x="174" y="90"/>
                  </a:lnTo>
                  <a:lnTo>
                    <a:pt x="179" y="114"/>
                  </a:lnTo>
                  <a:lnTo>
                    <a:pt x="193" y="132"/>
                  </a:lnTo>
                  <a:lnTo>
                    <a:pt x="194" y="127"/>
                  </a:lnTo>
                  <a:lnTo>
                    <a:pt x="195" y="119"/>
                  </a:lnTo>
                  <a:lnTo>
                    <a:pt x="205" y="122"/>
                  </a:lnTo>
                  <a:lnTo>
                    <a:pt x="210" y="138"/>
                  </a:lnTo>
                  <a:lnTo>
                    <a:pt x="213" y="142"/>
                  </a:lnTo>
                  <a:lnTo>
                    <a:pt x="218" y="153"/>
                  </a:lnTo>
                  <a:lnTo>
                    <a:pt x="234" y="164"/>
                  </a:lnTo>
                  <a:lnTo>
                    <a:pt x="242" y="164"/>
                  </a:lnTo>
                  <a:lnTo>
                    <a:pt x="255" y="163"/>
                  </a:lnTo>
                  <a:lnTo>
                    <a:pt x="261" y="151"/>
                  </a:lnTo>
                  <a:lnTo>
                    <a:pt x="269" y="148"/>
                  </a:lnTo>
                  <a:lnTo>
                    <a:pt x="275" y="143"/>
                  </a:lnTo>
                  <a:lnTo>
                    <a:pt x="276" y="135"/>
                  </a:lnTo>
                  <a:lnTo>
                    <a:pt x="296" y="120"/>
                  </a:lnTo>
                  <a:lnTo>
                    <a:pt x="302" y="103"/>
                  </a:lnTo>
                  <a:lnTo>
                    <a:pt x="310" y="100"/>
                  </a:lnTo>
                  <a:lnTo>
                    <a:pt x="318" y="100"/>
                  </a:lnTo>
                  <a:lnTo>
                    <a:pt x="336" y="97"/>
                  </a:lnTo>
                  <a:lnTo>
                    <a:pt x="345" y="90"/>
                  </a:lnTo>
                  <a:lnTo>
                    <a:pt x="344" y="81"/>
                  </a:lnTo>
                  <a:lnTo>
                    <a:pt x="349" y="77"/>
                  </a:lnTo>
                  <a:lnTo>
                    <a:pt x="361" y="67"/>
                  </a:lnTo>
                  <a:lnTo>
                    <a:pt x="380" y="57"/>
                  </a:lnTo>
                  <a:lnTo>
                    <a:pt x="387" y="60"/>
                  </a:lnTo>
                  <a:lnTo>
                    <a:pt x="390" y="65"/>
                  </a:lnTo>
                  <a:lnTo>
                    <a:pt x="410" y="72"/>
                  </a:lnTo>
                  <a:lnTo>
                    <a:pt x="421" y="77"/>
                  </a:lnTo>
                  <a:lnTo>
                    <a:pt x="427" y="78"/>
                  </a:lnTo>
                  <a:lnTo>
                    <a:pt x="432" y="83"/>
                  </a:lnTo>
                  <a:lnTo>
                    <a:pt x="455" y="90"/>
                  </a:lnTo>
                  <a:lnTo>
                    <a:pt x="471" y="100"/>
                  </a:lnTo>
                  <a:lnTo>
                    <a:pt x="479" y="104"/>
                  </a:lnTo>
                  <a:lnTo>
                    <a:pt x="491" y="108"/>
                  </a:lnTo>
                  <a:lnTo>
                    <a:pt x="501" y="106"/>
                  </a:lnTo>
                  <a:lnTo>
                    <a:pt x="506" y="104"/>
                  </a:lnTo>
                  <a:lnTo>
                    <a:pt x="514" y="108"/>
                  </a:lnTo>
                  <a:lnTo>
                    <a:pt x="519" y="106"/>
                  </a:lnTo>
                  <a:lnTo>
                    <a:pt x="523" y="108"/>
                  </a:lnTo>
                  <a:lnTo>
                    <a:pt x="534" y="114"/>
                  </a:lnTo>
                  <a:lnTo>
                    <a:pt x="539" y="114"/>
                  </a:lnTo>
                  <a:lnTo>
                    <a:pt x="541" y="116"/>
                  </a:lnTo>
                  <a:lnTo>
                    <a:pt x="541" y="119"/>
                  </a:lnTo>
                  <a:lnTo>
                    <a:pt x="543" y="121"/>
                  </a:lnTo>
                  <a:lnTo>
                    <a:pt x="549" y="121"/>
                  </a:lnTo>
                  <a:lnTo>
                    <a:pt x="551" y="120"/>
                  </a:lnTo>
                  <a:lnTo>
                    <a:pt x="556" y="120"/>
                  </a:lnTo>
                  <a:lnTo>
                    <a:pt x="555" y="129"/>
                  </a:lnTo>
                  <a:lnTo>
                    <a:pt x="560" y="254"/>
                  </a:lnTo>
                  <a:lnTo>
                    <a:pt x="560" y="326"/>
                  </a:lnTo>
                  <a:lnTo>
                    <a:pt x="556" y="347"/>
                  </a:lnTo>
                  <a:lnTo>
                    <a:pt x="555" y="351"/>
                  </a:lnTo>
                  <a:lnTo>
                    <a:pt x="562" y="368"/>
                  </a:lnTo>
                  <a:lnTo>
                    <a:pt x="562" y="409"/>
                  </a:lnTo>
                  <a:lnTo>
                    <a:pt x="565" y="466"/>
                  </a:lnTo>
                  <a:lnTo>
                    <a:pt x="568" y="48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78" name="Papua New Guinea"/>
            <p:cNvSpPr>
              <a:spLocks noChangeAspect="1"/>
            </p:cNvSpPr>
            <p:nvPr>
              <p:custDataLst>
                <p:tags r:id="rId76"/>
              </p:custDataLst>
            </p:nvPr>
          </p:nvSpPr>
          <p:spPr bwMode="gray">
            <a:xfrm>
              <a:off x="8327375" y="4695262"/>
              <a:ext cx="60856" cy="56174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0"/>
                </a:cxn>
                <a:cxn ang="0">
                  <a:pos x="20" y="11"/>
                </a:cxn>
                <a:cxn ang="0">
                  <a:pos x="26" y="16"/>
                </a:cxn>
                <a:cxn ang="0">
                  <a:pos x="34" y="20"/>
                </a:cxn>
                <a:cxn ang="0">
                  <a:pos x="54" y="35"/>
                </a:cxn>
                <a:cxn ang="0">
                  <a:pos x="66" y="36"/>
                </a:cxn>
                <a:cxn ang="0">
                  <a:pos x="75" y="43"/>
                </a:cxn>
                <a:cxn ang="0">
                  <a:pos x="81" y="49"/>
                </a:cxn>
                <a:cxn ang="0">
                  <a:pos x="95" y="58"/>
                </a:cxn>
                <a:cxn ang="0">
                  <a:pos x="100" y="66"/>
                </a:cxn>
                <a:cxn ang="0">
                  <a:pos x="107" y="71"/>
                </a:cxn>
                <a:cxn ang="0">
                  <a:pos x="117" y="74"/>
                </a:cxn>
                <a:cxn ang="0">
                  <a:pos x="121" y="78"/>
                </a:cxn>
                <a:cxn ang="0">
                  <a:pos x="124" y="87"/>
                </a:cxn>
                <a:cxn ang="0">
                  <a:pos x="129" y="93"/>
                </a:cxn>
                <a:cxn ang="0">
                  <a:pos x="129" y="100"/>
                </a:cxn>
                <a:cxn ang="0">
                  <a:pos x="124" y="107"/>
                </a:cxn>
                <a:cxn ang="0">
                  <a:pos x="120" y="119"/>
                </a:cxn>
                <a:cxn ang="0">
                  <a:pos x="111" y="119"/>
                </a:cxn>
                <a:cxn ang="0">
                  <a:pos x="105" y="93"/>
                </a:cxn>
                <a:cxn ang="0">
                  <a:pos x="97" y="71"/>
                </a:cxn>
                <a:cxn ang="0">
                  <a:pos x="86" y="53"/>
                </a:cxn>
                <a:cxn ang="0">
                  <a:pos x="80" y="49"/>
                </a:cxn>
                <a:cxn ang="0">
                  <a:pos x="66" y="47"/>
                </a:cxn>
                <a:cxn ang="0">
                  <a:pos x="54" y="39"/>
                </a:cxn>
                <a:cxn ang="0">
                  <a:pos x="46" y="31"/>
                </a:cxn>
                <a:cxn ang="0">
                  <a:pos x="40" y="30"/>
                </a:cxn>
                <a:cxn ang="0">
                  <a:pos x="31" y="23"/>
                </a:cxn>
                <a:cxn ang="0">
                  <a:pos x="26" y="21"/>
                </a:cxn>
                <a:cxn ang="0">
                  <a:pos x="9" y="10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129" h="119">
                  <a:moveTo>
                    <a:pt x="0" y="3"/>
                  </a:moveTo>
                  <a:lnTo>
                    <a:pt x="2" y="0"/>
                  </a:lnTo>
                  <a:lnTo>
                    <a:pt x="20" y="11"/>
                  </a:lnTo>
                  <a:lnTo>
                    <a:pt x="26" y="16"/>
                  </a:lnTo>
                  <a:lnTo>
                    <a:pt x="34" y="20"/>
                  </a:lnTo>
                  <a:lnTo>
                    <a:pt x="54" y="35"/>
                  </a:lnTo>
                  <a:lnTo>
                    <a:pt x="66" y="36"/>
                  </a:lnTo>
                  <a:lnTo>
                    <a:pt x="75" y="43"/>
                  </a:lnTo>
                  <a:lnTo>
                    <a:pt x="81" y="49"/>
                  </a:lnTo>
                  <a:lnTo>
                    <a:pt x="95" y="58"/>
                  </a:lnTo>
                  <a:lnTo>
                    <a:pt x="100" y="66"/>
                  </a:lnTo>
                  <a:lnTo>
                    <a:pt x="107" y="71"/>
                  </a:lnTo>
                  <a:lnTo>
                    <a:pt x="117" y="74"/>
                  </a:lnTo>
                  <a:lnTo>
                    <a:pt x="121" y="78"/>
                  </a:lnTo>
                  <a:lnTo>
                    <a:pt x="124" y="87"/>
                  </a:lnTo>
                  <a:lnTo>
                    <a:pt x="129" y="93"/>
                  </a:lnTo>
                  <a:lnTo>
                    <a:pt x="129" y="100"/>
                  </a:lnTo>
                  <a:lnTo>
                    <a:pt x="124" y="107"/>
                  </a:lnTo>
                  <a:lnTo>
                    <a:pt x="120" y="119"/>
                  </a:lnTo>
                  <a:lnTo>
                    <a:pt x="111" y="119"/>
                  </a:lnTo>
                  <a:lnTo>
                    <a:pt x="105" y="93"/>
                  </a:lnTo>
                  <a:lnTo>
                    <a:pt x="97" y="71"/>
                  </a:lnTo>
                  <a:lnTo>
                    <a:pt x="86" y="53"/>
                  </a:lnTo>
                  <a:lnTo>
                    <a:pt x="80" y="49"/>
                  </a:lnTo>
                  <a:lnTo>
                    <a:pt x="66" y="47"/>
                  </a:lnTo>
                  <a:lnTo>
                    <a:pt x="54" y="39"/>
                  </a:lnTo>
                  <a:lnTo>
                    <a:pt x="46" y="31"/>
                  </a:lnTo>
                  <a:lnTo>
                    <a:pt x="40" y="30"/>
                  </a:lnTo>
                  <a:lnTo>
                    <a:pt x="31" y="23"/>
                  </a:lnTo>
                  <a:lnTo>
                    <a:pt x="26" y="21"/>
                  </a:lnTo>
                  <a:lnTo>
                    <a:pt x="9" y="10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79" name="Vietnam"/>
            <p:cNvSpPr>
              <a:spLocks noChangeAspect="1"/>
            </p:cNvSpPr>
            <p:nvPr>
              <p:custDataLst>
                <p:tags r:id="rId77"/>
              </p:custDataLst>
            </p:nvPr>
          </p:nvSpPr>
          <p:spPr bwMode="gray">
            <a:xfrm>
              <a:off x="7075153" y="4021169"/>
              <a:ext cx="184907" cy="388540"/>
            </a:xfrm>
            <a:custGeom>
              <a:avLst/>
              <a:gdLst/>
              <a:ahLst/>
              <a:cxnLst>
                <a:cxn ang="0">
                  <a:pos x="237" y="758"/>
                </a:cxn>
                <a:cxn ang="0">
                  <a:pos x="250" y="749"/>
                </a:cxn>
                <a:cxn ang="0">
                  <a:pos x="270" y="727"/>
                </a:cxn>
                <a:cxn ang="0">
                  <a:pos x="321" y="713"/>
                </a:cxn>
                <a:cxn ang="0">
                  <a:pos x="376" y="679"/>
                </a:cxn>
                <a:cxn ang="0">
                  <a:pos x="387" y="654"/>
                </a:cxn>
                <a:cxn ang="0">
                  <a:pos x="388" y="643"/>
                </a:cxn>
                <a:cxn ang="0">
                  <a:pos x="388" y="607"/>
                </a:cxn>
                <a:cxn ang="0">
                  <a:pos x="395" y="596"/>
                </a:cxn>
                <a:cxn ang="0">
                  <a:pos x="389" y="557"/>
                </a:cxn>
                <a:cxn ang="0">
                  <a:pos x="382" y="507"/>
                </a:cxn>
                <a:cxn ang="0">
                  <a:pos x="336" y="409"/>
                </a:cxn>
                <a:cxn ang="0">
                  <a:pos x="323" y="401"/>
                </a:cxn>
                <a:cxn ang="0">
                  <a:pos x="281" y="372"/>
                </a:cxn>
                <a:cxn ang="0">
                  <a:pos x="255" y="344"/>
                </a:cxn>
                <a:cxn ang="0">
                  <a:pos x="228" y="297"/>
                </a:cxn>
                <a:cxn ang="0">
                  <a:pos x="194" y="245"/>
                </a:cxn>
                <a:cxn ang="0">
                  <a:pos x="239" y="171"/>
                </a:cxn>
                <a:cxn ang="0">
                  <a:pos x="258" y="140"/>
                </a:cxn>
                <a:cxn ang="0">
                  <a:pos x="307" y="105"/>
                </a:cxn>
                <a:cxn ang="0">
                  <a:pos x="312" y="97"/>
                </a:cxn>
                <a:cxn ang="0">
                  <a:pos x="255" y="77"/>
                </a:cxn>
                <a:cxn ang="0">
                  <a:pos x="244" y="26"/>
                </a:cxn>
                <a:cxn ang="0">
                  <a:pos x="184" y="5"/>
                </a:cxn>
                <a:cxn ang="0">
                  <a:pos x="142" y="19"/>
                </a:cxn>
                <a:cxn ang="0">
                  <a:pos x="104" y="33"/>
                </a:cxn>
                <a:cxn ang="0">
                  <a:pos x="71" y="31"/>
                </a:cxn>
                <a:cxn ang="0">
                  <a:pos x="36" y="33"/>
                </a:cxn>
                <a:cxn ang="0">
                  <a:pos x="13" y="37"/>
                </a:cxn>
                <a:cxn ang="0">
                  <a:pos x="12" y="60"/>
                </a:cxn>
                <a:cxn ang="0">
                  <a:pos x="41" y="112"/>
                </a:cxn>
                <a:cxn ang="0">
                  <a:pos x="97" y="134"/>
                </a:cxn>
                <a:cxn ang="0">
                  <a:pos x="129" y="162"/>
                </a:cxn>
                <a:cxn ang="0">
                  <a:pos x="146" y="192"/>
                </a:cxn>
                <a:cxn ang="0">
                  <a:pos x="107" y="208"/>
                </a:cxn>
                <a:cxn ang="0">
                  <a:pos x="107" y="231"/>
                </a:cxn>
                <a:cxn ang="0">
                  <a:pos x="165" y="280"/>
                </a:cxn>
                <a:cxn ang="0">
                  <a:pos x="213" y="332"/>
                </a:cxn>
                <a:cxn ang="0">
                  <a:pos x="238" y="371"/>
                </a:cxn>
                <a:cxn ang="0">
                  <a:pos x="265" y="396"/>
                </a:cxn>
                <a:cxn ang="0">
                  <a:pos x="292" y="457"/>
                </a:cxn>
                <a:cxn ang="0">
                  <a:pos x="299" y="558"/>
                </a:cxn>
                <a:cxn ang="0">
                  <a:pos x="281" y="625"/>
                </a:cxn>
                <a:cxn ang="0">
                  <a:pos x="238" y="646"/>
                </a:cxn>
                <a:cxn ang="0">
                  <a:pos x="206" y="674"/>
                </a:cxn>
                <a:cxn ang="0">
                  <a:pos x="194" y="697"/>
                </a:cxn>
                <a:cxn ang="0">
                  <a:pos x="158" y="705"/>
                </a:cxn>
                <a:cxn ang="0">
                  <a:pos x="134" y="726"/>
                </a:cxn>
                <a:cxn ang="0">
                  <a:pos x="161" y="752"/>
                </a:cxn>
                <a:cxn ang="0">
                  <a:pos x="148" y="797"/>
                </a:cxn>
                <a:cxn ang="0">
                  <a:pos x="153" y="832"/>
                </a:cxn>
                <a:cxn ang="0">
                  <a:pos x="195" y="797"/>
                </a:cxn>
                <a:cxn ang="0">
                  <a:pos x="228" y="773"/>
                </a:cxn>
              </a:cxnLst>
              <a:rect l="0" t="0" r="r" b="b"/>
              <a:pathLst>
                <a:path w="395" h="832">
                  <a:moveTo>
                    <a:pt x="228" y="773"/>
                  </a:moveTo>
                  <a:lnTo>
                    <a:pt x="238" y="776"/>
                  </a:lnTo>
                  <a:lnTo>
                    <a:pt x="242" y="768"/>
                  </a:lnTo>
                  <a:lnTo>
                    <a:pt x="237" y="758"/>
                  </a:lnTo>
                  <a:lnTo>
                    <a:pt x="239" y="753"/>
                  </a:lnTo>
                  <a:lnTo>
                    <a:pt x="245" y="754"/>
                  </a:lnTo>
                  <a:lnTo>
                    <a:pt x="247" y="748"/>
                  </a:lnTo>
                  <a:lnTo>
                    <a:pt x="250" y="749"/>
                  </a:lnTo>
                  <a:lnTo>
                    <a:pt x="249" y="741"/>
                  </a:lnTo>
                  <a:lnTo>
                    <a:pt x="253" y="737"/>
                  </a:lnTo>
                  <a:lnTo>
                    <a:pt x="255" y="731"/>
                  </a:lnTo>
                  <a:lnTo>
                    <a:pt x="270" y="727"/>
                  </a:lnTo>
                  <a:lnTo>
                    <a:pt x="276" y="731"/>
                  </a:lnTo>
                  <a:lnTo>
                    <a:pt x="283" y="731"/>
                  </a:lnTo>
                  <a:lnTo>
                    <a:pt x="308" y="716"/>
                  </a:lnTo>
                  <a:lnTo>
                    <a:pt x="321" y="713"/>
                  </a:lnTo>
                  <a:lnTo>
                    <a:pt x="330" y="701"/>
                  </a:lnTo>
                  <a:lnTo>
                    <a:pt x="361" y="687"/>
                  </a:lnTo>
                  <a:lnTo>
                    <a:pt x="367" y="681"/>
                  </a:lnTo>
                  <a:lnTo>
                    <a:pt x="376" y="679"/>
                  </a:lnTo>
                  <a:lnTo>
                    <a:pt x="378" y="673"/>
                  </a:lnTo>
                  <a:lnTo>
                    <a:pt x="379" y="665"/>
                  </a:lnTo>
                  <a:lnTo>
                    <a:pt x="385" y="660"/>
                  </a:lnTo>
                  <a:lnTo>
                    <a:pt x="387" y="654"/>
                  </a:lnTo>
                  <a:lnTo>
                    <a:pt x="383" y="650"/>
                  </a:lnTo>
                  <a:lnTo>
                    <a:pt x="385" y="646"/>
                  </a:lnTo>
                  <a:lnTo>
                    <a:pt x="388" y="647"/>
                  </a:lnTo>
                  <a:lnTo>
                    <a:pt x="388" y="643"/>
                  </a:lnTo>
                  <a:lnTo>
                    <a:pt x="383" y="619"/>
                  </a:lnTo>
                  <a:lnTo>
                    <a:pt x="384" y="615"/>
                  </a:lnTo>
                  <a:lnTo>
                    <a:pt x="388" y="618"/>
                  </a:lnTo>
                  <a:lnTo>
                    <a:pt x="388" y="607"/>
                  </a:lnTo>
                  <a:lnTo>
                    <a:pt x="392" y="602"/>
                  </a:lnTo>
                  <a:lnTo>
                    <a:pt x="395" y="603"/>
                  </a:lnTo>
                  <a:lnTo>
                    <a:pt x="395" y="607"/>
                  </a:lnTo>
                  <a:lnTo>
                    <a:pt x="395" y="596"/>
                  </a:lnTo>
                  <a:lnTo>
                    <a:pt x="394" y="587"/>
                  </a:lnTo>
                  <a:lnTo>
                    <a:pt x="390" y="585"/>
                  </a:lnTo>
                  <a:lnTo>
                    <a:pt x="389" y="569"/>
                  </a:lnTo>
                  <a:lnTo>
                    <a:pt x="389" y="557"/>
                  </a:lnTo>
                  <a:lnTo>
                    <a:pt x="388" y="549"/>
                  </a:lnTo>
                  <a:lnTo>
                    <a:pt x="388" y="539"/>
                  </a:lnTo>
                  <a:lnTo>
                    <a:pt x="385" y="536"/>
                  </a:lnTo>
                  <a:lnTo>
                    <a:pt x="382" y="507"/>
                  </a:lnTo>
                  <a:lnTo>
                    <a:pt x="366" y="456"/>
                  </a:lnTo>
                  <a:lnTo>
                    <a:pt x="344" y="434"/>
                  </a:lnTo>
                  <a:lnTo>
                    <a:pt x="337" y="424"/>
                  </a:lnTo>
                  <a:lnTo>
                    <a:pt x="336" y="409"/>
                  </a:lnTo>
                  <a:lnTo>
                    <a:pt x="335" y="413"/>
                  </a:lnTo>
                  <a:lnTo>
                    <a:pt x="329" y="414"/>
                  </a:lnTo>
                  <a:lnTo>
                    <a:pt x="329" y="409"/>
                  </a:lnTo>
                  <a:lnTo>
                    <a:pt x="323" y="401"/>
                  </a:lnTo>
                  <a:lnTo>
                    <a:pt x="306" y="398"/>
                  </a:lnTo>
                  <a:lnTo>
                    <a:pt x="298" y="387"/>
                  </a:lnTo>
                  <a:lnTo>
                    <a:pt x="290" y="378"/>
                  </a:lnTo>
                  <a:lnTo>
                    <a:pt x="281" y="372"/>
                  </a:lnTo>
                  <a:lnTo>
                    <a:pt x="274" y="362"/>
                  </a:lnTo>
                  <a:lnTo>
                    <a:pt x="270" y="359"/>
                  </a:lnTo>
                  <a:lnTo>
                    <a:pt x="265" y="351"/>
                  </a:lnTo>
                  <a:lnTo>
                    <a:pt x="255" y="344"/>
                  </a:lnTo>
                  <a:lnTo>
                    <a:pt x="248" y="334"/>
                  </a:lnTo>
                  <a:lnTo>
                    <a:pt x="236" y="324"/>
                  </a:lnTo>
                  <a:lnTo>
                    <a:pt x="234" y="312"/>
                  </a:lnTo>
                  <a:lnTo>
                    <a:pt x="228" y="297"/>
                  </a:lnTo>
                  <a:lnTo>
                    <a:pt x="217" y="290"/>
                  </a:lnTo>
                  <a:lnTo>
                    <a:pt x="197" y="270"/>
                  </a:lnTo>
                  <a:lnTo>
                    <a:pt x="191" y="258"/>
                  </a:lnTo>
                  <a:lnTo>
                    <a:pt x="194" y="245"/>
                  </a:lnTo>
                  <a:lnTo>
                    <a:pt x="197" y="235"/>
                  </a:lnTo>
                  <a:lnTo>
                    <a:pt x="199" y="222"/>
                  </a:lnTo>
                  <a:lnTo>
                    <a:pt x="211" y="195"/>
                  </a:lnTo>
                  <a:lnTo>
                    <a:pt x="239" y="171"/>
                  </a:lnTo>
                  <a:lnTo>
                    <a:pt x="243" y="166"/>
                  </a:lnTo>
                  <a:lnTo>
                    <a:pt x="247" y="152"/>
                  </a:lnTo>
                  <a:lnTo>
                    <a:pt x="253" y="145"/>
                  </a:lnTo>
                  <a:lnTo>
                    <a:pt x="258" y="140"/>
                  </a:lnTo>
                  <a:lnTo>
                    <a:pt x="276" y="132"/>
                  </a:lnTo>
                  <a:lnTo>
                    <a:pt x="286" y="124"/>
                  </a:lnTo>
                  <a:lnTo>
                    <a:pt x="287" y="116"/>
                  </a:lnTo>
                  <a:lnTo>
                    <a:pt x="307" y="105"/>
                  </a:lnTo>
                  <a:lnTo>
                    <a:pt x="315" y="108"/>
                  </a:lnTo>
                  <a:lnTo>
                    <a:pt x="318" y="106"/>
                  </a:lnTo>
                  <a:lnTo>
                    <a:pt x="319" y="102"/>
                  </a:lnTo>
                  <a:lnTo>
                    <a:pt x="312" y="97"/>
                  </a:lnTo>
                  <a:lnTo>
                    <a:pt x="293" y="98"/>
                  </a:lnTo>
                  <a:lnTo>
                    <a:pt x="283" y="96"/>
                  </a:lnTo>
                  <a:lnTo>
                    <a:pt x="278" y="91"/>
                  </a:lnTo>
                  <a:lnTo>
                    <a:pt x="255" y="77"/>
                  </a:lnTo>
                  <a:lnTo>
                    <a:pt x="248" y="65"/>
                  </a:lnTo>
                  <a:lnTo>
                    <a:pt x="243" y="50"/>
                  </a:lnTo>
                  <a:lnTo>
                    <a:pt x="248" y="35"/>
                  </a:lnTo>
                  <a:lnTo>
                    <a:pt x="244" y="26"/>
                  </a:lnTo>
                  <a:lnTo>
                    <a:pt x="224" y="25"/>
                  </a:lnTo>
                  <a:lnTo>
                    <a:pt x="211" y="21"/>
                  </a:lnTo>
                  <a:lnTo>
                    <a:pt x="196" y="15"/>
                  </a:lnTo>
                  <a:lnTo>
                    <a:pt x="184" y="5"/>
                  </a:lnTo>
                  <a:lnTo>
                    <a:pt x="169" y="0"/>
                  </a:lnTo>
                  <a:lnTo>
                    <a:pt x="162" y="1"/>
                  </a:lnTo>
                  <a:lnTo>
                    <a:pt x="152" y="12"/>
                  </a:lnTo>
                  <a:lnTo>
                    <a:pt x="142" y="19"/>
                  </a:lnTo>
                  <a:lnTo>
                    <a:pt x="127" y="27"/>
                  </a:lnTo>
                  <a:lnTo>
                    <a:pt x="121" y="28"/>
                  </a:lnTo>
                  <a:lnTo>
                    <a:pt x="113" y="26"/>
                  </a:lnTo>
                  <a:lnTo>
                    <a:pt x="104" y="33"/>
                  </a:lnTo>
                  <a:lnTo>
                    <a:pt x="94" y="38"/>
                  </a:lnTo>
                  <a:lnTo>
                    <a:pt x="91" y="32"/>
                  </a:lnTo>
                  <a:lnTo>
                    <a:pt x="77" y="36"/>
                  </a:lnTo>
                  <a:lnTo>
                    <a:pt x="71" y="31"/>
                  </a:lnTo>
                  <a:lnTo>
                    <a:pt x="65" y="32"/>
                  </a:lnTo>
                  <a:lnTo>
                    <a:pt x="50" y="42"/>
                  </a:lnTo>
                  <a:lnTo>
                    <a:pt x="44" y="41"/>
                  </a:lnTo>
                  <a:lnTo>
                    <a:pt x="36" y="33"/>
                  </a:lnTo>
                  <a:lnTo>
                    <a:pt x="23" y="31"/>
                  </a:lnTo>
                  <a:lnTo>
                    <a:pt x="21" y="28"/>
                  </a:lnTo>
                  <a:lnTo>
                    <a:pt x="17" y="31"/>
                  </a:lnTo>
                  <a:lnTo>
                    <a:pt x="13" y="37"/>
                  </a:lnTo>
                  <a:lnTo>
                    <a:pt x="7" y="44"/>
                  </a:lnTo>
                  <a:lnTo>
                    <a:pt x="7" y="48"/>
                  </a:lnTo>
                  <a:lnTo>
                    <a:pt x="0" y="44"/>
                  </a:lnTo>
                  <a:lnTo>
                    <a:pt x="12" y="60"/>
                  </a:lnTo>
                  <a:lnTo>
                    <a:pt x="29" y="80"/>
                  </a:lnTo>
                  <a:lnTo>
                    <a:pt x="39" y="90"/>
                  </a:lnTo>
                  <a:lnTo>
                    <a:pt x="44" y="100"/>
                  </a:lnTo>
                  <a:lnTo>
                    <a:pt x="41" y="112"/>
                  </a:lnTo>
                  <a:lnTo>
                    <a:pt x="43" y="120"/>
                  </a:lnTo>
                  <a:lnTo>
                    <a:pt x="57" y="135"/>
                  </a:lnTo>
                  <a:lnTo>
                    <a:pt x="77" y="139"/>
                  </a:lnTo>
                  <a:lnTo>
                    <a:pt x="97" y="134"/>
                  </a:lnTo>
                  <a:lnTo>
                    <a:pt x="113" y="135"/>
                  </a:lnTo>
                  <a:lnTo>
                    <a:pt x="122" y="146"/>
                  </a:lnTo>
                  <a:lnTo>
                    <a:pt x="127" y="155"/>
                  </a:lnTo>
                  <a:lnTo>
                    <a:pt x="129" y="162"/>
                  </a:lnTo>
                  <a:lnTo>
                    <a:pt x="137" y="168"/>
                  </a:lnTo>
                  <a:lnTo>
                    <a:pt x="141" y="177"/>
                  </a:lnTo>
                  <a:lnTo>
                    <a:pt x="147" y="183"/>
                  </a:lnTo>
                  <a:lnTo>
                    <a:pt x="146" y="192"/>
                  </a:lnTo>
                  <a:lnTo>
                    <a:pt x="130" y="208"/>
                  </a:lnTo>
                  <a:lnTo>
                    <a:pt x="125" y="208"/>
                  </a:lnTo>
                  <a:lnTo>
                    <a:pt x="114" y="205"/>
                  </a:lnTo>
                  <a:lnTo>
                    <a:pt x="107" y="208"/>
                  </a:lnTo>
                  <a:lnTo>
                    <a:pt x="103" y="213"/>
                  </a:lnTo>
                  <a:lnTo>
                    <a:pt x="99" y="222"/>
                  </a:lnTo>
                  <a:lnTo>
                    <a:pt x="100" y="229"/>
                  </a:lnTo>
                  <a:lnTo>
                    <a:pt x="107" y="231"/>
                  </a:lnTo>
                  <a:lnTo>
                    <a:pt x="115" y="237"/>
                  </a:lnTo>
                  <a:lnTo>
                    <a:pt x="134" y="247"/>
                  </a:lnTo>
                  <a:lnTo>
                    <a:pt x="161" y="267"/>
                  </a:lnTo>
                  <a:lnTo>
                    <a:pt x="165" y="280"/>
                  </a:lnTo>
                  <a:lnTo>
                    <a:pt x="188" y="301"/>
                  </a:lnTo>
                  <a:lnTo>
                    <a:pt x="191" y="311"/>
                  </a:lnTo>
                  <a:lnTo>
                    <a:pt x="208" y="331"/>
                  </a:lnTo>
                  <a:lnTo>
                    <a:pt x="213" y="332"/>
                  </a:lnTo>
                  <a:lnTo>
                    <a:pt x="231" y="344"/>
                  </a:lnTo>
                  <a:lnTo>
                    <a:pt x="236" y="358"/>
                  </a:lnTo>
                  <a:lnTo>
                    <a:pt x="239" y="370"/>
                  </a:lnTo>
                  <a:lnTo>
                    <a:pt x="238" y="371"/>
                  </a:lnTo>
                  <a:lnTo>
                    <a:pt x="239" y="372"/>
                  </a:lnTo>
                  <a:lnTo>
                    <a:pt x="243" y="386"/>
                  </a:lnTo>
                  <a:lnTo>
                    <a:pt x="251" y="386"/>
                  </a:lnTo>
                  <a:lnTo>
                    <a:pt x="265" y="396"/>
                  </a:lnTo>
                  <a:lnTo>
                    <a:pt x="274" y="404"/>
                  </a:lnTo>
                  <a:lnTo>
                    <a:pt x="278" y="421"/>
                  </a:lnTo>
                  <a:lnTo>
                    <a:pt x="291" y="450"/>
                  </a:lnTo>
                  <a:lnTo>
                    <a:pt x="292" y="457"/>
                  </a:lnTo>
                  <a:lnTo>
                    <a:pt x="292" y="490"/>
                  </a:lnTo>
                  <a:lnTo>
                    <a:pt x="290" y="527"/>
                  </a:lnTo>
                  <a:lnTo>
                    <a:pt x="292" y="543"/>
                  </a:lnTo>
                  <a:lnTo>
                    <a:pt x="299" y="558"/>
                  </a:lnTo>
                  <a:lnTo>
                    <a:pt x="298" y="607"/>
                  </a:lnTo>
                  <a:lnTo>
                    <a:pt x="296" y="619"/>
                  </a:lnTo>
                  <a:lnTo>
                    <a:pt x="290" y="628"/>
                  </a:lnTo>
                  <a:lnTo>
                    <a:pt x="281" y="625"/>
                  </a:lnTo>
                  <a:lnTo>
                    <a:pt x="271" y="634"/>
                  </a:lnTo>
                  <a:lnTo>
                    <a:pt x="264" y="638"/>
                  </a:lnTo>
                  <a:lnTo>
                    <a:pt x="256" y="638"/>
                  </a:lnTo>
                  <a:lnTo>
                    <a:pt x="238" y="646"/>
                  </a:lnTo>
                  <a:lnTo>
                    <a:pt x="237" y="656"/>
                  </a:lnTo>
                  <a:lnTo>
                    <a:pt x="218" y="657"/>
                  </a:lnTo>
                  <a:lnTo>
                    <a:pt x="208" y="661"/>
                  </a:lnTo>
                  <a:lnTo>
                    <a:pt x="206" y="674"/>
                  </a:lnTo>
                  <a:lnTo>
                    <a:pt x="207" y="683"/>
                  </a:lnTo>
                  <a:lnTo>
                    <a:pt x="208" y="692"/>
                  </a:lnTo>
                  <a:lnTo>
                    <a:pt x="202" y="694"/>
                  </a:lnTo>
                  <a:lnTo>
                    <a:pt x="194" y="697"/>
                  </a:lnTo>
                  <a:lnTo>
                    <a:pt x="183" y="704"/>
                  </a:lnTo>
                  <a:lnTo>
                    <a:pt x="173" y="708"/>
                  </a:lnTo>
                  <a:lnTo>
                    <a:pt x="165" y="705"/>
                  </a:lnTo>
                  <a:lnTo>
                    <a:pt x="158" y="705"/>
                  </a:lnTo>
                  <a:lnTo>
                    <a:pt x="157" y="715"/>
                  </a:lnTo>
                  <a:lnTo>
                    <a:pt x="152" y="720"/>
                  </a:lnTo>
                  <a:lnTo>
                    <a:pt x="145" y="724"/>
                  </a:lnTo>
                  <a:lnTo>
                    <a:pt x="134" y="726"/>
                  </a:lnTo>
                  <a:lnTo>
                    <a:pt x="129" y="727"/>
                  </a:lnTo>
                  <a:lnTo>
                    <a:pt x="136" y="738"/>
                  </a:lnTo>
                  <a:lnTo>
                    <a:pt x="154" y="746"/>
                  </a:lnTo>
                  <a:lnTo>
                    <a:pt x="161" y="752"/>
                  </a:lnTo>
                  <a:lnTo>
                    <a:pt x="157" y="760"/>
                  </a:lnTo>
                  <a:lnTo>
                    <a:pt x="150" y="770"/>
                  </a:lnTo>
                  <a:lnTo>
                    <a:pt x="148" y="786"/>
                  </a:lnTo>
                  <a:lnTo>
                    <a:pt x="148" y="797"/>
                  </a:lnTo>
                  <a:lnTo>
                    <a:pt x="151" y="810"/>
                  </a:lnTo>
                  <a:lnTo>
                    <a:pt x="156" y="822"/>
                  </a:lnTo>
                  <a:lnTo>
                    <a:pt x="151" y="827"/>
                  </a:lnTo>
                  <a:lnTo>
                    <a:pt x="153" y="832"/>
                  </a:lnTo>
                  <a:lnTo>
                    <a:pt x="162" y="830"/>
                  </a:lnTo>
                  <a:lnTo>
                    <a:pt x="175" y="821"/>
                  </a:lnTo>
                  <a:lnTo>
                    <a:pt x="186" y="807"/>
                  </a:lnTo>
                  <a:lnTo>
                    <a:pt x="195" y="797"/>
                  </a:lnTo>
                  <a:lnTo>
                    <a:pt x="216" y="789"/>
                  </a:lnTo>
                  <a:lnTo>
                    <a:pt x="220" y="785"/>
                  </a:lnTo>
                  <a:lnTo>
                    <a:pt x="220" y="778"/>
                  </a:lnTo>
                  <a:lnTo>
                    <a:pt x="228" y="7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80" name="Malaysia"/>
            <p:cNvSpPr>
              <a:spLocks noChangeAspect="1"/>
            </p:cNvSpPr>
            <p:nvPr>
              <p:custDataLst>
                <p:tags r:id="rId78"/>
              </p:custDataLst>
            </p:nvPr>
          </p:nvSpPr>
          <p:spPr bwMode="gray">
            <a:xfrm>
              <a:off x="7267083" y="4451840"/>
              <a:ext cx="248104" cy="154480"/>
            </a:xfrm>
            <a:custGeom>
              <a:avLst/>
              <a:gdLst/>
              <a:ahLst/>
              <a:cxnLst>
                <a:cxn ang="0">
                  <a:pos x="249" y="133"/>
                </a:cxn>
                <a:cxn ang="0">
                  <a:pos x="268" y="155"/>
                </a:cxn>
                <a:cxn ang="0">
                  <a:pos x="281" y="158"/>
                </a:cxn>
                <a:cxn ang="0">
                  <a:pos x="288" y="121"/>
                </a:cxn>
                <a:cxn ang="0">
                  <a:pos x="301" y="122"/>
                </a:cxn>
                <a:cxn ang="0">
                  <a:pos x="312" y="139"/>
                </a:cxn>
                <a:cxn ang="0">
                  <a:pos x="319" y="128"/>
                </a:cxn>
                <a:cxn ang="0">
                  <a:pos x="309" y="111"/>
                </a:cxn>
                <a:cxn ang="0">
                  <a:pos x="328" y="96"/>
                </a:cxn>
                <a:cxn ang="0">
                  <a:pos x="324" y="81"/>
                </a:cxn>
                <a:cxn ang="0">
                  <a:pos x="351" y="64"/>
                </a:cxn>
                <a:cxn ang="0">
                  <a:pos x="383" y="20"/>
                </a:cxn>
                <a:cxn ang="0">
                  <a:pos x="392" y="0"/>
                </a:cxn>
                <a:cxn ang="0">
                  <a:pos x="395" y="14"/>
                </a:cxn>
                <a:cxn ang="0">
                  <a:pos x="404" y="9"/>
                </a:cxn>
                <a:cxn ang="0">
                  <a:pos x="417" y="4"/>
                </a:cxn>
                <a:cxn ang="0">
                  <a:pos x="433" y="20"/>
                </a:cxn>
                <a:cxn ang="0">
                  <a:pos x="442" y="43"/>
                </a:cxn>
                <a:cxn ang="0">
                  <a:pos x="448" y="57"/>
                </a:cxn>
                <a:cxn ang="0">
                  <a:pos x="463" y="54"/>
                </a:cxn>
                <a:cxn ang="0">
                  <a:pos x="462" y="68"/>
                </a:cxn>
                <a:cxn ang="0">
                  <a:pos x="474" y="65"/>
                </a:cxn>
                <a:cxn ang="0">
                  <a:pos x="502" y="80"/>
                </a:cxn>
                <a:cxn ang="0">
                  <a:pos x="530" y="95"/>
                </a:cxn>
                <a:cxn ang="0">
                  <a:pos x="512" y="108"/>
                </a:cxn>
                <a:cxn ang="0">
                  <a:pos x="482" y="110"/>
                </a:cxn>
                <a:cxn ang="0">
                  <a:pos x="476" y="126"/>
                </a:cxn>
                <a:cxn ang="0">
                  <a:pos x="492" y="137"/>
                </a:cxn>
                <a:cxn ang="0">
                  <a:pos x="463" y="149"/>
                </a:cxn>
                <a:cxn ang="0">
                  <a:pos x="446" y="143"/>
                </a:cxn>
                <a:cxn ang="0">
                  <a:pos x="439" y="151"/>
                </a:cxn>
                <a:cxn ang="0">
                  <a:pos x="412" y="142"/>
                </a:cxn>
                <a:cxn ang="0">
                  <a:pos x="336" y="150"/>
                </a:cxn>
                <a:cxn ang="0">
                  <a:pos x="323" y="201"/>
                </a:cxn>
                <a:cxn ang="0">
                  <a:pos x="282" y="275"/>
                </a:cxn>
                <a:cxn ang="0">
                  <a:pos x="265" y="299"/>
                </a:cxn>
                <a:cxn ang="0">
                  <a:pos x="231" y="307"/>
                </a:cxn>
                <a:cxn ang="0">
                  <a:pos x="189" y="306"/>
                </a:cxn>
                <a:cxn ang="0">
                  <a:pos x="178" y="296"/>
                </a:cxn>
                <a:cxn ang="0">
                  <a:pos x="139" y="305"/>
                </a:cxn>
                <a:cxn ang="0">
                  <a:pos x="105" y="326"/>
                </a:cxn>
                <a:cxn ang="0">
                  <a:pos x="77" y="323"/>
                </a:cxn>
                <a:cxn ang="0">
                  <a:pos x="40" y="325"/>
                </a:cxn>
                <a:cxn ang="0">
                  <a:pos x="0" y="269"/>
                </a:cxn>
                <a:cxn ang="0">
                  <a:pos x="7" y="264"/>
                </a:cxn>
                <a:cxn ang="0">
                  <a:pos x="28" y="283"/>
                </a:cxn>
                <a:cxn ang="0">
                  <a:pos x="53" y="284"/>
                </a:cxn>
                <a:cxn ang="0">
                  <a:pos x="84" y="293"/>
                </a:cxn>
                <a:cxn ang="0">
                  <a:pos x="91" y="269"/>
                </a:cxn>
                <a:cxn ang="0">
                  <a:pos x="96" y="250"/>
                </a:cxn>
                <a:cxn ang="0">
                  <a:pos x="103" y="239"/>
                </a:cxn>
                <a:cxn ang="0">
                  <a:pos x="116" y="221"/>
                </a:cxn>
                <a:cxn ang="0">
                  <a:pos x="137" y="218"/>
                </a:cxn>
                <a:cxn ang="0">
                  <a:pos x="161" y="215"/>
                </a:cxn>
                <a:cxn ang="0">
                  <a:pos x="190" y="201"/>
                </a:cxn>
                <a:cxn ang="0">
                  <a:pos x="215" y="167"/>
                </a:cxn>
                <a:cxn ang="0">
                  <a:pos x="240" y="131"/>
                </a:cxn>
              </a:cxnLst>
              <a:rect l="0" t="0" r="r" b="b"/>
              <a:pathLst>
                <a:path w="530" h="330">
                  <a:moveTo>
                    <a:pt x="242" y="129"/>
                  </a:moveTo>
                  <a:lnTo>
                    <a:pt x="245" y="131"/>
                  </a:lnTo>
                  <a:lnTo>
                    <a:pt x="249" y="133"/>
                  </a:lnTo>
                  <a:lnTo>
                    <a:pt x="259" y="144"/>
                  </a:lnTo>
                  <a:lnTo>
                    <a:pt x="263" y="150"/>
                  </a:lnTo>
                  <a:lnTo>
                    <a:pt x="268" y="155"/>
                  </a:lnTo>
                  <a:lnTo>
                    <a:pt x="271" y="159"/>
                  </a:lnTo>
                  <a:lnTo>
                    <a:pt x="276" y="160"/>
                  </a:lnTo>
                  <a:lnTo>
                    <a:pt x="281" y="158"/>
                  </a:lnTo>
                  <a:lnTo>
                    <a:pt x="283" y="150"/>
                  </a:lnTo>
                  <a:lnTo>
                    <a:pt x="285" y="126"/>
                  </a:lnTo>
                  <a:lnTo>
                    <a:pt x="288" y="121"/>
                  </a:lnTo>
                  <a:lnTo>
                    <a:pt x="293" y="118"/>
                  </a:lnTo>
                  <a:lnTo>
                    <a:pt x="298" y="118"/>
                  </a:lnTo>
                  <a:lnTo>
                    <a:pt x="301" y="122"/>
                  </a:lnTo>
                  <a:lnTo>
                    <a:pt x="303" y="129"/>
                  </a:lnTo>
                  <a:lnTo>
                    <a:pt x="307" y="137"/>
                  </a:lnTo>
                  <a:lnTo>
                    <a:pt x="312" y="139"/>
                  </a:lnTo>
                  <a:lnTo>
                    <a:pt x="318" y="139"/>
                  </a:lnTo>
                  <a:lnTo>
                    <a:pt x="319" y="134"/>
                  </a:lnTo>
                  <a:lnTo>
                    <a:pt x="319" y="128"/>
                  </a:lnTo>
                  <a:lnTo>
                    <a:pt x="318" y="123"/>
                  </a:lnTo>
                  <a:lnTo>
                    <a:pt x="314" y="116"/>
                  </a:lnTo>
                  <a:lnTo>
                    <a:pt x="309" y="111"/>
                  </a:lnTo>
                  <a:lnTo>
                    <a:pt x="315" y="110"/>
                  </a:lnTo>
                  <a:lnTo>
                    <a:pt x="320" y="106"/>
                  </a:lnTo>
                  <a:lnTo>
                    <a:pt x="328" y="96"/>
                  </a:lnTo>
                  <a:lnTo>
                    <a:pt x="322" y="94"/>
                  </a:lnTo>
                  <a:lnTo>
                    <a:pt x="319" y="88"/>
                  </a:lnTo>
                  <a:lnTo>
                    <a:pt x="324" y="81"/>
                  </a:lnTo>
                  <a:lnTo>
                    <a:pt x="329" y="79"/>
                  </a:lnTo>
                  <a:lnTo>
                    <a:pt x="339" y="79"/>
                  </a:lnTo>
                  <a:lnTo>
                    <a:pt x="351" y="64"/>
                  </a:lnTo>
                  <a:lnTo>
                    <a:pt x="357" y="53"/>
                  </a:lnTo>
                  <a:lnTo>
                    <a:pt x="357" y="47"/>
                  </a:lnTo>
                  <a:lnTo>
                    <a:pt x="383" y="20"/>
                  </a:lnTo>
                  <a:lnTo>
                    <a:pt x="387" y="13"/>
                  </a:lnTo>
                  <a:lnTo>
                    <a:pt x="388" y="6"/>
                  </a:lnTo>
                  <a:lnTo>
                    <a:pt x="392" y="0"/>
                  </a:lnTo>
                  <a:lnTo>
                    <a:pt x="394" y="0"/>
                  </a:lnTo>
                  <a:lnTo>
                    <a:pt x="395" y="3"/>
                  </a:lnTo>
                  <a:lnTo>
                    <a:pt x="395" y="14"/>
                  </a:lnTo>
                  <a:lnTo>
                    <a:pt x="393" y="20"/>
                  </a:lnTo>
                  <a:lnTo>
                    <a:pt x="393" y="22"/>
                  </a:lnTo>
                  <a:lnTo>
                    <a:pt x="404" y="9"/>
                  </a:lnTo>
                  <a:lnTo>
                    <a:pt x="408" y="2"/>
                  </a:lnTo>
                  <a:lnTo>
                    <a:pt x="415" y="2"/>
                  </a:lnTo>
                  <a:lnTo>
                    <a:pt x="417" y="4"/>
                  </a:lnTo>
                  <a:lnTo>
                    <a:pt x="422" y="19"/>
                  </a:lnTo>
                  <a:lnTo>
                    <a:pt x="428" y="22"/>
                  </a:lnTo>
                  <a:lnTo>
                    <a:pt x="433" y="20"/>
                  </a:lnTo>
                  <a:lnTo>
                    <a:pt x="443" y="29"/>
                  </a:lnTo>
                  <a:lnTo>
                    <a:pt x="446" y="40"/>
                  </a:lnTo>
                  <a:lnTo>
                    <a:pt x="442" y="43"/>
                  </a:lnTo>
                  <a:lnTo>
                    <a:pt x="443" y="57"/>
                  </a:lnTo>
                  <a:lnTo>
                    <a:pt x="444" y="58"/>
                  </a:lnTo>
                  <a:lnTo>
                    <a:pt x="448" y="57"/>
                  </a:lnTo>
                  <a:lnTo>
                    <a:pt x="452" y="57"/>
                  </a:lnTo>
                  <a:lnTo>
                    <a:pt x="458" y="54"/>
                  </a:lnTo>
                  <a:lnTo>
                    <a:pt x="463" y="54"/>
                  </a:lnTo>
                  <a:lnTo>
                    <a:pt x="467" y="59"/>
                  </a:lnTo>
                  <a:lnTo>
                    <a:pt x="465" y="64"/>
                  </a:lnTo>
                  <a:lnTo>
                    <a:pt x="462" y="68"/>
                  </a:lnTo>
                  <a:lnTo>
                    <a:pt x="463" y="70"/>
                  </a:lnTo>
                  <a:lnTo>
                    <a:pt x="469" y="70"/>
                  </a:lnTo>
                  <a:lnTo>
                    <a:pt x="474" y="65"/>
                  </a:lnTo>
                  <a:lnTo>
                    <a:pt x="480" y="65"/>
                  </a:lnTo>
                  <a:lnTo>
                    <a:pt x="486" y="69"/>
                  </a:lnTo>
                  <a:lnTo>
                    <a:pt x="502" y="80"/>
                  </a:lnTo>
                  <a:lnTo>
                    <a:pt x="523" y="86"/>
                  </a:lnTo>
                  <a:lnTo>
                    <a:pt x="529" y="91"/>
                  </a:lnTo>
                  <a:lnTo>
                    <a:pt x="530" y="95"/>
                  </a:lnTo>
                  <a:lnTo>
                    <a:pt x="528" y="100"/>
                  </a:lnTo>
                  <a:lnTo>
                    <a:pt x="518" y="104"/>
                  </a:lnTo>
                  <a:lnTo>
                    <a:pt x="512" y="108"/>
                  </a:lnTo>
                  <a:lnTo>
                    <a:pt x="501" y="112"/>
                  </a:lnTo>
                  <a:lnTo>
                    <a:pt x="491" y="115"/>
                  </a:lnTo>
                  <a:lnTo>
                    <a:pt x="482" y="110"/>
                  </a:lnTo>
                  <a:lnTo>
                    <a:pt x="475" y="113"/>
                  </a:lnTo>
                  <a:lnTo>
                    <a:pt x="474" y="121"/>
                  </a:lnTo>
                  <a:lnTo>
                    <a:pt x="476" y="126"/>
                  </a:lnTo>
                  <a:lnTo>
                    <a:pt x="482" y="132"/>
                  </a:lnTo>
                  <a:lnTo>
                    <a:pt x="487" y="133"/>
                  </a:lnTo>
                  <a:lnTo>
                    <a:pt x="492" y="137"/>
                  </a:lnTo>
                  <a:lnTo>
                    <a:pt x="494" y="140"/>
                  </a:lnTo>
                  <a:lnTo>
                    <a:pt x="480" y="143"/>
                  </a:lnTo>
                  <a:lnTo>
                    <a:pt x="463" y="149"/>
                  </a:lnTo>
                  <a:lnTo>
                    <a:pt x="457" y="149"/>
                  </a:lnTo>
                  <a:lnTo>
                    <a:pt x="452" y="147"/>
                  </a:lnTo>
                  <a:lnTo>
                    <a:pt x="446" y="143"/>
                  </a:lnTo>
                  <a:lnTo>
                    <a:pt x="444" y="143"/>
                  </a:lnTo>
                  <a:lnTo>
                    <a:pt x="443" y="148"/>
                  </a:lnTo>
                  <a:lnTo>
                    <a:pt x="439" y="151"/>
                  </a:lnTo>
                  <a:lnTo>
                    <a:pt x="435" y="151"/>
                  </a:lnTo>
                  <a:lnTo>
                    <a:pt x="421" y="147"/>
                  </a:lnTo>
                  <a:lnTo>
                    <a:pt x="412" y="142"/>
                  </a:lnTo>
                  <a:lnTo>
                    <a:pt x="361" y="140"/>
                  </a:lnTo>
                  <a:lnTo>
                    <a:pt x="342" y="142"/>
                  </a:lnTo>
                  <a:lnTo>
                    <a:pt x="336" y="150"/>
                  </a:lnTo>
                  <a:lnTo>
                    <a:pt x="330" y="167"/>
                  </a:lnTo>
                  <a:lnTo>
                    <a:pt x="328" y="189"/>
                  </a:lnTo>
                  <a:lnTo>
                    <a:pt x="323" y="201"/>
                  </a:lnTo>
                  <a:lnTo>
                    <a:pt x="297" y="230"/>
                  </a:lnTo>
                  <a:lnTo>
                    <a:pt x="291" y="257"/>
                  </a:lnTo>
                  <a:lnTo>
                    <a:pt x="282" y="275"/>
                  </a:lnTo>
                  <a:lnTo>
                    <a:pt x="275" y="287"/>
                  </a:lnTo>
                  <a:lnTo>
                    <a:pt x="271" y="294"/>
                  </a:lnTo>
                  <a:lnTo>
                    <a:pt x="265" y="299"/>
                  </a:lnTo>
                  <a:lnTo>
                    <a:pt x="252" y="303"/>
                  </a:lnTo>
                  <a:lnTo>
                    <a:pt x="240" y="305"/>
                  </a:lnTo>
                  <a:lnTo>
                    <a:pt x="231" y="307"/>
                  </a:lnTo>
                  <a:lnTo>
                    <a:pt x="220" y="314"/>
                  </a:lnTo>
                  <a:lnTo>
                    <a:pt x="210" y="314"/>
                  </a:lnTo>
                  <a:lnTo>
                    <a:pt x="189" y="306"/>
                  </a:lnTo>
                  <a:lnTo>
                    <a:pt x="184" y="306"/>
                  </a:lnTo>
                  <a:lnTo>
                    <a:pt x="183" y="299"/>
                  </a:lnTo>
                  <a:lnTo>
                    <a:pt x="178" y="296"/>
                  </a:lnTo>
                  <a:lnTo>
                    <a:pt x="151" y="295"/>
                  </a:lnTo>
                  <a:lnTo>
                    <a:pt x="146" y="296"/>
                  </a:lnTo>
                  <a:lnTo>
                    <a:pt x="139" y="305"/>
                  </a:lnTo>
                  <a:lnTo>
                    <a:pt x="123" y="323"/>
                  </a:lnTo>
                  <a:lnTo>
                    <a:pt x="115" y="327"/>
                  </a:lnTo>
                  <a:lnTo>
                    <a:pt x="105" y="326"/>
                  </a:lnTo>
                  <a:lnTo>
                    <a:pt x="96" y="326"/>
                  </a:lnTo>
                  <a:lnTo>
                    <a:pt x="87" y="330"/>
                  </a:lnTo>
                  <a:lnTo>
                    <a:pt x="77" y="323"/>
                  </a:lnTo>
                  <a:lnTo>
                    <a:pt x="66" y="325"/>
                  </a:lnTo>
                  <a:lnTo>
                    <a:pt x="54" y="328"/>
                  </a:lnTo>
                  <a:lnTo>
                    <a:pt x="40" y="325"/>
                  </a:lnTo>
                  <a:lnTo>
                    <a:pt x="27" y="314"/>
                  </a:lnTo>
                  <a:lnTo>
                    <a:pt x="0" y="274"/>
                  </a:lnTo>
                  <a:lnTo>
                    <a:pt x="0" y="269"/>
                  </a:lnTo>
                  <a:lnTo>
                    <a:pt x="2" y="268"/>
                  </a:lnTo>
                  <a:lnTo>
                    <a:pt x="5" y="266"/>
                  </a:lnTo>
                  <a:lnTo>
                    <a:pt x="7" y="264"/>
                  </a:lnTo>
                  <a:lnTo>
                    <a:pt x="10" y="273"/>
                  </a:lnTo>
                  <a:lnTo>
                    <a:pt x="13" y="278"/>
                  </a:lnTo>
                  <a:lnTo>
                    <a:pt x="28" y="283"/>
                  </a:lnTo>
                  <a:lnTo>
                    <a:pt x="34" y="284"/>
                  </a:lnTo>
                  <a:lnTo>
                    <a:pt x="48" y="283"/>
                  </a:lnTo>
                  <a:lnTo>
                    <a:pt x="53" y="284"/>
                  </a:lnTo>
                  <a:lnTo>
                    <a:pt x="59" y="288"/>
                  </a:lnTo>
                  <a:lnTo>
                    <a:pt x="67" y="290"/>
                  </a:lnTo>
                  <a:lnTo>
                    <a:pt x="84" y="293"/>
                  </a:lnTo>
                  <a:lnTo>
                    <a:pt x="86" y="285"/>
                  </a:lnTo>
                  <a:lnTo>
                    <a:pt x="89" y="279"/>
                  </a:lnTo>
                  <a:lnTo>
                    <a:pt x="91" y="269"/>
                  </a:lnTo>
                  <a:lnTo>
                    <a:pt x="93" y="263"/>
                  </a:lnTo>
                  <a:lnTo>
                    <a:pt x="91" y="253"/>
                  </a:lnTo>
                  <a:lnTo>
                    <a:pt x="96" y="250"/>
                  </a:lnTo>
                  <a:lnTo>
                    <a:pt x="102" y="251"/>
                  </a:lnTo>
                  <a:lnTo>
                    <a:pt x="103" y="253"/>
                  </a:lnTo>
                  <a:lnTo>
                    <a:pt x="103" y="239"/>
                  </a:lnTo>
                  <a:lnTo>
                    <a:pt x="105" y="235"/>
                  </a:lnTo>
                  <a:lnTo>
                    <a:pt x="113" y="225"/>
                  </a:lnTo>
                  <a:lnTo>
                    <a:pt x="116" y="221"/>
                  </a:lnTo>
                  <a:lnTo>
                    <a:pt x="134" y="220"/>
                  </a:lnTo>
                  <a:lnTo>
                    <a:pt x="137" y="219"/>
                  </a:lnTo>
                  <a:lnTo>
                    <a:pt x="137" y="218"/>
                  </a:lnTo>
                  <a:lnTo>
                    <a:pt x="142" y="217"/>
                  </a:lnTo>
                  <a:lnTo>
                    <a:pt x="152" y="217"/>
                  </a:lnTo>
                  <a:lnTo>
                    <a:pt x="161" y="215"/>
                  </a:lnTo>
                  <a:lnTo>
                    <a:pt x="174" y="214"/>
                  </a:lnTo>
                  <a:lnTo>
                    <a:pt x="179" y="212"/>
                  </a:lnTo>
                  <a:lnTo>
                    <a:pt x="190" y="201"/>
                  </a:lnTo>
                  <a:lnTo>
                    <a:pt x="205" y="183"/>
                  </a:lnTo>
                  <a:lnTo>
                    <a:pt x="207" y="177"/>
                  </a:lnTo>
                  <a:lnTo>
                    <a:pt x="215" y="167"/>
                  </a:lnTo>
                  <a:lnTo>
                    <a:pt x="231" y="154"/>
                  </a:lnTo>
                  <a:lnTo>
                    <a:pt x="238" y="143"/>
                  </a:lnTo>
                  <a:lnTo>
                    <a:pt x="240" y="131"/>
                  </a:lnTo>
                  <a:lnTo>
                    <a:pt x="242" y="12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81" name="Malaysia"/>
            <p:cNvSpPr>
              <a:spLocks noChangeAspect="1"/>
            </p:cNvSpPr>
            <p:nvPr>
              <p:custDataLst>
                <p:tags r:id="rId79"/>
              </p:custDataLst>
            </p:nvPr>
          </p:nvSpPr>
          <p:spPr bwMode="gray">
            <a:xfrm>
              <a:off x="7026001" y="4456521"/>
              <a:ext cx="105327" cy="138095"/>
            </a:xfrm>
            <a:custGeom>
              <a:avLst/>
              <a:gdLst/>
              <a:ahLst/>
              <a:cxnLst>
                <a:cxn ang="0">
                  <a:pos x="5" y="16"/>
                </a:cxn>
                <a:cxn ang="0">
                  <a:pos x="2" y="16"/>
                </a:cxn>
                <a:cxn ang="0">
                  <a:pos x="7" y="24"/>
                </a:cxn>
                <a:cxn ang="0">
                  <a:pos x="10" y="43"/>
                </a:cxn>
                <a:cxn ang="0">
                  <a:pos x="14" y="55"/>
                </a:cxn>
                <a:cxn ang="0">
                  <a:pos x="15" y="87"/>
                </a:cxn>
                <a:cxn ang="0">
                  <a:pos x="18" y="98"/>
                </a:cxn>
                <a:cxn ang="0">
                  <a:pos x="26" y="104"/>
                </a:cxn>
                <a:cxn ang="0">
                  <a:pos x="27" y="115"/>
                </a:cxn>
                <a:cxn ang="0">
                  <a:pos x="26" y="130"/>
                </a:cxn>
                <a:cxn ang="0">
                  <a:pos x="32" y="141"/>
                </a:cxn>
                <a:cxn ang="0">
                  <a:pos x="33" y="148"/>
                </a:cxn>
                <a:cxn ang="0">
                  <a:pos x="52" y="173"/>
                </a:cxn>
                <a:cxn ang="0">
                  <a:pos x="60" y="183"/>
                </a:cxn>
                <a:cxn ang="0">
                  <a:pos x="66" y="196"/>
                </a:cxn>
                <a:cxn ang="0">
                  <a:pos x="68" y="208"/>
                </a:cxn>
                <a:cxn ang="0">
                  <a:pos x="77" y="218"/>
                </a:cxn>
                <a:cxn ang="0">
                  <a:pos x="93" y="229"/>
                </a:cxn>
                <a:cxn ang="0">
                  <a:pos x="114" y="248"/>
                </a:cxn>
                <a:cxn ang="0">
                  <a:pos x="129" y="253"/>
                </a:cxn>
                <a:cxn ang="0">
                  <a:pos x="144" y="265"/>
                </a:cxn>
                <a:cxn ang="0">
                  <a:pos x="152" y="269"/>
                </a:cxn>
                <a:cxn ang="0">
                  <a:pos x="166" y="276"/>
                </a:cxn>
                <a:cxn ang="0">
                  <a:pos x="178" y="287"/>
                </a:cxn>
                <a:cxn ang="0">
                  <a:pos x="182" y="285"/>
                </a:cxn>
                <a:cxn ang="0">
                  <a:pos x="185" y="291"/>
                </a:cxn>
                <a:cxn ang="0">
                  <a:pos x="189" y="287"/>
                </a:cxn>
                <a:cxn ang="0">
                  <a:pos x="192" y="281"/>
                </a:cxn>
                <a:cxn ang="0">
                  <a:pos x="198" y="277"/>
                </a:cxn>
                <a:cxn ang="0">
                  <a:pos x="211" y="280"/>
                </a:cxn>
                <a:cxn ang="0">
                  <a:pos x="220" y="288"/>
                </a:cxn>
                <a:cxn ang="0">
                  <a:pos x="224" y="281"/>
                </a:cxn>
                <a:cxn ang="0">
                  <a:pos x="226" y="265"/>
                </a:cxn>
                <a:cxn ang="0">
                  <a:pos x="210" y="237"/>
                </a:cxn>
                <a:cxn ang="0">
                  <a:pos x="205" y="222"/>
                </a:cxn>
                <a:cxn ang="0">
                  <a:pos x="188" y="210"/>
                </a:cxn>
                <a:cxn ang="0">
                  <a:pos x="182" y="191"/>
                </a:cxn>
                <a:cxn ang="0">
                  <a:pos x="179" y="151"/>
                </a:cxn>
                <a:cxn ang="0">
                  <a:pos x="183" y="126"/>
                </a:cxn>
                <a:cxn ang="0">
                  <a:pos x="183" y="108"/>
                </a:cxn>
                <a:cxn ang="0">
                  <a:pos x="181" y="95"/>
                </a:cxn>
                <a:cxn ang="0">
                  <a:pos x="174" y="83"/>
                </a:cxn>
                <a:cxn ang="0">
                  <a:pos x="158" y="60"/>
                </a:cxn>
                <a:cxn ang="0">
                  <a:pos x="136" y="44"/>
                </a:cxn>
                <a:cxn ang="0">
                  <a:pos x="123" y="28"/>
                </a:cxn>
                <a:cxn ang="0">
                  <a:pos x="111" y="29"/>
                </a:cxn>
                <a:cxn ang="0">
                  <a:pos x="103" y="41"/>
                </a:cxn>
                <a:cxn ang="0">
                  <a:pos x="92" y="43"/>
                </a:cxn>
                <a:cxn ang="0">
                  <a:pos x="81" y="41"/>
                </a:cxn>
                <a:cxn ang="0">
                  <a:pos x="58" y="56"/>
                </a:cxn>
                <a:cxn ang="0">
                  <a:pos x="54" y="45"/>
                </a:cxn>
                <a:cxn ang="0">
                  <a:pos x="57" y="29"/>
                </a:cxn>
                <a:cxn ang="0">
                  <a:pos x="47" y="14"/>
                </a:cxn>
                <a:cxn ang="0">
                  <a:pos x="37" y="12"/>
                </a:cxn>
                <a:cxn ang="0">
                  <a:pos x="20" y="9"/>
                </a:cxn>
                <a:cxn ang="0">
                  <a:pos x="12" y="0"/>
                </a:cxn>
                <a:cxn ang="0">
                  <a:pos x="0" y="0"/>
                </a:cxn>
                <a:cxn ang="0">
                  <a:pos x="5" y="16"/>
                </a:cxn>
              </a:cxnLst>
              <a:rect l="0" t="0" r="r" b="b"/>
              <a:pathLst>
                <a:path w="226" h="291">
                  <a:moveTo>
                    <a:pt x="5" y="16"/>
                  </a:moveTo>
                  <a:lnTo>
                    <a:pt x="2" y="16"/>
                  </a:lnTo>
                  <a:lnTo>
                    <a:pt x="7" y="24"/>
                  </a:lnTo>
                  <a:lnTo>
                    <a:pt x="10" y="43"/>
                  </a:lnTo>
                  <a:lnTo>
                    <a:pt x="14" y="55"/>
                  </a:lnTo>
                  <a:lnTo>
                    <a:pt x="15" y="87"/>
                  </a:lnTo>
                  <a:lnTo>
                    <a:pt x="18" y="98"/>
                  </a:lnTo>
                  <a:lnTo>
                    <a:pt x="26" y="104"/>
                  </a:lnTo>
                  <a:lnTo>
                    <a:pt x="27" y="115"/>
                  </a:lnTo>
                  <a:lnTo>
                    <a:pt x="26" y="130"/>
                  </a:lnTo>
                  <a:lnTo>
                    <a:pt x="32" y="141"/>
                  </a:lnTo>
                  <a:lnTo>
                    <a:pt x="33" y="148"/>
                  </a:lnTo>
                  <a:lnTo>
                    <a:pt x="52" y="173"/>
                  </a:lnTo>
                  <a:lnTo>
                    <a:pt x="60" y="183"/>
                  </a:lnTo>
                  <a:lnTo>
                    <a:pt x="66" y="196"/>
                  </a:lnTo>
                  <a:lnTo>
                    <a:pt x="68" y="208"/>
                  </a:lnTo>
                  <a:lnTo>
                    <a:pt x="77" y="218"/>
                  </a:lnTo>
                  <a:lnTo>
                    <a:pt x="93" y="229"/>
                  </a:lnTo>
                  <a:lnTo>
                    <a:pt x="114" y="248"/>
                  </a:lnTo>
                  <a:lnTo>
                    <a:pt x="129" y="253"/>
                  </a:lnTo>
                  <a:lnTo>
                    <a:pt x="144" y="265"/>
                  </a:lnTo>
                  <a:lnTo>
                    <a:pt x="152" y="269"/>
                  </a:lnTo>
                  <a:lnTo>
                    <a:pt x="166" y="276"/>
                  </a:lnTo>
                  <a:lnTo>
                    <a:pt x="178" y="287"/>
                  </a:lnTo>
                  <a:lnTo>
                    <a:pt x="182" y="285"/>
                  </a:lnTo>
                  <a:lnTo>
                    <a:pt x="185" y="291"/>
                  </a:lnTo>
                  <a:lnTo>
                    <a:pt x="189" y="287"/>
                  </a:lnTo>
                  <a:lnTo>
                    <a:pt x="192" y="281"/>
                  </a:lnTo>
                  <a:lnTo>
                    <a:pt x="198" y="277"/>
                  </a:lnTo>
                  <a:lnTo>
                    <a:pt x="211" y="280"/>
                  </a:lnTo>
                  <a:lnTo>
                    <a:pt x="220" y="288"/>
                  </a:lnTo>
                  <a:lnTo>
                    <a:pt x="224" y="281"/>
                  </a:lnTo>
                  <a:lnTo>
                    <a:pt x="226" y="265"/>
                  </a:lnTo>
                  <a:lnTo>
                    <a:pt x="210" y="237"/>
                  </a:lnTo>
                  <a:lnTo>
                    <a:pt x="205" y="222"/>
                  </a:lnTo>
                  <a:lnTo>
                    <a:pt x="188" y="210"/>
                  </a:lnTo>
                  <a:lnTo>
                    <a:pt x="182" y="191"/>
                  </a:lnTo>
                  <a:lnTo>
                    <a:pt x="179" y="151"/>
                  </a:lnTo>
                  <a:lnTo>
                    <a:pt x="183" y="126"/>
                  </a:lnTo>
                  <a:lnTo>
                    <a:pt x="183" y="108"/>
                  </a:lnTo>
                  <a:lnTo>
                    <a:pt x="181" y="95"/>
                  </a:lnTo>
                  <a:lnTo>
                    <a:pt x="174" y="83"/>
                  </a:lnTo>
                  <a:lnTo>
                    <a:pt x="158" y="60"/>
                  </a:lnTo>
                  <a:lnTo>
                    <a:pt x="136" y="44"/>
                  </a:lnTo>
                  <a:lnTo>
                    <a:pt x="123" y="28"/>
                  </a:lnTo>
                  <a:lnTo>
                    <a:pt x="111" y="29"/>
                  </a:lnTo>
                  <a:lnTo>
                    <a:pt x="103" y="41"/>
                  </a:lnTo>
                  <a:lnTo>
                    <a:pt x="92" y="43"/>
                  </a:lnTo>
                  <a:lnTo>
                    <a:pt x="81" y="41"/>
                  </a:lnTo>
                  <a:lnTo>
                    <a:pt x="58" y="56"/>
                  </a:lnTo>
                  <a:lnTo>
                    <a:pt x="54" y="45"/>
                  </a:lnTo>
                  <a:lnTo>
                    <a:pt x="57" y="29"/>
                  </a:lnTo>
                  <a:lnTo>
                    <a:pt x="47" y="14"/>
                  </a:lnTo>
                  <a:lnTo>
                    <a:pt x="37" y="12"/>
                  </a:lnTo>
                  <a:lnTo>
                    <a:pt x="20" y="9"/>
                  </a:lnTo>
                  <a:lnTo>
                    <a:pt x="12" y="0"/>
                  </a:lnTo>
                  <a:lnTo>
                    <a:pt x="0" y="0"/>
                  </a:lnTo>
                  <a:lnTo>
                    <a:pt x="5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82" name="Thailand"/>
            <p:cNvSpPr>
              <a:spLocks noChangeAspect="1"/>
            </p:cNvSpPr>
            <p:nvPr>
              <p:custDataLst>
                <p:tags r:id="rId80"/>
              </p:custDataLst>
            </p:nvPr>
          </p:nvSpPr>
          <p:spPr bwMode="gray">
            <a:xfrm>
              <a:off x="6960464" y="4089047"/>
              <a:ext cx="201292" cy="395561"/>
            </a:xfrm>
            <a:custGeom>
              <a:avLst/>
              <a:gdLst/>
              <a:ahLst/>
              <a:cxnLst>
                <a:cxn ang="0">
                  <a:pos x="125" y="24"/>
                </a:cxn>
                <a:cxn ang="0">
                  <a:pos x="77" y="49"/>
                </a:cxn>
                <a:cxn ang="0">
                  <a:pos x="23" y="67"/>
                </a:cxn>
                <a:cxn ang="0">
                  <a:pos x="0" y="135"/>
                </a:cxn>
                <a:cxn ang="0">
                  <a:pos x="40" y="199"/>
                </a:cxn>
                <a:cxn ang="0">
                  <a:pos x="52" y="252"/>
                </a:cxn>
                <a:cxn ang="0">
                  <a:pos x="53" y="283"/>
                </a:cxn>
                <a:cxn ang="0">
                  <a:pos x="38" y="315"/>
                </a:cxn>
                <a:cxn ang="0">
                  <a:pos x="58" y="366"/>
                </a:cxn>
                <a:cxn ang="0">
                  <a:pos x="82" y="434"/>
                </a:cxn>
                <a:cxn ang="0">
                  <a:pos x="111" y="503"/>
                </a:cxn>
                <a:cxn ang="0">
                  <a:pos x="72" y="559"/>
                </a:cxn>
                <a:cxn ang="0">
                  <a:pos x="59" y="597"/>
                </a:cxn>
                <a:cxn ang="0">
                  <a:pos x="37" y="681"/>
                </a:cxn>
                <a:cxn ang="0">
                  <a:pos x="80" y="725"/>
                </a:cxn>
                <a:cxn ang="0">
                  <a:pos x="118" y="774"/>
                </a:cxn>
                <a:cxn ang="0">
                  <a:pos x="160" y="797"/>
                </a:cxn>
                <a:cxn ang="0">
                  <a:pos x="194" y="833"/>
                </a:cxn>
                <a:cxn ang="0">
                  <a:pos x="243" y="829"/>
                </a:cxn>
                <a:cxn ang="0">
                  <a:pos x="215" y="778"/>
                </a:cxn>
                <a:cxn ang="0">
                  <a:pos x="157" y="745"/>
                </a:cxn>
                <a:cxn ang="0">
                  <a:pos x="131" y="676"/>
                </a:cxn>
                <a:cxn ang="0">
                  <a:pos x="102" y="651"/>
                </a:cxn>
                <a:cxn ang="0">
                  <a:pos x="85" y="607"/>
                </a:cxn>
                <a:cxn ang="0">
                  <a:pos x="93" y="568"/>
                </a:cxn>
                <a:cxn ang="0">
                  <a:pos x="112" y="515"/>
                </a:cxn>
                <a:cxn ang="0">
                  <a:pos x="133" y="439"/>
                </a:cxn>
                <a:cxn ang="0">
                  <a:pos x="161" y="409"/>
                </a:cxn>
                <a:cxn ang="0">
                  <a:pos x="179" y="455"/>
                </a:cxn>
                <a:cxn ang="0">
                  <a:pos x="189" y="458"/>
                </a:cxn>
                <a:cxn ang="0">
                  <a:pos x="251" y="476"/>
                </a:cxn>
                <a:cxn ang="0">
                  <a:pos x="271" y="489"/>
                </a:cxn>
                <a:cxn ang="0">
                  <a:pos x="292" y="510"/>
                </a:cxn>
                <a:cxn ang="0">
                  <a:pos x="265" y="462"/>
                </a:cxn>
                <a:cxn ang="0">
                  <a:pos x="265" y="407"/>
                </a:cxn>
                <a:cxn ang="0">
                  <a:pos x="298" y="366"/>
                </a:cxn>
                <a:cxn ang="0">
                  <a:pos x="368" y="365"/>
                </a:cxn>
                <a:cxn ang="0">
                  <a:pos x="416" y="365"/>
                </a:cxn>
                <a:cxn ang="0">
                  <a:pos x="431" y="302"/>
                </a:cxn>
                <a:cxn ang="0">
                  <a:pos x="416" y="275"/>
                </a:cxn>
                <a:cxn ang="0">
                  <a:pos x="389" y="252"/>
                </a:cxn>
                <a:cxn ang="0">
                  <a:pos x="382" y="191"/>
                </a:cxn>
                <a:cxn ang="0">
                  <a:pos x="360" y="165"/>
                </a:cxn>
                <a:cxn ang="0">
                  <a:pos x="323" y="134"/>
                </a:cxn>
                <a:cxn ang="0">
                  <a:pos x="292" y="153"/>
                </a:cxn>
                <a:cxn ang="0">
                  <a:pos x="255" y="156"/>
                </a:cxn>
                <a:cxn ang="0">
                  <a:pos x="220" y="151"/>
                </a:cxn>
                <a:cxn ang="0">
                  <a:pos x="183" y="182"/>
                </a:cxn>
                <a:cxn ang="0">
                  <a:pos x="188" y="126"/>
                </a:cxn>
                <a:cxn ang="0">
                  <a:pos x="190" y="81"/>
                </a:cxn>
                <a:cxn ang="0">
                  <a:pos x="163" y="59"/>
                </a:cxn>
                <a:cxn ang="0">
                  <a:pos x="152" y="16"/>
                </a:cxn>
                <a:cxn ang="0">
                  <a:pos x="141" y="0"/>
                </a:cxn>
              </a:cxnLst>
              <a:rect l="0" t="0" r="r" b="b"/>
              <a:pathLst>
                <a:path w="431" h="844">
                  <a:moveTo>
                    <a:pt x="144" y="0"/>
                  </a:moveTo>
                  <a:lnTo>
                    <a:pt x="138" y="3"/>
                  </a:lnTo>
                  <a:lnTo>
                    <a:pt x="131" y="11"/>
                  </a:lnTo>
                  <a:lnTo>
                    <a:pt x="125" y="24"/>
                  </a:lnTo>
                  <a:lnTo>
                    <a:pt x="112" y="27"/>
                  </a:lnTo>
                  <a:lnTo>
                    <a:pt x="103" y="32"/>
                  </a:lnTo>
                  <a:lnTo>
                    <a:pt x="88" y="43"/>
                  </a:lnTo>
                  <a:lnTo>
                    <a:pt x="77" y="49"/>
                  </a:lnTo>
                  <a:lnTo>
                    <a:pt x="66" y="60"/>
                  </a:lnTo>
                  <a:lnTo>
                    <a:pt x="55" y="64"/>
                  </a:lnTo>
                  <a:lnTo>
                    <a:pt x="37" y="65"/>
                  </a:lnTo>
                  <a:lnTo>
                    <a:pt x="23" y="67"/>
                  </a:lnTo>
                  <a:lnTo>
                    <a:pt x="9" y="106"/>
                  </a:lnTo>
                  <a:lnTo>
                    <a:pt x="7" y="118"/>
                  </a:lnTo>
                  <a:lnTo>
                    <a:pt x="9" y="128"/>
                  </a:lnTo>
                  <a:lnTo>
                    <a:pt x="0" y="135"/>
                  </a:lnTo>
                  <a:lnTo>
                    <a:pt x="1" y="142"/>
                  </a:lnTo>
                  <a:lnTo>
                    <a:pt x="7" y="159"/>
                  </a:lnTo>
                  <a:lnTo>
                    <a:pt x="17" y="182"/>
                  </a:lnTo>
                  <a:lnTo>
                    <a:pt x="40" y="199"/>
                  </a:lnTo>
                  <a:lnTo>
                    <a:pt x="48" y="209"/>
                  </a:lnTo>
                  <a:lnTo>
                    <a:pt x="50" y="225"/>
                  </a:lnTo>
                  <a:lnTo>
                    <a:pt x="49" y="240"/>
                  </a:lnTo>
                  <a:lnTo>
                    <a:pt x="52" y="252"/>
                  </a:lnTo>
                  <a:lnTo>
                    <a:pt x="61" y="253"/>
                  </a:lnTo>
                  <a:lnTo>
                    <a:pt x="65" y="263"/>
                  </a:lnTo>
                  <a:lnTo>
                    <a:pt x="59" y="269"/>
                  </a:lnTo>
                  <a:lnTo>
                    <a:pt x="53" y="283"/>
                  </a:lnTo>
                  <a:lnTo>
                    <a:pt x="50" y="291"/>
                  </a:lnTo>
                  <a:lnTo>
                    <a:pt x="50" y="304"/>
                  </a:lnTo>
                  <a:lnTo>
                    <a:pt x="47" y="307"/>
                  </a:lnTo>
                  <a:lnTo>
                    <a:pt x="38" y="315"/>
                  </a:lnTo>
                  <a:lnTo>
                    <a:pt x="34" y="323"/>
                  </a:lnTo>
                  <a:lnTo>
                    <a:pt x="33" y="337"/>
                  </a:lnTo>
                  <a:lnTo>
                    <a:pt x="39" y="354"/>
                  </a:lnTo>
                  <a:lnTo>
                    <a:pt x="58" y="366"/>
                  </a:lnTo>
                  <a:lnTo>
                    <a:pt x="76" y="386"/>
                  </a:lnTo>
                  <a:lnTo>
                    <a:pt x="79" y="392"/>
                  </a:lnTo>
                  <a:lnTo>
                    <a:pt x="81" y="401"/>
                  </a:lnTo>
                  <a:lnTo>
                    <a:pt x="82" y="434"/>
                  </a:lnTo>
                  <a:lnTo>
                    <a:pt x="88" y="452"/>
                  </a:lnTo>
                  <a:lnTo>
                    <a:pt x="91" y="454"/>
                  </a:lnTo>
                  <a:lnTo>
                    <a:pt x="96" y="469"/>
                  </a:lnTo>
                  <a:lnTo>
                    <a:pt x="111" y="503"/>
                  </a:lnTo>
                  <a:lnTo>
                    <a:pt x="109" y="510"/>
                  </a:lnTo>
                  <a:lnTo>
                    <a:pt x="91" y="540"/>
                  </a:lnTo>
                  <a:lnTo>
                    <a:pt x="80" y="547"/>
                  </a:lnTo>
                  <a:lnTo>
                    <a:pt x="72" y="559"/>
                  </a:lnTo>
                  <a:lnTo>
                    <a:pt x="70" y="574"/>
                  </a:lnTo>
                  <a:lnTo>
                    <a:pt x="65" y="586"/>
                  </a:lnTo>
                  <a:lnTo>
                    <a:pt x="60" y="594"/>
                  </a:lnTo>
                  <a:lnTo>
                    <a:pt x="59" y="597"/>
                  </a:lnTo>
                  <a:lnTo>
                    <a:pt x="54" y="610"/>
                  </a:lnTo>
                  <a:lnTo>
                    <a:pt x="53" y="618"/>
                  </a:lnTo>
                  <a:lnTo>
                    <a:pt x="39" y="664"/>
                  </a:lnTo>
                  <a:lnTo>
                    <a:pt x="37" y="681"/>
                  </a:lnTo>
                  <a:lnTo>
                    <a:pt x="37" y="696"/>
                  </a:lnTo>
                  <a:lnTo>
                    <a:pt x="40" y="705"/>
                  </a:lnTo>
                  <a:lnTo>
                    <a:pt x="60" y="703"/>
                  </a:lnTo>
                  <a:lnTo>
                    <a:pt x="80" y="725"/>
                  </a:lnTo>
                  <a:lnTo>
                    <a:pt x="86" y="729"/>
                  </a:lnTo>
                  <a:lnTo>
                    <a:pt x="101" y="750"/>
                  </a:lnTo>
                  <a:lnTo>
                    <a:pt x="112" y="759"/>
                  </a:lnTo>
                  <a:lnTo>
                    <a:pt x="118" y="774"/>
                  </a:lnTo>
                  <a:lnTo>
                    <a:pt x="145" y="804"/>
                  </a:lnTo>
                  <a:lnTo>
                    <a:pt x="140" y="788"/>
                  </a:lnTo>
                  <a:lnTo>
                    <a:pt x="152" y="788"/>
                  </a:lnTo>
                  <a:lnTo>
                    <a:pt x="160" y="797"/>
                  </a:lnTo>
                  <a:lnTo>
                    <a:pt x="177" y="800"/>
                  </a:lnTo>
                  <a:lnTo>
                    <a:pt x="187" y="802"/>
                  </a:lnTo>
                  <a:lnTo>
                    <a:pt x="197" y="817"/>
                  </a:lnTo>
                  <a:lnTo>
                    <a:pt x="194" y="833"/>
                  </a:lnTo>
                  <a:lnTo>
                    <a:pt x="198" y="844"/>
                  </a:lnTo>
                  <a:lnTo>
                    <a:pt x="221" y="829"/>
                  </a:lnTo>
                  <a:lnTo>
                    <a:pt x="232" y="831"/>
                  </a:lnTo>
                  <a:lnTo>
                    <a:pt x="243" y="829"/>
                  </a:lnTo>
                  <a:lnTo>
                    <a:pt x="251" y="817"/>
                  </a:lnTo>
                  <a:lnTo>
                    <a:pt x="242" y="804"/>
                  </a:lnTo>
                  <a:lnTo>
                    <a:pt x="230" y="790"/>
                  </a:lnTo>
                  <a:lnTo>
                    <a:pt x="215" y="778"/>
                  </a:lnTo>
                  <a:lnTo>
                    <a:pt x="181" y="773"/>
                  </a:lnTo>
                  <a:lnTo>
                    <a:pt x="168" y="758"/>
                  </a:lnTo>
                  <a:lnTo>
                    <a:pt x="162" y="754"/>
                  </a:lnTo>
                  <a:lnTo>
                    <a:pt x="157" y="745"/>
                  </a:lnTo>
                  <a:lnTo>
                    <a:pt x="151" y="709"/>
                  </a:lnTo>
                  <a:lnTo>
                    <a:pt x="145" y="699"/>
                  </a:lnTo>
                  <a:lnTo>
                    <a:pt x="136" y="691"/>
                  </a:lnTo>
                  <a:lnTo>
                    <a:pt x="131" y="676"/>
                  </a:lnTo>
                  <a:lnTo>
                    <a:pt x="129" y="660"/>
                  </a:lnTo>
                  <a:lnTo>
                    <a:pt x="124" y="649"/>
                  </a:lnTo>
                  <a:lnTo>
                    <a:pt x="114" y="646"/>
                  </a:lnTo>
                  <a:lnTo>
                    <a:pt x="102" y="651"/>
                  </a:lnTo>
                  <a:lnTo>
                    <a:pt x="92" y="649"/>
                  </a:lnTo>
                  <a:lnTo>
                    <a:pt x="88" y="640"/>
                  </a:lnTo>
                  <a:lnTo>
                    <a:pt x="86" y="623"/>
                  </a:lnTo>
                  <a:lnTo>
                    <a:pt x="85" y="607"/>
                  </a:lnTo>
                  <a:lnTo>
                    <a:pt x="85" y="592"/>
                  </a:lnTo>
                  <a:lnTo>
                    <a:pt x="86" y="586"/>
                  </a:lnTo>
                  <a:lnTo>
                    <a:pt x="92" y="578"/>
                  </a:lnTo>
                  <a:lnTo>
                    <a:pt x="93" y="568"/>
                  </a:lnTo>
                  <a:lnTo>
                    <a:pt x="98" y="563"/>
                  </a:lnTo>
                  <a:lnTo>
                    <a:pt x="103" y="553"/>
                  </a:lnTo>
                  <a:lnTo>
                    <a:pt x="103" y="542"/>
                  </a:lnTo>
                  <a:lnTo>
                    <a:pt x="112" y="515"/>
                  </a:lnTo>
                  <a:lnTo>
                    <a:pt x="119" y="501"/>
                  </a:lnTo>
                  <a:lnTo>
                    <a:pt x="126" y="487"/>
                  </a:lnTo>
                  <a:lnTo>
                    <a:pt x="128" y="471"/>
                  </a:lnTo>
                  <a:lnTo>
                    <a:pt x="133" y="439"/>
                  </a:lnTo>
                  <a:lnTo>
                    <a:pt x="129" y="415"/>
                  </a:lnTo>
                  <a:lnTo>
                    <a:pt x="142" y="411"/>
                  </a:lnTo>
                  <a:lnTo>
                    <a:pt x="157" y="409"/>
                  </a:lnTo>
                  <a:lnTo>
                    <a:pt x="161" y="409"/>
                  </a:lnTo>
                  <a:lnTo>
                    <a:pt x="168" y="411"/>
                  </a:lnTo>
                  <a:lnTo>
                    <a:pt x="179" y="414"/>
                  </a:lnTo>
                  <a:lnTo>
                    <a:pt x="182" y="419"/>
                  </a:lnTo>
                  <a:lnTo>
                    <a:pt x="179" y="455"/>
                  </a:lnTo>
                  <a:lnTo>
                    <a:pt x="183" y="462"/>
                  </a:lnTo>
                  <a:lnTo>
                    <a:pt x="187" y="462"/>
                  </a:lnTo>
                  <a:lnTo>
                    <a:pt x="184" y="458"/>
                  </a:lnTo>
                  <a:lnTo>
                    <a:pt x="189" y="458"/>
                  </a:lnTo>
                  <a:lnTo>
                    <a:pt x="212" y="460"/>
                  </a:lnTo>
                  <a:lnTo>
                    <a:pt x="222" y="458"/>
                  </a:lnTo>
                  <a:lnTo>
                    <a:pt x="233" y="461"/>
                  </a:lnTo>
                  <a:lnTo>
                    <a:pt x="251" y="476"/>
                  </a:lnTo>
                  <a:lnTo>
                    <a:pt x="257" y="484"/>
                  </a:lnTo>
                  <a:lnTo>
                    <a:pt x="264" y="488"/>
                  </a:lnTo>
                  <a:lnTo>
                    <a:pt x="270" y="492"/>
                  </a:lnTo>
                  <a:lnTo>
                    <a:pt x="271" y="489"/>
                  </a:lnTo>
                  <a:lnTo>
                    <a:pt x="276" y="493"/>
                  </a:lnTo>
                  <a:lnTo>
                    <a:pt x="285" y="511"/>
                  </a:lnTo>
                  <a:lnTo>
                    <a:pt x="291" y="516"/>
                  </a:lnTo>
                  <a:lnTo>
                    <a:pt x="292" y="510"/>
                  </a:lnTo>
                  <a:lnTo>
                    <a:pt x="292" y="501"/>
                  </a:lnTo>
                  <a:lnTo>
                    <a:pt x="286" y="487"/>
                  </a:lnTo>
                  <a:lnTo>
                    <a:pt x="280" y="473"/>
                  </a:lnTo>
                  <a:lnTo>
                    <a:pt x="265" y="462"/>
                  </a:lnTo>
                  <a:lnTo>
                    <a:pt x="258" y="440"/>
                  </a:lnTo>
                  <a:lnTo>
                    <a:pt x="255" y="429"/>
                  </a:lnTo>
                  <a:lnTo>
                    <a:pt x="258" y="411"/>
                  </a:lnTo>
                  <a:lnTo>
                    <a:pt x="265" y="407"/>
                  </a:lnTo>
                  <a:lnTo>
                    <a:pt x="270" y="396"/>
                  </a:lnTo>
                  <a:lnTo>
                    <a:pt x="278" y="392"/>
                  </a:lnTo>
                  <a:lnTo>
                    <a:pt x="292" y="372"/>
                  </a:lnTo>
                  <a:lnTo>
                    <a:pt x="298" y="366"/>
                  </a:lnTo>
                  <a:lnTo>
                    <a:pt x="307" y="363"/>
                  </a:lnTo>
                  <a:lnTo>
                    <a:pt x="334" y="365"/>
                  </a:lnTo>
                  <a:lnTo>
                    <a:pt x="350" y="368"/>
                  </a:lnTo>
                  <a:lnTo>
                    <a:pt x="368" y="365"/>
                  </a:lnTo>
                  <a:lnTo>
                    <a:pt x="396" y="364"/>
                  </a:lnTo>
                  <a:lnTo>
                    <a:pt x="405" y="374"/>
                  </a:lnTo>
                  <a:lnTo>
                    <a:pt x="416" y="369"/>
                  </a:lnTo>
                  <a:lnTo>
                    <a:pt x="416" y="365"/>
                  </a:lnTo>
                  <a:lnTo>
                    <a:pt x="420" y="365"/>
                  </a:lnTo>
                  <a:lnTo>
                    <a:pt x="427" y="354"/>
                  </a:lnTo>
                  <a:lnTo>
                    <a:pt x="427" y="312"/>
                  </a:lnTo>
                  <a:lnTo>
                    <a:pt x="431" y="302"/>
                  </a:lnTo>
                  <a:lnTo>
                    <a:pt x="430" y="293"/>
                  </a:lnTo>
                  <a:lnTo>
                    <a:pt x="429" y="286"/>
                  </a:lnTo>
                  <a:lnTo>
                    <a:pt x="424" y="280"/>
                  </a:lnTo>
                  <a:lnTo>
                    <a:pt x="416" y="275"/>
                  </a:lnTo>
                  <a:lnTo>
                    <a:pt x="414" y="268"/>
                  </a:lnTo>
                  <a:lnTo>
                    <a:pt x="404" y="267"/>
                  </a:lnTo>
                  <a:lnTo>
                    <a:pt x="397" y="262"/>
                  </a:lnTo>
                  <a:lnTo>
                    <a:pt x="389" y="252"/>
                  </a:lnTo>
                  <a:lnTo>
                    <a:pt x="386" y="241"/>
                  </a:lnTo>
                  <a:lnTo>
                    <a:pt x="387" y="216"/>
                  </a:lnTo>
                  <a:lnTo>
                    <a:pt x="386" y="203"/>
                  </a:lnTo>
                  <a:lnTo>
                    <a:pt x="382" y="191"/>
                  </a:lnTo>
                  <a:lnTo>
                    <a:pt x="377" y="181"/>
                  </a:lnTo>
                  <a:lnTo>
                    <a:pt x="370" y="176"/>
                  </a:lnTo>
                  <a:lnTo>
                    <a:pt x="368" y="169"/>
                  </a:lnTo>
                  <a:lnTo>
                    <a:pt x="360" y="165"/>
                  </a:lnTo>
                  <a:lnTo>
                    <a:pt x="353" y="158"/>
                  </a:lnTo>
                  <a:lnTo>
                    <a:pt x="348" y="150"/>
                  </a:lnTo>
                  <a:lnTo>
                    <a:pt x="335" y="135"/>
                  </a:lnTo>
                  <a:lnTo>
                    <a:pt x="323" y="134"/>
                  </a:lnTo>
                  <a:lnTo>
                    <a:pt x="312" y="135"/>
                  </a:lnTo>
                  <a:lnTo>
                    <a:pt x="301" y="138"/>
                  </a:lnTo>
                  <a:lnTo>
                    <a:pt x="297" y="149"/>
                  </a:lnTo>
                  <a:lnTo>
                    <a:pt x="292" y="153"/>
                  </a:lnTo>
                  <a:lnTo>
                    <a:pt x="285" y="156"/>
                  </a:lnTo>
                  <a:lnTo>
                    <a:pt x="273" y="162"/>
                  </a:lnTo>
                  <a:lnTo>
                    <a:pt x="264" y="162"/>
                  </a:lnTo>
                  <a:lnTo>
                    <a:pt x="255" y="156"/>
                  </a:lnTo>
                  <a:lnTo>
                    <a:pt x="249" y="146"/>
                  </a:lnTo>
                  <a:lnTo>
                    <a:pt x="242" y="144"/>
                  </a:lnTo>
                  <a:lnTo>
                    <a:pt x="233" y="146"/>
                  </a:lnTo>
                  <a:lnTo>
                    <a:pt x="220" y="151"/>
                  </a:lnTo>
                  <a:lnTo>
                    <a:pt x="208" y="164"/>
                  </a:lnTo>
                  <a:lnTo>
                    <a:pt x="195" y="169"/>
                  </a:lnTo>
                  <a:lnTo>
                    <a:pt x="188" y="178"/>
                  </a:lnTo>
                  <a:lnTo>
                    <a:pt x="183" y="182"/>
                  </a:lnTo>
                  <a:lnTo>
                    <a:pt x="184" y="177"/>
                  </a:lnTo>
                  <a:lnTo>
                    <a:pt x="181" y="164"/>
                  </a:lnTo>
                  <a:lnTo>
                    <a:pt x="185" y="150"/>
                  </a:lnTo>
                  <a:lnTo>
                    <a:pt x="188" y="126"/>
                  </a:lnTo>
                  <a:lnTo>
                    <a:pt x="193" y="115"/>
                  </a:lnTo>
                  <a:lnTo>
                    <a:pt x="193" y="106"/>
                  </a:lnTo>
                  <a:lnTo>
                    <a:pt x="194" y="97"/>
                  </a:lnTo>
                  <a:lnTo>
                    <a:pt x="190" y="81"/>
                  </a:lnTo>
                  <a:lnTo>
                    <a:pt x="194" y="64"/>
                  </a:lnTo>
                  <a:lnTo>
                    <a:pt x="190" y="60"/>
                  </a:lnTo>
                  <a:lnTo>
                    <a:pt x="169" y="60"/>
                  </a:lnTo>
                  <a:lnTo>
                    <a:pt x="163" y="59"/>
                  </a:lnTo>
                  <a:lnTo>
                    <a:pt x="161" y="58"/>
                  </a:lnTo>
                  <a:lnTo>
                    <a:pt x="161" y="40"/>
                  </a:lnTo>
                  <a:lnTo>
                    <a:pt x="158" y="25"/>
                  </a:lnTo>
                  <a:lnTo>
                    <a:pt x="152" y="16"/>
                  </a:lnTo>
                  <a:lnTo>
                    <a:pt x="149" y="11"/>
                  </a:lnTo>
                  <a:lnTo>
                    <a:pt x="142" y="14"/>
                  </a:lnTo>
                  <a:lnTo>
                    <a:pt x="140" y="8"/>
                  </a:lnTo>
                  <a:lnTo>
                    <a:pt x="141" y="0"/>
                  </a:lnTo>
                  <a:lnTo>
                    <a:pt x="144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83" name="Myanmar (Burma)"/>
            <p:cNvSpPr>
              <a:spLocks noChangeAspect="1"/>
            </p:cNvSpPr>
            <p:nvPr>
              <p:custDataLst>
                <p:tags r:id="rId81"/>
              </p:custDataLst>
            </p:nvPr>
          </p:nvSpPr>
          <p:spPr bwMode="gray">
            <a:xfrm>
              <a:off x="6822369" y="3876052"/>
              <a:ext cx="227038" cy="491526"/>
            </a:xfrm>
            <a:custGeom>
              <a:avLst/>
              <a:gdLst/>
              <a:ahLst/>
              <a:cxnLst>
                <a:cxn ang="0">
                  <a:pos x="125" y="657"/>
                </a:cxn>
                <a:cxn ang="0">
                  <a:pos x="116" y="592"/>
                </a:cxn>
                <a:cxn ang="0">
                  <a:pos x="89" y="559"/>
                </a:cxn>
                <a:cxn ang="0">
                  <a:pos x="85" y="536"/>
                </a:cxn>
                <a:cxn ang="0">
                  <a:pos x="78" y="512"/>
                </a:cxn>
                <a:cxn ang="0">
                  <a:pos x="22" y="470"/>
                </a:cxn>
                <a:cxn ang="0">
                  <a:pos x="0" y="443"/>
                </a:cxn>
                <a:cxn ang="0">
                  <a:pos x="19" y="416"/>
                </a:cxn>
                <a:cxn ang="0">
                  <a:pos x="27" y="376"/>
                </a:cxn>
                <a:cxn ang="0">
                  <a:pos x="47" y="365"/>
                </a:cxn>
                <a:cxn ang="0">
                  <a:pos x="42" y="326"/>
                </a:cxn>
                <a:cxn ang="0">
                  <a:pos x="59" y="276"/>
                </a:cxn>
                <a:cxn ang="0">
                  <a:pos x="101" y="268"/>
                </a:cxn>
                <a:cxn ang="0">
                  <a:pos x="134" y="197"/>
                </a:cxn>
                <a:cxn ang="0">
                  <a:pos x="160" y="155"/>
                </a:cxn>
                <a:cxn ang="0">
                  <a:pos x="194" y="92"/>
                </a:cxn>
                <a:cxn ang="0">
                  <a:pos x="242" y="63"/>
                </a:cxn>
                <a:cxn ang="0">
                  <a:pos x="264" y="33"/>
                </a:cxn>
                <a:cxn ang="0">
                  <a:pos x="290" y="5"/>
                </a:cxn>
                <a:cxn ang="0">
                  <a:pos x="322" y="20"/>
                </a:cxn>
                <a:cxn ang="0">
                  <a:pos x="354" y="79"/>
                </a:cxn>
                <a:cxn ang="0">
                  <a:pos x="342" y="163"/>
                </a:cxn>
                <a:cxn ang="0">
                  <a:pos x="311" y="198"/>
                </a:cxn>
                <a:cxn ang="0">
                  <a:pos x="304" y="256"/>
                </a:cxn>
                <a:cxn ang="0">
                  <a:pos x="323" y="258"/>
                </a:cxn>
                <a:cxn ang="0">
                  <a:pos x="366" y="281"/>
                </a:cxn>
                <a:cxn ang="0">
                  <a:pos x="391" y="346"/>
                </a:cxn>
                <a:cxn ang="0">
                  <a:pos x="423" y="387"/>
                </a:cxn>
                <a:cxn ang="0">
                  <a:pos x="488" y="391"/>
                </a:cxn>
                <a:cxn ang="0">
                  <a:pos x="456" y="427"/>
                </a:cxn>
                <a:cxn ang="0">
                  <a:pos x="445" y="443"/>
                </a:cxn>
                <a:cxn ang="0">
                  <a:pos x="426" y="464"/>
                </a:cxn>
                <a:cxn ang="0">
                  <a:pos x="383" y="496"/>
                </a:cxn>
                <a:cxn ang="0">
                  <a:pos x="332" y="518"/>
                </a:cxn>
                <a:cxn ang="0">
                  <a:pos x="304" y="581"/>
                </a:cxn>
                <a:cxn ang="0">
                  <a:pos x="312" y="635"/>
                </a:cxn>
                <a:cxn ang="0">
                  <a:pos x="344" y="693"/>
                </a:cxn>
                <a:cxn ang="0">
                  <a:pos x="354" y="722"/>
                </a:cxn>
                <a:cxn ang="0">
                  <a:pos x="342" y="760"/>
                </a:cxn>
                <a:cxn ang="0">
                  <a:pos x="334" y="807"/>
                </a:cxn>
                <a:cxn ang="0">
                  <a:pos x="376" y="854"/>
                </a:cxn>
                <a:cxn ang="0">
                  <a:pos x="391" y="922"/>
                </a:cxn>
                <a:cxn ang="0">
                  <a:pos x="375" y="1000"/>
                </a:cxn>
                <a:cxn ang="0">
                  <a:pos x="355" y="1047"/>
                </a:cxn>
                <a:cxn ang="0">
                  <a:pos x="349" y="1017"/>
                </a:cxn>
                <a:cxn ang="0">
                  <a:pos x="351" y="958"/>
                </a:cxn>
                <a:cxn ang="0">
                  <a:pos x="351" y="937"/>
                </a:cxn>
                <a:cxn ang="0">
                  <a:pos x="333" y="851"/>
                </a:cxn>
                <a:cxn ang="0">
                  <a:pos x="317" y="821"/>
                </a:cxn>
                <a:cxn ang="0">
                  <a:pos x="297" y="721"/>
                </a:cxn>
                <a:cxn ang="0">
                  <a:pos x="279" y="688"/>
                </a:cxn>
                <a:cxn ang="0">
                  <a:pos x="251" y="653"/>
                </a:cxn>
                <a:cxn ang="0">
                  <a:pos x="226" y="693"/>
                </a:cxn>
                <a:cxn ang="0">
                  <a:pos x="179" y="726"/>
                </a:cxn>
                <a:cxn ang="0">
                  <a:pos x="154" y="728"/>
                </a:cxn>
                <a:cxn ang="0">
                  <a:pos x="122" y="726"/>
                </a:cxn>
                <a:cxn ang="0">
                  <a:pos x="112" y="704"/>
                </a:cxn>
              </a:cxnLst>
              <a:rect l="0" t="0" r="r" b="b"/>
              <a:pathLst>
                <a:path w="489" h="1050">
                  <a:moveTo>
                    <a:pt x="112" y="704"/>
                  </a:moveTo>
                  <a:lnTo>
                    <a:pt x="117" y="690"/>
                  </a:lnTo>
                  <a:lnTo>
                    <a:pt x="119" y="673"/>
                  </a:lnTo>
                  <a:lnTo>
                    <a:pt x="125" y="657"/>
                  </a:lnTo>
                  <a:lnTo>
                    <a:pt x="125" y="638"/>
                  </a:lnTo>
                  <a:lnTo>
                    <a:pt x="121" y="607"/>
                  </a:lnTo>
                  <a:lnTo>
                    <a:pt x="117" y="599"/>
                  </a:lnTo>
                  <a:lnTo>
                    <a:pt x="116" y="592"/>
                  </a:lnTo>
                  <a:lnTo>
                    <a:pt x="109" y="580"/>
                  </a:lnTo>
                  <a:lnTo>
                    <a:pt x="95" y="556"/>
                  </a:lnTo>
                  <a:lnTo>
                    <a:pt x="92" y="545"/>
                  </a:lnTo>
                  <a:lnTo>
                    <a:pt x="89" y="559"/>
                  </a:lnTo>
                  <a:lnTo>
                    <a:pt x="78" y="553"/>
                  </a:lnTo>
                  <a:lnTo>
                    <a:pt x="71" y="539"/>
                  </a:lnTo>
                  <a:lnTo>
                    <a:pt x="74" y="531"/>
                  </a:lnTo>
                  <a:lnTo>
                    <a:pt x="85" y="536"/>
                  </a:lnTo>
                  <a:lnTo>
                    <a:pt x="84" y="531"/>
                  </a:lnTo>
                  <a:lnTo>
                    <a:pt x="76" y="525"/>
                  </a:lnTo>
                  <a:lnTo>
                    <a:pt x="79" y="518"/>
                  </a:lnTo>
                  <a:lnTo>
                    <a:pt x="78" y="512"/>
                  </a:lnTo>
                  <a:lnTo>
                    <a:pt x="38" y="493"/>
                  </a:lnTo>
                  <a:lnTo>
                    <a:pt x="37" y="482"/>
                  </a:lnTo>
                  <a:lnTo>
                    <a:pt x="28" y="479"/>
                  </a:lnTo>
                  <a:lnTo>
                    <a:pt x="22" y="470"/>
                  </a:lnTo>
                  <a:lnTo>
                    <a:pt x="21" y="474"/>
                  </a:lnTo>
                  <a:lnTo>
                    <a:pt x="14" y="468"/>
                  </a:lnTo>
                  <a:lnTo>
                    <a:pt x="10" y="458"/>
                  </a:lnTo>
                  <a:lnTo>
                    <a:pt x="0" y="443"/>
                  </a:lnTo>
                  <a:lnTo>
                    <a:pt x="1" y="425"/>
                  </a:lnTo>
                  <a:lnTo>
                    <a:pt x="3" y="418"/>
                  </a:lnTo>
                  <a:lnTo>
                    <a:pt x="7" y="413"/>
                  </a:lnTo>
                  <a:lnTo>
                    <a:pt x="19" y="416"/>
                  </a:lnTo>
                  <a:lnTo>
                    <a:pt x="17" y="387"/>
                  </a:lnTo>
                  <a:lnTo>
                    <a:pt x="19" y="384"/>
                  </a:lnTo>
                  <a:lnTo>
                    <a:pt x="22" y="381"/>
                  </a:lnTo>
                  <a:lnTo>
                    <a:pt x="27" y="376"/>
                  </a:lnTo>
                  <a:lnTo>
                    <a:pt x="36" y="378"/>
                  </a:lnTo>
                  <a:lnTo>
                    <a:pt x="41" y="377"/>
                  </a:lnTo>
                  <a:lnTo>
                    <a:pt x="46" y="371"/>
                  </a:lnTo>
                  <a:lnTo>
                    <a:pt x="47" y="365"/>
                  </a:lnTo>
                  <a:lnTo>
                    <a:pt x="44" y="365"/>
                  </a:lnTo>
                  <a:lnTo>
                    <a:pt x="41" y="355"/>
                  </a:lnTo>
                  <a:lnTo>
                    <a:pt x="41" y="339"/>
                  </a:lnTo>
                  <a:lnTo>
                    <a:pt x="42" y="326"/>
                  </a:lnTo>
                  <a:lnTo>
                    <a:pt x="53" y="327"/>
                  </a:lnTo>
                  <a:lnTo>
                    <a:pt x="57" y="322"/>
                  </a:lnTo>
                  <a:lnTo>
                    <a:pt x="60" y="302"/>
                  </a:lnTo>
                  <a:lnTo>
                    <a:pt x="59" y="276"/>
                  </a:lnTo>
                  <a:lnTo>
                    <a:pt x="66" y="269"/>
                  </a:lnTo>
                  <a:lnTo>
                    <a:pt x="80" y="265"/>
                  </a:lnTo>
                  <a:lnTo>
                    <a:pt x="93" y="268"/>
                  </a:lnTo>
                  <a:lnTo>
                    <a:pt x="101" y="268"/>
                  </a:lnTo>
                  <a:lnTo>
                    <a:pt x="106" y="263"/>
                  </a:lnTo>
                  <a:lnTo>
                    <a:pt x="112" y="243"/>
                  </a:lnTo>
                  <a:lnTo>
                    <a:pt x="130" y="208"/>
                  </a:lnTo>
                  <a:lnTo>
                    <a:pt x="134" y="197"/>
                  </a:lnTo>
                  <a:lnTo>
                    <a:pt x="132" y="187"/>
                  </a:lnTo>
                  <a:lnTo>
                    <a:pt x="138" y="178"/>
                  </a:lnTo>
                  <a:lnTo>
                    <a:pt x="154" y="167"/>
                  </a:lnTo>
                  <a:lnTo>
                    <a:pt x="160" y="155"/>
                  </a:lnTo>
                  <a:lnTo>
                    <a:pt x="159" y="127"/>
                  </a:lnTo>
                  <a:lnTo>
                    <a:pt x="166" y="111"/>
                  </a:lnTo>
                  <a:lnTo>
                    <a:pt x="179" y="100"/>
                  </a:lnTo>
                  <a:lnTo>
                    <a:pt x="194" y="92"/>
                  </a:lnTo>
                  <a:lnTo>
                    <a:pt x="204" y="84"/>
                  </a:lnTo>
                  <a:lnTo>
                    <a:pt x="211" y="70"/>
                  </a:lnTo>
                  <a:lnTo>
                    <a:pt x="231" y="66"/>
                  </a:lnTo>
                  <a:lnTo>
                    <a:pt x="242" y="63"/>
                  </a:lnTo>
                  <a:lnTo>
                    <a:pt x="258" y="68"/>
                  </a:lnTo>
                  <a:lnTo>
                    <a:pt x="263" y="63"/>
                  </a:lnTo>
                  <a:lnTo>
                    <a:pt x="259" y="47"/>
                  </a:lnTo>
                  <a:lnTo>
                    <a:pt x="264" y="33"/>
                  </a:lnTo>
                  <a:lnTo>
                    <a:pt x="275" y="28"/>
                  </a:lnTo>
                  <a:lnTo>
                    <a:pt x="281" y="21"/>
                  </a:lnTo>
                  <a:lnTo>
                    <a:pt x="281" y="9"/>
                  </a:lnTo>
                  <a:lnTo>
                    <a:pt x="290" y="5"/>
                  </a:lnTo>
                  <a:lnTo>
                    <a:pt x="294" y="0"/>
                  </a:lnTo>
                  <a:lnTo>
                    <a:pt x="297" y="0"/>
                  </a:lnTo>
                  <a:lnTo>
                    <a:pt x="310" y="6"/>
                  </a:lnTo>
                  <a:lnTo>
                    <a:pt x="322" y="20"/>
                  </a:lnTo>
                  <a:lnTo>
                    <a:pt x="326" y="37"/>
                  </a:lnTo>
                  <a:lnTo>
                    <a:pt x="331" y="45"/>
                  </a:lnTo>
                  <a:lnTo>
                    <a:pt x="347" y="47"/>
                  </a:lnTo>
                  <a:lnTo>
                    <a:pt x="354" y="79"/>
                  </a:lnTo>
                  <a:lnTo>
                    <a:pt x="355" y="100"/>
                  </a:lnTo>
                  <a:lnTo>
                    <a:pt x="351" y="128"/>
                  </a:lnTo>
                  <a:lnTo>
                    <a:pt x="351" y="136"/>
                  </a:lnTo>
                  <a:lnTo>
                    <a:pt x="342" y="163"/>
                  </a:lnTo>
                  <a:lnTo>
                    <a:pt x="333" y="174"/>
                  </a:lnTo>
                  <a:lnTo>
                    <a:pt x="326" y="177"/>
                  </a:lnTo>
                  <a:lnTo>
                    <a:pt x="322" y="187"/>
                  </a:lnTo>
                  <a:lnTo>
                    <a:pt x="311" y="198"/>
                  </a:lnTo>
                  <a:lnTo>
                    <a:pt x="307" y="217"/>
                  </a:lnTo>
                  <a:lnTo>
                    <a:pt x="301" y="231"/>
                  </a:lnTo>
                  <a:lnTo>
                    <a:pt x="305" y="247"/>
                  </a:lnTo>
                  <a:lnTo>
                    <a:pt x="304" y="256"/>
                  </a:lnTo>
                  <a:lnTo>
                    <a:pt x="294" y="273"/>
                  </a:lnTo>
                  <a:lnTo>
                    <a:pt x="299" y="278"/>
                  </a:lnTo>
                  <a:lnTo>
                    <a:pt x="312" y="264"/>
                  </a:lnTo>
                  <a:lnTo>
                    <a:pt x="323" y="258"/>
                  </a:lnTo>
                  <a:lnTo>
                    <a:pt x="342" y="257"/>
                  </a:lnTo>
                  <a:lnTo>
                    <a:pt x="361" y="256"/>
                  </a:lnTo>
                  <a:lnTo>
                    <a:pt x="361" y="267"/>
                  </a:lnTo>
                  <a:lnTo>
                    <a:pt x="366" y="281"/>
                  </a:lnTo>
                  <a:lnTo>
                    <a:pt x="367" y="301"/>
                  </a:lnTo>
                  <a:lnTo>
                    <a:pt x="381" y="311"/>
                  </a:lnTo>
                  <a:lnTo>
                    <a:pt x="397" y="319"/>
                  </a:lnTo>
                  <a:lnTo>
                    <a:pt x="391" y="346"/>
                  </a:lnTo>
                  <a:lnTo>
                    <a:pt x="387" y="366"/>
                  </a:lnTo>
                  <a:lnTo>
                    <a:pt x="402" y="369"/>
                  </a:lnTo>
                  <a:lnTo>
                    <a:pt x="420" y="375"/>
                  </a:lnTo>
                  <a:lnTo>
                    <a:pt x="423" y="387"/>
                  </a:lnTo>
                  <a:lnTo>
                    <a:pt x="441" y="404"/>
                  </a:lnTo>
                  <a:lnTo>
                    <a:pt x="461" y="402"/>
                  </a:lnTo>
                  <a:lnTo>
                    <a:pt x="476" y="389"/>
                  </a:lnTo>
                  <a:lnTo>
                    <a:pt x="488" y="391"/>
                  </a:lnTo>
                  <a:lnTo>
                    <a:pt x="489" y="397"/>
                  </a:lnTo>
                  <a:lnTo>
                    <a:pt x="488" y="402"/>
                  </a:lnTo>
                  <a:lnTo>
                    <a:pt x="483" y="409"/>
                  </a:lnTo>
                  <a:lnTo>
                    <a:pt x="456" y="427"/>
                  </a:lnTo>
                  <a:lnTo>
                    <a:pt x="456" y="432"/>
                  </a:lnTo>
                  <a:lnTo>
                    <a:pt x="458" y="440"/>
                  </a:lnTo>
                  <a:lnTo>
                    <a:pt x="452" y="441"/>
                  </a:lnTo>
                  <a:lnTo>
                    <a:pt x="445" y="443"/>
                  </a:lnTo>
                  <a:lnTo>
                    <a:pt x="440" y="447"/>
                  </a:lnTo>
                  <a:lnTo>
                    <a:pt x="439" y="453"/>
                  </a:lnTo>
                  <a:lnTo>
                    <a:pt x="433" y="456"/>
                  </a:lnTo>
                  <a:lnTo>
                    <a:pt x="426" y="464"/>
                  </a:lnTo>
                  <a:lnTo>
                    <a:pt x="420" y="477"/>
                  </a:lnTo>
                  <a:lnTo>
                    <a:pt x="407" y="480"/>
                  </a:lnTo>
                  <a:lnTo>
                    <a:pt x="398" y="485"/>
                  </a:lnTo>
                  <a:lnTo>
                    <a:pt x="383" y="496"/>
                  </a:lnTo>
                  <a:lnTo>
                    <a:pt x="372" y="502"/>
                  </a:lnTo>
                  <a:lnTo>
                    <a:pt x="361" y="513"/>
                  </a:lnTo>
                  <a:lnTo>
                    <a:pt x="350" y="517"/>
                  </a:lnTo>
                  <a:lnTo>
                    <a:pt x="332" y="518"/>
                  </a:lnTo>
                  <a:lnTo>
                    <a:pt x="318" y="520"/>
                  </a:lnTo>
                  <a:lnTo>
                    <a:pt x="304" y="559"/>
                  </a:lnTo>
                  <a:lnTo>
                    <a:pt x="302" y="571"/>
                  </a:lnTo>
                  <a:lnTo>
                    <a:pt x="304" y="581"/>
                  </a:lnTo>
                  <a:lnTo>
                    <a:pt x="295" y="588"/>
                  </a:lnTo>
                  <a:lnTo>
                    <a:pt x="296" y="595"/>
                  </a:lnTo>
                  <a:lnTo>
                    <a:pt x="302" y="612"/>
                  </a:lnTo>
                  <a:lnTo>
                    <a:pt x="312" y="635"/>
                  </a:lnTo>
                  <a:lnTo>
                    <a:pt x="335" y="652"/>
                  </a:lnTo>
                  <a:lnTo>
                    <a:pt x="343" y="662"/>
                  </a:lnTo>
                  <a:lnTo>
                    <a:pt x="345" y="678"/>
                  </a:lnTo>
                  <a:lnTo>
                    <a:pt x="344" y="693"/>
                  </a:lnTo>
                  <a:lnTo>
                    <a:pt x="347" y="705"/>
                  </a:lnTo>
                  <a:lnTo>
                    <a:pt x="356" y="706"/>
                  </a:lnTo>
                  <a:lnTo>
                    <a:pt x="360" y="716"/>
                  </a:lnTo>
                  <a:lnTo>
                    <a:pt x="354" y="722"/>
                  </a:lnTo>
                  <a:lnTo>
                    <a:pt x="348" y="736"/>
                  </a:lnTo>
                  <a:lnTo>
                    <a:pt x="345" y="744"/>
                  </a:lnTo>
                  <a:lnTo>
                    <a:pt x="345" y="757"/>
                  </a:lnTo>
                  <a:lnTo>
                    <a:pt x="342" y="760"/>
                  </a:lnTo>
                  <a:lnTo>
                    <a:pt x="333" y="768"/>
                  </a:lnTo>
                  <a:lnTo>
                    <a:pt x="329" y="776"/>
                  </a:lnTo>
                  <a:lnTo>
                    <a:pt x="328" y="790"/>
                  </a:lnTo>
                  <a:lnTo>
                    <a:pt x="334" y="807"/>
                  </a:lnTo>
                  <a:lnTo>
                    <a:pt x="353" y="819"/>
                  </a:lnTo>
                  <a:lnTo>
                    <a:pt x="371" y="839"/>
                  </a:lnTo>
                  <a:lnTo>
                    <a:pt x="374" y="845"/>
                  </a:lnTo>
                  <a:lnTo>
                    <a:pt x="376" y="854"/>
                  </a:lnTo>
                  <a:lnTo>
                    <a:pt x="377" y="887"/>
                  </a:lnTo>
                  <a:lnTo>
                    <a:pt x="383" y="905"/>
                  </a:lnTo>
                  <a:lnTo>
                    <a:pt x="386" y="907"/>
                  </a:lnTo>
                  <a:lnTo>
                    <a:pt x="391" y="922"/>
                  </a:lnTo>
                  <a:lnTo>
                    <a:pt x="406" y="956"/>
                  </a:lnTo>
                  <a:lnTo>
                    <a:pt x="404" y="963"/>
                  </a:lnTo>
                  <a:lnTo>
                    <a:pt x="386" y="993"/>
                  </a:lnTo>
                  <a:lnTo>
                    <a:pt x="375" y="1000"/>
                  </a:lnTo>
                  <a:lnTo>
                    <a:pt x="367" y="1012"/>
                  </a:lnTo>
                  <a:lnTo>
                    <a:pt x="365" y="1027"/>
                  </a:lnTo>
                  <a:lnTo>
                    <a:pt x="360" y="1039"/>
                  </a:lnTo>
                  <a:lnTo>
                    <a:pt x="355" y="1047"/>
                  </a:lnTo>
                  <a:lnTo>
                    <a:pt x="354" y="1050"/>
                  </a:lnTo>
                  <a:lnTo>
                    <a:pt x="344" y="1043"/>
                  </a:lnTo>
                  <a:lnTo>
                    <a:pt x="345" y="1031"/>
                  </a:lnTo>
                  <a:lnTo>
                    <a:pt x="349" y="1017"/>
                  </a:lnTo>
                  <a:lnTo>
                    <a:pt x="359" y="993"/>
                  </a:lnTo>
                  <a:lnTo>
                    <a:pt x="359" y="981"/>
                  </a:lnTo>
                  <a:lnTo>
                    <a:pt x="361" y="964"/>
                  </a:lnTo>
                  <a:lnTo>
                    <a:pt x="351" y="958"/>
                  </a:lnTo>
                  <a:lnTo>
                    <a:pt x="344" y="953"/>
                  </a:lnTo>
                  <a:lnTo>
                    <a:pt x="345" y="946"/>
                  </a:lnTo>
                  <a:lnTo>
                    <a:pt x="354" y="947"/>
                  </a:lnTo>
                  <a:lnTo>
                    <a:pt x="351" y="937"/>
                  </a:lnTo>
                  <a:lnTo>
                    <a:pt x="354" y="924"/>
                  </a:lnTo>
                  <a:lnTo>
                    <a:pt x="349" y="897"/>
                  </a:lnTo>
                  <a:lnTo>
                    <a:pt x="338" y="870"/>
                  </a:lnTo>
                  <a:lnTo>
                    <a:pt x="333" y="851"/>
                  </a:lnTo>
                  <a:lnTo>
                    <a:pt x="329" y="855"/>
                  </a:lnTo>
                  <a:lnTo>
                    <a:pt x="327" y="860"/>
                  </a:lnTo>
                  <a:lnTo>
                    <a:pt x="322" y="844"/>
                  </a:lnTo>
                  <a:lnTo>
                    <a:pt x="317" y="821"/>
                  </a:lnTo>
                  <a:lnTo>
                    <a:pt x="311" y="805"/>
                  </a:lnTo>
                  <a:lnTo>
                    <a:pt x="306" y="784"/>
                  </a:lnTo>
                  <a:lnTo>
                    <a:pt x="301" y="759"/>
                  </a:lnTo>
                  <a:lnTo>
                    <a:pt x="297" y="721"/>
                  </a:lnTo>
                  <a:lnTo>
                    <a:pt x="299" y="695"/>
                  </a:lnTo>
                  <a:lnTo>
                    <a:pt x="295" y="695"/>
                  </a:lnTo>
                  <a:lnTo>
                    <a:pt x="291" y="694"/>
                  </a:lnTo>
                  <a:lnTo>
                    <a:pt x="279" y="688"/>
                  </a:lnTo>
                  <a:lnTo>
                    <a:pt x="269" y="679"/>
                  </a:lnTo>
                  <a:lnTo>
                    <a:pt x="262" y="671"/>
                  </a:lnTo>
                  <a:lnTo>
                    <a:pt x="254" y="673"/>
                  </a:lnTo>
                  <a:lnTo>
                    <a:pt x="251" y="653"/>
                  </a:lnTo>
                  <a:lnTo>
                    <a:pt x="246" y="642"/>
                  </a:lnTo>
                  <a:lnTo>
                    <a:pt x="246" y="662"/>
                  </a:lnTo>
                  <a:lnTo>
                    <a:pt x="241" y="685"/>
                  </a:lnTo>
                  <a:lnTo>
                    <a:pt x="226" y="693"/>
                  </a:lnTo>
                  <a:lnTo>
                    <a:pt x="211" y="700"/>
                  </a:lnTo>
                  <a:lnTo>
                    <a:pt x="200" y="710"/>
                  </a:lnTo>
                  <a:lnTo>
                    <a:pt x="189" y="717"/>
                  </a:lnTo>
                  <a:lnTo>
                    <a:pt x="179" y="726"/>
                  </a:lnTo>
                  <a:lnTo>
                    <a:pt x="170" y="738"/>
                  </a:lnTo>
                  <a:lnTo>
                    <a:pt x="165" y="733"/>
                  </a:lnTo>
                  <a:lnTo>
                    <a:pt x="159" y="735"/>
                  </a:lnTo>
                  <a:lnTo>
                    <a:pt x="154" y="728"/>
                  </a:lnTo>
                  <a:lnTo>
                    <a:pt x="146" y="738"/>
                  </a:lnTo>
                  <a:lnTo>
                    <a:pt x="136" y="733"/>
                  </a:lnTo>
                  <a:lnTo>
                    <a:pt x="127" y="730"/>
                  </a:lnTo>
                  <a:lnTo>
                    <a:pt x="122" y="726"/>
                  </a:lnTo>
                  <a:lnTo>
                    <a:pt x="125" y="717"/>
                  </a:lnTo>
                  <a:lnTo>
                    <a:pt x="116" y="725"/>
                  </a:lnTo>
                  <a:lnTo>
                    <a:pt x="109" y="721"/>
                  </a:lnTo>
                  <a:lnTo>
                    <a:pt x="112" y="70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84" name="Cambodia"/>
            <p:cNvSpPr>
              <a:spLocks noChangeAspect="1"/>
            </p:cNvSpPr>
            <p:nvPr>
              <p:custDataLst>
                <p:tags r:id="rId82"/>
              </p:custDataLst>
            </p:nvPr>
          </p:nvSpPr>
          <p:spPr bwMode="gray">
            <a:xfrm>
              <a:off x="7079835" y="4250548"/>
              <a:ext cx="135755" cy="110008"/>
            </a:xfrm>
            <a:custGeom>
              <a:avLst/>
              <a:gdLst/>
              <a:ahLst/>
              <a:cxnLst>
                <a:cxn ang="0">
                  <a:pos x="115" y="236"/>
                </a:cxn>
                <a:cxn ang="0">
                  <a:pos x="106" y="230"/>
                </a:cxn>
                <a:cxn ang="0">
                  <a:pos x="82" y="232"/>
                </a:cxn>
                <a:cxn ang="0">
                  <a:pos x="72" y="221"/>
                </a:cxn>
                <a:cxn ang="0">
                  <a:pos x="75" y="204"/>
                </a:cxn>
                <a:cxn ang="0">
                  <a:pos x="64" y="203"/>
                </a:cxn>
                <a:cxn ang="0">
                  <a:pos x="50" y="214"/>
                </a:cxn>
                <a:cxn ang="0">
                  <a:pos x="41" y="186"/>
                </a:cxn>
                <a:cxn ang="0">
                  <a:pos x="45" y="184"/>
                </a:cxn>
                <a:cxn ang="0">
                  <a:pos x="36" y="172"/>
                </a:cxn>
                <a:cxn ang="0">
                  <a:pos x="37" y="157"/>
                </a:cxn>
                <a:cxn ang="0">
                  <a:pos x="25" y="129"/>
                </a:cxn>
                <a:cxn ang="0">
                  <a:pos x="3" y="96"/>
                </a:cxn>
                <a:cxn ang="0">
                  <a:pos x="3" y="67"/>
                </a:cxn>
                <a:cxn ang="0">
                  <a:pos x="15" y="52"/>
                </a:cxn>
                <a:cxn ang="0">
                  <a:pos x="37" y="28"/>
                </a:cxn>
                <a:cxn ang="0">
                  <a:pos x="52" y="19"/>
                </a:cxn>
                <a:cxn ang="0">
                  <a:pos x="95" y="24"/>
                </a:cxn>
                <a:cxn ang="0">
                  <a:pos x="141" y="20"/>
                </a:cxn>
                <a:cxn ang="0">
                  <a:pos x="161" y="25"/>
                </a:cxn>
                <a:cxn ang="0">
                  <a:pos x="187" y="37"/>
                </a:cxn>
                <a:cxn ang="0">
                  <a:pos x="207" y="38"/>
                </a:cxn>
                <a:cxn ang="0">
                  <a:pos x="223" y="15"/>
                </a:cxn>
                <a:cxn ang="0">
                  <a:pos x="242" y="11"/>
                </a:cxn>
                <a:cxn ang="0">
                  <a:pos x="258" y="20"/>
                </a:cxn>
                <a:cxn ang="0">
                  <a:pos x="279" y="6"/>
                </a:cxn>
                <a:cxn ang="0">
                  <a:pos x="281" y="37"/>
                </a:cxn>
                <a:cxn ang="0">
                  <a:pos x="290" y="68"/>
                </a:cxn>
                <a:cxn ang="0">
                  <a:pos x="287" y="129"/>
                </a:cxn>
                <a:cxn ang="0">
                  <a:pos x="272" y="135"/>
                </a:cxn>
                <a:cxn ang="0">
                  <a:pos x="255" y="148"/>
                </a:cxn>
                <a:cxn ang="0">
                  <a:pos x="229" y="156"/>
                </a:cxn>
                <a:cxn ang="0">
                  <a:pos x="209" y="167"/>
                </a:cxn>
                <a:cxn ang="0">
                  <a:pos x="197" y="184"/>
                </a:cxn>
                <a:cxn ang="0">
                  <a:pos x="199" y="202"/>
                </a:cxn>
                <a:cxn ang="0">
                  <a:pos x="185" y="207"/>
                </a:cxn>
                <a:cxn ang="0">
                  <a:pos x="164" y="218"/>
                </a:cxn>
                <a:cxn ang="0">
                  <a:pos x="149" y="215"/>
                </a:cxn>
                <a:cxn ang="0">
                  <a:pos x="143" y="230"/>
                </a:cxn>
                <a:cxn ang="0">
                  <a:pos x="125" y="236"/>
                </a:cxn>
              </a:cxnLst>
              <a:rect l="0" t="0" r="r" b="b"/>
              <a:pathLst>
                <a:path w="290" h="237">
                  <a:moveTo>
                    <a:pt x="120" y="237"/>
                  </a:moveTo>
                  <a:lnTo>
                    <a:pt x="115" y="236"/>
                  </a:lnTo>
                  <a:lnTo>
                    <a:pt x="112" y="234"/>
                  </a:lnTo>
                  <a:lnTo>
                    <a:pt x="106" y="230"/>
                  </a:lnTo>
                  <a:lnTo>
                    <a:pt x="89" y="229"/>
                  </a:lnTo>
                  <a:lnTo>
                    <a:pt x="82" y="232"/>
                  </a:lnTo>
                  <a:lnTo>
                    <a:pt x="72" y="232"/>
                  </a:lnTo>
                  <a:lnTo>
                    <a:pt x="72" y="221"/>
                  </a:lnTo>
                  <a:lnTo>
                    <a:pt x="77" y="214"/>
                  </a:lnTo>
                  <a:lnTo>
                    <a:pt x="75" y="204"/>
                  </a:lnTo>
                  <a:lnTo>
                    <a:pt x="69" y="202"/>
                  </a:lnTo>
                  <a:lnTo>
                    <a:pt x="64" y="203"/>
                  </a:lnTo>
                  <a:lnTo>
                    <a:pt x="59" y="211"/>
                  </a:lnTo>
                  <a:lnTo>
                    <a:pt x="50" y="214"/>
                  </a:lnTo>
                  <a:lnTo>
                    <a:pt x="41" y="188"/>
                  </a:lnTo>
                  <a:lnTo>
                    <a:pt x="41" y="186"/>
                  </a:lnTo>
                  <a:lnTo>
                    <a:pt x="45" y="189"/>
                  </a:lnTo>
                  <a:lnTo>
                    <a:pt x="45" y="184"/>
                  </a:lnTo>
                  <a:lnTo>
                    <a:pt x="36" y="173"/>
                  </a:lnTo>
                  <a:lnTo>
                    <a:pt x="36" y="172"/>
                  </a:lnTo>
                  <a:lnTo>
                    <a:pt x="37" y="166"/>
                  </a:lnTo>
                  <a:lnTo>
                    <a:pt x="37" y="157"/>
                  </a:lnTo>
                  <a:lnTo>
                    <a:pt x="31" y="143"/>
                  </a:lnTo>
                  <a:lnTo>
                    <a:pt x="25" y="129"/>
                  </a:lnTo>
                  <a:lnTo>
                    <a:pt x="10" y="118"/>
                  </a:lnTo>
                  <a:lnTo>
                    <a:pt x="3" y="96"/>
                  </a:lnTo>
                  <a:lnTo>
                    <a:pt x="0" y="85"/>
                  </a:lnTo>
                  <a:lnTo>
                    <a:pt x="3" y="67"/>
                  </a:lnTo>
                  <a:lnTo>
                    <a:pt x="10" y="63"/>
                  </a:lnTo>
                  <a:lnTo>
                    <a:pt x="15" y="52"/>
                  </a:lnTo>
                  <a:lnTo>
                    <a:pt x="23" y="48"/>
                  </a:lnTo>
                  <a:lnTo>
                    <a:pt x="37" y="28"/>
                  </a:lnTo>
                  <a:lnTo>
                    <a:pt x="43" y="22"/>
                  </a:lnTo>
                  <a:lnTo>
                    <a:pt x="52" y="19"/>
                  </a:lnTo>
                  <a:lnTo>
                    <a:pt x="79" y="21"/>
                  </a:lnTo>
                  <a:lnTo>
                    <a:pt x="95" y="24"/>
                  </a:lnTo>
                  <a:lnTo>
                    <a:pt x="113" y="21"/>
                  </a:lnTo>
                  <a:lnTo>
                    <a:pt x="141" y="20"/>
                  </a:lnTo>
                  <a:lnTo>
                    <a:pt x="150" y="30"/>
                  </a:lnTo>
                  <a:lnTo>
                    <a:pt x="161" y="25"/>
                  </a:lnTo>
                  <a:lnTo>
                    <a:pt x="169" y="33"/>
                  </a:lnTo>
                  <a:lnTo>
                    <a:pt x="187" y="37"/>
                  </a:lnTo>
                  <a:lnTo>
                    <a:pt x="198" y="41"/>
                  </a:lnTo>
                  <a:lnTo>
                    <a:pt x="207" y="38"/>
                  </a:lnTo>
                  <a:lnTo>
                    <a:pt x="207" y="24"/>
                  </a:lnTo>
                  <a:lnTo>
                    <a:pt x="223" y="15"/>
                  </a:lnTo>
                  <a:lnTo>
                    <a:pt x="234" y="11"/>
                  </a:lnTo>
                  <a:lnTo>
                    <a:pt x="242" y="11"/>
                  </a:lnTo>
                  <a:lnTo>
                    <a:pt x="251" y="20"/>
                  </a:lnTo>
                  <a:lnTo>
                    <a:pt x="258" y="20"/>
                  </a:lnTo>
                  <a:lnTo>
                    <a:pt x="268" y="15"/>
                  </a:lnTo>
                  <a:lnTo>
                    <a:pt x="279" y="6"/>
                  </a:lnTo>
                  <a:lnTo>
                    <a:pt x="283" y="0"/>
                  </a:lnTo>
                  <a:lnTo>
                    <a:pt x="281" y="37"/>
                  </a:lnTo>
                  <a:lnTo>
                    <a:pt x="283" y="53"/>
                  </a:lnTo>
                  <a:lnTo>
                    <a:pt x="290" y="68"/>
                  </a:lnTo>
                  <a:lnTo>
                    <a:pt x="289" y="117"/>
                  </a:lnTo>
                  <a:lnTo>
                    <a:pt x="287" y="129"/>
                  </a:lnTo>
                  <a:lnTo>
                    <a:pt x="281" y="138"/>
                  </a:lnTo>
                  <a:lnTo>
                    <a:pt x="272" y="135"/>
                  </a:lnTo>
                  <a:lnTo>
                    <a:pt x="262" y="144"/>
                  </a:lnTo>
                  <a:lnTo>
                    <a:pt x="255" y="148"/>
                  </a:lnTo>
                  <a:lnTo>
                    <a:pt x="247" y="148"/>
                  </a:lnTo>
                  <a:lnTo>
                    <a:pt x="229" y="156"/>
                  </a:lnTo>
                  <a:lnTo>
                    <a:pt x="228" y="166"/>
                  </a:lnTo>
                  <a:lnTo>
                    <a:pt x="209" y="167"/>
                  </a:lnTo>
                  <a:lnTo>
                    <a:pt x="199" y="171"/>
                  </a:lnTo>
                  <a:lnTo>
                    <a:pt x="197" y="184"/>
                  </a:lnTo>
                  <a:lnTo>
                    <a:pt x="198" y="193"/>
                  </a:lnTo>
                  <a:lnTo>
                    <a:pt x="199" y="202"/>
                  </a:lnTo>
                  <a:lnTo>
                    <a:pt x="193" y="204"/>
                  </a:lnTo>
                  <a:lnTo>
                    <a:pt x="185" y="207"/>
                  </a:lnTo>
                  <a:lnTo>
                    <a:pt x="174" y="214"/>
                  </a:lnTo>
                  <a:lnTo>
                    <a:pt x="164" y="218"/>
                  </a:lnTo>
                  <a:lnTo>
                    <a:pt x="156" y="215"/>
                  </a:lnTo>
                  <a:lnTo>
                    <a:pt x="149" y="215"/>
                  </a:lnTo>
                  <a:lnTo>
                    <a:pt x="148" y="225"/>
                  </a:lnTo>
                  <a:lnTo>
                    <a:pt x="143" y="230"/>
                  </a:lnTo>
                  <a:lnTo>
                    <a:pt x="136" y="234"/>
                  </a:lnTo>
                  <a:lnTo>
                    <a:pt x="125" y="236"/>
                  </a:lnTo>
                  <a:lnTo>
                    <a:pt x="120" y="23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85" name="Laos"/>
            <p:cNvSpPr>
              <a:spLocks noChangeAspect="1"/>
            </p:cNvSpPr>
            <p:nvPr>
              <p:custDataLst>
                <p:tags r:id="rId83"/>
              </p:custDataLst>
            </p:nvPr>
          </p:nvSpPr>
          <p:spPr bwMode="gray">
            <a:xfrm>
              <a:off x="7026001" y="4039894"/>
              <a:ext cx="184907" cy="229379"/>
            </a:xfrm>
            <a:custGeom>
              <a:avLst/>
              <a:gdLst/>
              <a:ahLst/>
              <a:cxnLst>
                <a:cxn ang="0">
                  <a:pos x="135" y="39"/>
                </a:cxn>
                <a:cxn ang="0">
                  <a:pos x="147" y="71"/>
                </a:cxn>
                <a:cxn ang="0">
                  <a:pos x="183" y="98"/>
                </a:cxn>
                <a:cxn ang="0">
                  <a:pos x="228" y="105"/>
                </a:cxn>
                <a:cxn ang="0">
                  <a:pos x="243" y="127"/>
                </a:cxn>
                <a:cxn ang="0">
                  <a:pos x="252" y="151"/>
                </a:cxn>
                <a:cxn ang="0">
                  <a:pos x="220" y="164"/>
                </a:cxn>
                <a:cxn ang="0">
                  <a:pos x="205" y="181"/>
                </a:cxn>
                <a:cxn ang="0">
                  <a:pos x="221" y="196"/>
                </a:cxn>
                <a:cxn ang="0">
                  <a:pos x="271" y="239"/>
                </a:cxn>
                <a:cxn ang="0">
                  <a:pos x="314" y="290"/>
                </a:cxn>
                <a:cxn ang="0">
                  <a:pos x="342" y="317"/>
                </a:cxn>
                <a:cxn ang="0">
                  <a:pos x="345" y="331"/>
                </a:cxn>
                <a:cxn ang="0">
                  <a:pos x="371" y="355"/>
                </a:cxn>
                <a:cxn ang="0">
                  <a:pos x="397" y="409"/>
                </a:cxn>
                <a:cxn ang="0">
                  <a:pos x="394" y="455"/>
                </a:cxn>
                <a:cxn ang="0">
                  <a:pos x="366" y="469"/>
                </a:cxn>
                <a:cxn ang="0">
                  <a:pos x="338" y="464"/>
                </a:cxn>
                <a:cxn ang="0">
                  <a:pos x="313" y="490"/>
                </a:cxn>
                <a:cxn ang="0">
                  <a:pos x="276" y="474"/>
                </a:cxn>
                <a:cxn ang="0">
                  <a:pos x="287" y="459"/>
                </a:cxn>
                <a:cxn ang="0">
                  <a:pos x="290" y="398"/>
                </a:cxn>
                <a:cxn ang="0">
                  <a:pos x="276" y="380"/>
                </a:cxn>
                <a:cxn ang="0">
                  <a:pos x="257" y="367"/>
                </a:cxn>
                <a:cxn ang="0">
                  <a:pos x="247" y="321"/>
                </a:cxn>
                <a:cxn ang="0">
                  <a:pos x="237" y="286"/>
                </a:cxn>
                <a:cxn ang="0">
                  <a:pos x="220" y="270"/>
                </a:cxn>
                <a:cxn ang="0">
                  <a:pos x="195" y="240"/>
                </a:cxn>
                <a:cxn ang="0">
                  <a:pos x="161" y="243"/>
                </a:cxn>
                <a:cxn ang="0">
                  <a:pos x="145" y="261"/>
                </a:cxn>
                <a:cxn ang="0">
                  <a:pos x="115" y="261"/>
                </a:cxn>
                <a:cxn ang="0">
                  <a:pos x="93" y="251"/>
                </a:cxn>
                <a:cxn ang="0">
                  <a:pos x="55" y="274"/>
                </a:cxn>
                <a:cxn ang="0">
                  <a:pos x="44" y="282"/>
                </a:cxn>
                <a:cxn ang="0">
                  <a:pos x="48" y="231"/>
                </a:cxn>
                <a:cxn ang="0">
                  <a:pos x="54" y="202"/>
                </a:cxn>
                <a:cxn ang="0">
                  <a:pos x="50" y="165"/>
                </a:cxn>
                <a:cxn ang="0">
                  <a:pos x="21" y="163"/>
                </a:cxn>
                <a:cxn ang="0">
                  <a:pos x="12" y="121"/>
                </a:cxn>
                <a:cxn ang="0">
                  <a:pos x="0" y="113"/>
                </a:cxn>
                <a:cxn ang="0">
                  <a:pos x="5" y="99"/>
                </a:cxn>
                <a:cxn ang="0">
                  <a:pos x="23" y="92"/>
                </a:cxn>
                <a:cxn ang="0">
                  <a:pos x="48" y="61"/>
                </a:cxn>
                <a:cxn ang="0">
                  <a:pos x="59" y="76"/>
                </a:cxn>
                <a:cxn ang="0">
                  <a:pos x="85" y="52"/>
                </a:cxn>
                <a:cxn ang="0">
                  <a:pos x="77" y="7"/>
                </a:cxn>
                <a:cxn ang="0">
                  <a:pos x="106" y="3"/>
                </a:cxn>
              </a:cxnLst>
              <a:rect l="0" t="0" r="r" b="b"/>
              <a:pathLst>
                <a:path w="398" h="490">
                  <a:moveTo>
                    <a:pt x="106" y="3"/>
                  </a:moveTo>
                  <a:lnTo>
                    <a:pt x="118" y="19"/>
                  </a:lnTo>
                  <a:lnTo>
                    <a:pt x="135" y="39"/>
                  </a:lnTo>
                  <a:lnTo>
                    <a:pt x="145" y="49"/>
                  </a:lnTo>
                  <a:lnTo>
                    <a:pt x="150" y="59"/>
                  </a:lnTo>
                  <a:lnTo>
                    <a:pt x="147" y="71"/>
                  </a:lnTo>
                  <a:lnTo>
                    <a:pt x="149" y="79"/>
                  </a:lnTo>
                  <a:lnTo>
                    <a:pt x="163" y="94"/>
                  </a:lnTo>
                  <a:lnTo>
                    <a:pt x="183" y="98"/>
                  </a:lnTo>
                  <a:lnTo>
                    <a:pt x="203" y="93"/>
                  </a:lnTo>
                  <a:lnTo>
                    <a:pt x="219" y="94"/>
                  </a:lnTo>
                  <a:lnTo>
                    <a:pt x="228" y="105"/>
                  </a:lnTo>
                  <a:lnTo>
                    <a:pt x="233" y="114"/>
                  </a:lnTo>
                  <a:lnTo>
                    <a:pt x="235" y="121"/>
                  </a:lnTo>
                  <a:lnTo>
                    <a:pt x="243" y="127"/>
                  </a:lnTo>
                  <a:lnTo>
                    <a:pt x="247" y="136"/>
                  </a:lnTo>
                  <a:lnTo>
                    <a:pt x="253" y="142"/>
                  </a:lnTo>
                  <a:lnTo>
                    <a:pt x="252" y="151"/>
                  </a:lnTo>
                  <a:lnTo>
                    <a:pt x="236" y="167"/>
                  </a:lnTo>
                  <a:lnTo>
                    <a:pt x="231" y="167"/>
                  </a:lnTo>
                  <a:lnTo>
                    <a:pt x="220" y="164"/>
                  </a:lnTo>
                  <a:lnTo>
                    <a:pt x="213" y="167"/>
                  </a:lnTo>
                  <a:lnTo>
                    <a:pt x="209" y="172"/>
                  </a:lnTo>
                  <a:lnTo>
                    <a:pt x="205" y="181"/>
                  </a:lnTo>
                  <a:lnTo>
                    <a:pt x="206" y="188"/>
                  </a:lnTo>
                  <a:lnTo>
                    <a:pt x="213" y="190"/>
                  </a:lnTo>
                  <a:lnTo>
                    <a:pt x="221" y="196"/>
                  </a:lnTo>
                  <a:lnTo>
                    <a:pt x="240" y="206"/>
                  </a:lnTo>
                  <a:lnTo>
                    <a:pt x="267" y="226"/>
                  </a:lnTo>
                  <a:lnTo>
                    <a:pt x="271" y="239"/>
                  </a:lnTo>
                  <a:lnTo>
                    <a:pt x="294" y="260"/>
                  </a:lnTo>
                  <a:lnTo>
                    <a:pt x="297" y="270"/>
                  </a:lnTo>
                  <a:lnTo>
                    <a:pt x="314" y="290"/>
                  </a:lnTo>
                  <a:lnTo>
                    <a:pt x="319" y="291"/>
                  </a:lnTo>
                  <a:lnTo>
                    <a:pt x="337" y="303"/>
                  </a:lnTo>
                  <a:lnTo>
                    <a:pt x="342" y="317"/>
                  </a:lnTo>
                  <a:lnTo>
                    <a:pt x="345" y="329"/>
                  </a:lnTo>
                  <a:lnTo>
                    <a:pt x="344" y="330"/>
                  </a:lnTo>
                  <a:lnTo>
                    <a:pt x="345" y="331"/>
                  </a:lnTo>
                  <a:lnTo>
                    <a:pt x="349" y="345"/>
                  </a:lnTo>
                  <a:lnTo>
                    <a:pt x="357" y="345"/>
                  </a:lnTo>
                  <a:lnTo>
                    <a:pt x="371" y="355"/>
                  </a:lnTo>
                  <a:lnTo>
                    <a:pt x="380" y="363"/>
                  </a:lnTo>
                  <a:lnTo>
                    <a:pt x="384" y="380"/>
                  </a:lnTo>
                  <a:lnTo>
                    <a:pt x="397" y="409"/>
                  </a:lnTo>
                  <a:lnTo>
                    <a:pt x="398" y="416"/>
                  </a:lnTo>
                  <a:lnTo>
                    <a:pt x="398" y="449"/>
                  </a:lnTo>
                  <a:lnTo>
                    <a:pt x="394" y="455"/>
                  </a:lnTo>
                  <a:lnTo>
                    <a:pt x="383" y="464"/>
                  </a:lnTo>
                  <a:lnTo>
                    <a:pt x="373" y="469"/>
                  </a:lnTo>
                  <a:lnTo>
                    <a:pt x="366" y="469"/>
                  </a:lnTo>
                  <a:lnTo>
                    <a:pt x="357" y="460"/>
                  </a:lnTo>
                  <a:lnTo>
                    <a:pt x="349" y="460"/>
                  </a:lnTo>
                  <a:lnTo>
                    <a:pt x="338" y="464"/>
                  </a:lnTo>
                  <a:lnTo>
                    <a:pt x="322" y="473"/>
                  </a:lnTo>
                  <a:lnTo>
                    <a:pt x="322" y="487"/>
                  </a:lnTo>
                  <a:lnTo>
                    <a:pt x="313" y="490"/>
                  </a:lnTo>
                  <a:lnTo>
                    <a:pt x="302" y="486"/>
                  </a:lnTo>
                  <a:lnTo>
                    <a:pt x="284" y="482"/>
                  </a:lnTo>
                  <a:lnTo>
                    <a:pt x="276" y="474"/>
                  </a:lnTo>
                  <a:lnTo>
                    <a:pt x="276" y="470"/>
                  </a:lnTo>
                  <a:lnTo>
                    <a:pt x="280" y="470"/>
                  </a:lnTo>
                  <a:lnTo>
                    <a:pt x="287" y="459"/>
                  </a:lnTo>
                  <a:lnTo>
                    <a:pt x="287" y="417"/>
                  </a:lnTo>
                  <a:lnTo>
                    <a:pt x="291" y="407"/>
                  </a:lnTo>
                  <a:lnTo>
                    <a:pt x="290" y="398"/>
                  </a:lnTo>
                  <a:lnTo>
                    <a:pt x="289" y="391"/>
                  </a:lnTo>
                  <a:lnTo>
                    <a:pt x="284" y="385"/>
                  </a:lnTo>
                  <a:lnTo>
                    <a:pt x="276" y="380"/>
                  </a:lnTo>
                  <a:lnTo>
                    <a:pt x="274" y="373"/>
                  </a:lnTo>
                  <a:lnTo>
                    <a:pt x="264" y="372"/>
                  </a:lnTo>
                  <a:lnTo>
                    <a:pt x="257" y="367"/>
                  </a:lnTo>
                  <a:lnTo>
                    <a:pt x="249" y="357"/>
                  </a:lnTo>
                  <a:lnTo>
                    <a:pt x="246" y="346"/>
                  </a:lnTo>
                  <a:lnTo>
                    <a:pt x="247" y="321"/>
                  </a:lnTo>
                  <a:lnTo>
                    <a:pt x="246" y="308"/>
                  </a:lnTo>
                  <a:lnTo>
                    <a:pt x="242" y="296"/>
                  </a:lnTo>
                  <a:lnTo>
                    <a:pt x="237" y="286"/>
                  </a:lnTo>
                  <a:lnTo>
                    <a:pt x="230" y="281"/>
                  </a:lnTo>
                  <a:lnTo>
                    <a:pt x="228" y="274"/>
                  </a:lnTo>
                  <a:lnTo>
                    <a:pt x="220" y="270"/>
                  </a:lnTo>
                  <a:lnTo>
                    <a:pt x="213" y="263"/>
                  </a:lnTo>
                  <a:lnTo>
                    <a:pt x="208" y="255"/>
                  </a:lnTo>
                  <a:lnTo>
                    <a:pt x="195" y="240"/>
                  </a:lnTo>
                  <a:lnTo>
                    <a:pt x="183" y="239"/>
                  </a:lnTo>
                  <a:lnTo>
                    <a:pt x="172" y="240"/>
                  </a:lnTo>
                  <a:lnTo>
                    <a:pt x="161" y="243"/>
                  </a:lnTo>
                  <a:lnTo>
                    <a:pt x="157" y="254"/>
                  </a:lnTo>
                  <a:lnTo>
                    <a:pt x="152" y="258"/>
                  </a:lnTo>
                  <a:lnTo>
                    <a:pt x="145" y="261"/>
                  </a:lnTo>
                  <a:lnTo>
                    <a:pt x="133" y="267"/>
                  </a:lnTo>
                  <a:lnTo>
                    <a:pt x="124" y="267"/>
                  </a:lnTo>
                  <a:lnTo>
                    <a:pt x="115" y="261"/>
                  </a:lnTo>
                  <a:lnTo>
                    <a:pt x="109" y="251"/>
                  </a:lnTo>
                  <a:lnTo>
                    <a:pt x="102" y="249"/>
                  </a:lnTo>
                  <a:lnTo>
                    <a:pt x="93" y="251"/>
                  </a:lnTo>
                  <a:lnTo>
                    <a:pt x="80" y="256"/>
                  </a:lnTo>
                  <a:lnTo>
                    <a:pt x="68" y="269"/>
                  </a:lnTo>
                  <a:lnTo>
                    <a:pt x="55" y="274"/>
                  </a:lnTo>
                  <a:lnTo>
                    <a:pt x="48" y="283"/>
                  </a:lnTo>
                  <a:lnTo>
                    <a:pt x="43" y="287"/>
                  </a:lnTo>
                  <a:lnTo>
                    <a:pt x="44" y="282"/>
                  </a:lnTo>
                  <a:lnTo>
                    <a:pt x="41" y="269"/>
                  </a:lnTo>
                  <a:lnTo>
                    <a:pt x="45" y="255"/>
                  </a:lnTo>
                  <a:lnTo>
                    <a:pt x="48" y="231"/>
                  </a:lnTo>
                  <a:lnTo>
                    <a:pt x="53" y="220"/>
                  </a:lnTo>
                  <a:lnTo>
                    <a:pt x="53" y="211"/>
                  </a:lnTo>
                  <a:lnTo>
                    <a:pt x="54" y="202"/>
                  </a:lnTo>
                  <a:lnTo>
                    <a:pt x="50" y="186"/>
                  </a:lnTo>
                  <a:lnTo>
                    <a:pt x="54" y="169"/>
                  </a:lnTo>
                  <a:lnTo>
                    <a:pt x="50" y="165"/>
                  </a:lnTo>
                  <a:lnTo>
                    <a:pt x="29" y="165"/>
                  </a:lnTo>
                  <a:lnTo>
                    <a:pt x="23" y="164"/>
                  </a:lnTo>
                  <a:lnTo>
                    <a:pt x="21" y="163"/>
                  </a:lnTo>
                  <a:lnTo>
                    <a:pt x="21" y="145"/>
                  </a:lnTo>
                  <a:lnTo>
                    <a:pt x="18" y="130"/>
                  </a:lnTo>
                  <a:lnTo>
                    <a:pt x="12" y="121"/>
                  </a:lnTo>
                  <a:lnTo>
                    <a:pt x="9" y="116"/>
                  </a:lnTo>
                  <a:lnTo>
                    <a:pt x="2" y="119"/>
                  </a:lnTo>
                  <a:lnTo>
                    <a:pt x="0" y="113"/>
                  </a:lnTo>
                  <a:lnTo>
                    <a:pt x="1" y="105"/>
                  </a:lnTo>
                  <a:lnTo>
                    <a:pt x="4" y="105"/>
                  </a:lnTo>
                  <a:lnTo>
                    <a:pt x="5" y="99"/>
                  </a:lnTo>
                  <a:lnTo>
                    <a:pt x="10" y="95"/>
                  </a:lnTo>
                  <a:lnTo>
                    <a:pt x="17" y="93"/>
                  </a:lnTo>
                  <a:lnTo>
                    <a:pt x="23" y="92"/>
                  </a:lnTo>
                  <a:lnTo>
                    <a:pt x="21" y="84"/>
                  </a:lnTo>
                  <a:lnTo>
                    <a:pt x="21" y="79"/>
                  </a:lnTo>
                  <a:lnTo>
                    <a:pt x="48" y="61"/>
                  </a:lnTo>
                  <a:lnTo>
                    <a:pt x="53" y="54"/>
                  </a:lnTo>
                  <a:lnTo>
                    <a:pt x="54" y="49"/>
                  </a:lnTo>
                  <a:lnTo>
                    <a:pt x="59" y="76"/>
                  </a:lnTo>
                  <a:lnTo>
                    <a:pt x="80" y="71"/>
                  </a:lnTo>
                  <a:lnTo>
                    <a:pt x="84" y="67"/>
                  </a:lnTo>
                  <a:lnTo>
                    <a:pt x="85" y="52"/>
                  </a:lnTo>
                  <a:lnTo>
                    <a:pt x="79" y="36"/>
                  </a:lnTo>
                  <a:lnTo>
                    <a:pt x="76" y="19"/>
                  </a:lnTo>
                  <a:lnTo>
                    <a:pt x="77" y="7"/>
                  </a:lnTo>
                  <a:lnTo>
                    <a:pt x="86" y="0"/>
                  </a:lnTo>
                  <a:lnTo>
                    <a:pt x="106" y="1"/>
                  </a:lnTo>
                  <a:lnTo>
                    <a:pt x="106" y="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grpSp>
          <p:nvGrpSpPr>
            <p:cNvPr id="86" name="Group 97"/>
            <p:cNvGrpSpPr>
              <a:grpSpLocks noChangeAspect="1"/>
            </p:cNvGrpSpPr>
            <p:nvPr/>
          </p:nvGrpSpPr>
          <p:grpSpPr bwMode="gray">
            <a:xfrm>
              <a:off x="6014885" y="3611570"/>
              <a:ext cx="938584" cy="866023"/>
              <a:chOff x="3183" y="2052"/>
              <a:chExt cx="401" cy="370"/>
            </a:xfrm>
            <a:grpFill/>
          </p:grpSpPr>
          <p:sp>
            <p:nvSpPr>
              <p:cNvPr id="329" name="Freeform 98"/>
              <p:cNvSpPr>
                <a:spLocks noChangeAspect="1"/>
              </p:cNvSpPr>
              <p:nvPr>
                <p:custDataLst>
                  <p:tags r:id="rId306"/>
                </p:custDataLst>
              </p:nvPr>
            </p:nvSpPr>
            <p:spPr bwMode="gray">
              <a:xfrm>
                <a:off x="3509" y="2232"/>
                <a:ext cx="3" cy="5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26"/>
                  </a:cxn>
                  <a:cxn ang="0">
                    <a:pos x="9" y="27"/>
                  </a:cxn>
                  <a:cxn ang="0">
                    <a:pos x="14" y="21"/>
                  </a:cxn>
                  <a:cxn ang="0">
                    <a:pos x="14" y="12"/>
                  </a:cxn>
                  <a:cxn ang="0">
                    <a:pos x="9" y="3"/>
                  </a:cxn>
                  <a:cxn ang="0">
                    <a:pos x="5" y="0"/>
                  </a:cxn>
                  <a:cxn ang="0">
                    <a:pos x="0" y="4"/>
                  </a:cxn>
                </a:cxnLst>
                <a:rect l="0" t="0" r="r" b="b"/>
                <a:pathLst>
                  <a:path w="14" h="27">
                    <a:moveTo>
                      <a:pt x="0" y="4"/>
                    </a:moveTo>
                    <a:lnTo>
                      <a:pt x="1" y="26"/>
                    </a:lnTo>
                    <a:lnTo>
                      <a:pt x="9" y="27"/>
                    </a:lnTo>
                    <a:lnTo>
                      <a:pt x="14" y="21"/>
                    </a:lnTo>
                    <a:lnTo>
                      <a:pt x="14" y="12"/>
                    </a:lnTo>
                    <a:lnTo>
                      <a:pt x="9" y="3"/>
                    </a:lnTo>
                    <a:lnTo>
                      <a:pt x="5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0" name="India"/>
              <p:cNvSpPr>
                <a:spLocks noChangeAspect="1"/>
              </p:cNvSpPr>
              <p:nvPr>
                <p:custDataLst>
                  <p:tags r:id="rId307"/>
                </p:custDataLst>
              </p:nvPr>
            </p:nvSpPr>
            <p:spPr bwMode="gray">
              <a:xfrm>
                <a:off x="3262" y="2066"/>
                <a:ext cx="322" cy="332"/>
              </a:xfrm>
              <a:custGeom>
                <a:avLst/>
                <a:gdLst/>
                <a:ahLst/>
                <a:cxnLst>
                  <a:cxn ang="0">
                    <a:pos x="351" y="1334"/>
                  </a:cxn>
                  <a:cxn ang="0">
                    <a:pos x="468" y="1614"/>
                  </a:cxn>
                  <a:cxn ang="0">
                    <a:pos x="594" y="1598"/>
                  </a:cxn>
                  <a:cxn ang="0">
                    <a:pos x="655" y="1431"/>
                  </a:cxn>
                  <a:cxn ang="0">
                    <a:pos x="659" y="1302"/>
                  </a:cxn>
                  <a:cxn ang="0">
                    <a:pos x="733" y="1205"/>
                  </a:cxn>
                  <a:cxn ang="0">
                    <a:pos x="880" y="1087"/>
                  </a:cxn>
                  <a:cxn ang="0">
                    <a:pos x="1036" y="913"/>
                  </a:cxn>
                  <a:cxn ang="0">
                    <a:pos x="1107" y="902"/>
                  </a:cxn>
                  <a:cxn ang="0">
                    <a:pos x="1134" y="854"/>
                  </a:cxn>
                  <a:cxn ang="0">
                    <a:pos x="1120" y="738"/>
                  </a:cxn>
                  <a:cxn ang="0">
                    <a:pos x="1122" y="669"/>
                  </a:cxn>
                  <a:cxn ang="0">
                    <a:pos x="1143" y="613"/>
                  </a:cxn>
                  <a:cxn ang="0">
                    <a:pos x="1264" y="679"/>
                  </a:cxn>
                  <a:cxn ang="0">
                    <a:pos x="1268" y="798"/>
                  </a:cxn>
                  <a:cxn ang="0">
                    <a:pos x="1346" y="881"/>
                  </a:cxn>
                  <a:cxn ang="0">
                    <a:pos x="1387" y="799"/>
                  </a:cxn>
                  <a:cxn ang="0">
                    <a:pos x="1487" y="652"/>
                  </a:cxn>
                  <a:cxn ang="0">
                    <a:pos x="1602" y="525"/>
                  </a:cxn>
                  <a:cxn ang="0">
                    <a:pos x="1532" y="422"/>
                  </a:cxn>
                  <a:cxn ang="0">
                    <a:pos x="1379" y="492"/>
                  </a:cxn>
                  <a:cxn ang="0">
                    <a:pos x="1319" y="570"/>
                  </a:cxn>
                  <a:cxn ang="0">
                    <a:pos x="1160" y="592"/>
                  </a:cxn>
                  <a:cxn ang="0">
                    <a:pos x="1133" y="551"/>
                  </a:cxn>
                  <a:cxn ang="0">
                    <a:pos x="1090" y="541"/>
                  </a:cxn>
                  <a:cxn ang="0">
                    <a:pos x="1046" y="615"/>
                  </a:cxn>
                  <a:cxn ang="0">
                    <a:pos x="873" y="555"/>
                  </a:cxn>
                  <a:cxn ang="0">
                    <a:pos x="772" y="530"/>
                  </a:cxn>
                  <a:cxn ang="0">
                    <a:pos x="676" y="480"/>
                  </a:cxn>
                  <a:cxn ang="0">
                    <a:pos x="675" y="409"/>
                  </a:cxn>
                  <a:cxn ang="0">
                    <a:pos x="690" y="367"/>
                  </a:cxn>
                  <a:cxn ang="0">
                    <a:pos x="631" y="332"/>
                  </a:cxn>
                  <a:cxn ang="0">
                    <a:pos x="589" y="304"/>
                  </a:cxn>
                  <a:cxn ang="0">
                    <a:pos x="581" y="224"/>
                  </a:cxn>
                  <a:cxn ang="0">
                    <a:pos x="617" y="223"/>
                  </a:cxn>
                  <a:cxn ang="0">
                    <a:pos x="597" y="174"/>
                  </a:cxn>
                  <a:cxn ang="0">
                    <a:pos x="628" y="126"/>
                  </a:cxn>
                  <a:cxn ang="0">
                    <a:pos x="666" y="52"/>
                  </a:cxn>
                  <a:cxn ang="0">
                    <a:pos x="642" y="22"/>
                  </a:cxn>
                  <a:cxn ang="0">
                    <a:pos x="599" y="6"/>
                  </a:cxn>
                  <a:cxn ang="0">
                    <a:pos x="489" y="68"/>
                  </a:cxn>
                  <a:cxn ang="0">
                    <a:pos x="427" y="92"/>
                  </a:cxn>
                  <a:cxn ang="0">
                    <a:pos x="333" y="79"/>
                  </a:cxn>
                  <a:cxn ang="0">
                    <a:pos x="320" y="126"/>
                  </a:cxn>
                  <a:cxn ang="0">
                    <a:pos x="321" y="181"/>
                  </a:cxn>
                  <a:cxn ang="0">
                    <a:pos x="384" y="232"/>
                  </a:cxn>
                  <a:cxn ang="0">
                    <a:pos x="362" y="267"/>
                  </a:cxn>
                  <a:cxn ang="0">
                    <a:pos x="371" y="324"/>
                  </a:cxn>
                  <a:cxn ang="0">
                    <a:pos x="314" y="388"/>
                  </a:cxn>
                  <a:cxn ang="0">
                    <a:pos x="212" y="504"/>
                  </a:cxn>
                  <a:cxn ang="0">
                    <a:pos x="132" y="513"/>
                  </a:cxn>
                  <a:cxn ang="0">
                    <a:pos x="111" y="603"/>
                  </a:cxn>
                  <a:cxn ang="0">
                    <a:pos x="142" y="669"/>
                  </a:cxn>
                  <a:cxn ang="0">
                    <a:pos x="166" y="733"/>
                  </a:cxn>
                  <a:cxn ang="0">
                    <a:pos x="127" y="734"/>
                  </a:cxn>
                  <a:cxn ang="0">
                    <a:pos x="47" y="740"/>
                  </a:cxn>
                  <a:cxn ang="0">
                    <a:pos x="0" y="773"/>
                  </a:cxn>
                  <a:cxn ang="0">
                    <a:pos x="124" y="814"/>
                  </a:cxn>
                  <a:cxn ang="0">
                    <a:pos x="131" y="945"/>
                  </a:cxn>
                  <a:cxn ang="0">
                    <a:pos x="229" y="857"/>
                  </a:cxn>
                  <a:cxn ang="0">
                    <a:pos x="246" y="924"/>
                  </a:cxn>
                  <a:cxn ang="0">
                    <a:pos x="261" y="1041"/>
                  </a:cxn>
                  <a:cxn ang="0">
                    <a:pos x="276" y="1157"/>
                  </a:cxn>
                </a:cxnLst>
                <a:rect l="0" t="0" r="r" b="b"/>
                <a:pathLst>
                  <a:path w="1608" h="1661">
                    <a:moveTo>
                      <a:pt x="304" y="1236"/>
                    </a:moveTo>
                    <a:lnTo>
                      <a:pt x="306" y="1238"/>
                    </a:lnTo>
                    <a:lnTo>
                      <a:pt x="310" y="1250"/>
                    </a:lnTo>
                    <a:lnTo>
                      <a:pt x="312" y="1252"/>
                    </a:lnTo>
                    <a:lnTo>
                      <a:pt x="315" y="1249"/>
                    </a:lnTo>
                    <a:lnTo>
                      <a:pt x="320" y="1250"/>
                    </a:lnTo>
                    <a:lnTo>
                      <a:pt x="316" y="1255"/>
                    </a:lnTo>
                    <a:lnTo>
                      <a:pt x="316" y="1260"/>
                    </a:lnTo>
                    <a:lnTo>
                      <a:pt x="322" y="1281"/>
                    </a:lnTo>
                    <a:lnTo>
                      <a:pt x="331" y="1293"/>
                    </a:lnTo>
                    <a:lnTo>
                      <a:pt x="338" y="1297"/>
                    </a:lnTo>
                    <a:lnTo>
                      <a:pt x="348" y="1319"/>
                    </a:lnTo>
                    <a:lnTo>
                      <a:pt x="351" y="1334"/>
                    </a:lnTo>
                    <a:lnTo>
                      <a:pt x="358" y="1343"/>
                    </a:lnTo>
                    <a:lnTo>
                      <a:pt x="364" y="1358"/>
                    </a:lnTo>
                    <a:lnTo>
                      <a:pt x="370" y="1388"/>
                    </a:lnTo>
                    <a:lnTo>
                      <a:pt x="382" y="1426"/>
                    </a:lnTo>
                    <a:lnTo>
                      <a:pt x="382" y="1429"/>
                    </a:lnTo>
                    <a:lnTo>
                      <a:pt x="391" y="1444"/>
                    </a:lnTo>
                    <a:lnTo>
                      <a:pt x="401" y="1453"/>
                    </a:lnTo>
                    <a:lnTo>
                      <a:pt x="418" y="1475"/>
                    </a:lnTo>
                    <a:lnTo>
                      <a:pt x="425" y="1494"/>
                    </a:lnTo>
                    <a:lnTo>
                      <a:pt x="432" y="1519"/>
                    </a:lnTo>
                    <a:lnTo>
                      <a:pt x="454" y="1572"/>
                    </a:lnTo>
                    <a:lnTo>
                      <a:pt x="461" y="1600"/>
                    </a:lnTo>
                    <a:lnTo>
                      <a:pt x="468" y="1614"/>
                    </a:lnTo>
                    <a:lnTo>
                      <a:pt x="481" y="1633"/>
                    </a:lnTo>
                    <a:lnTo>
                      <a:pt x="495" y="1650"/>
                    </a:lnTo>
                    <a:lnTo>
                      <a:pt x="508" y="1661"/>
                    </a:lnTo>
                    <a:lnTo>
                      <a:pt x="525" y="1661"/>
                    </a:lnTo>
                    <a:lnTo>
                      <a:pt x="534" y="1653"/>
                    </a:lnTo>
                    <a:lnTo>
                      <a:pt x="534" y="1650"/>
                    </a:lnTo>
                    <a:lnTo>
                      <a:pt x="540" y="1647"/>
                    </a:lnTo>
                    <a:lnTo>
                      <a:pt x="546" y="1642"/>
                    </a:lnTo>
                    <a:lnTo>
                      <a:pt x="548" y="1636"/>
                    </a:lnTo>
                    <a:lnTo>
                      <a:pt x="547" y="1632"/>
                    </a:lnTo>
                    <a:lnTo>
                      <a:pt x="554" y="1611"/>
                    </a:lnTo>
                    <a:lnTo>
                      <a:pt x="577" y="1600"/>
                    </a:lnTo>
                    <a:lnTo>
                      <a:pt x="594" y="1598"/>
                    </a:lnTo>
                    <a:lnTo>
                      <a:pt x="593" y="1588"/>
                    </a:lnTo>
                    <a:lnTo>
                      <a:pt x="594" y="1578"/>
                    </a:lnTo>
                    <a:lnTo>
                      <a:pt x="607" y="1560"/>
                    </a:lnTo>
                    <a:lnTo>
                      <a:pt x="610" y="1552"/>
                    </a:lnTo>
                    <a:lnTo>
                      <a:pt x="615" y="1541"/>
                    </a:lnTo>
                    <a:lnTo>
                      <a:pt x="628" y="1539"/>
                    </a:lnTo>
                    <a:lnTo>
                      <a:pt x="632" y="1542"/>
                    </a:lnTo>
                    <a:lnTo>
                      <a:pt x="643" y="1542"/>
                    </a:lnTo>
                    <a:lnTo>
                      <a:pt x="643" y="1525"/>
                    </a:lnTo>
                    <a:lnTo>
                      <a:pt x="640" y="1496"/>
                    </a:lnTo>
                    <a:lnTo>
                      <a:pt x="640" y="1467"/>
                    </a:lnTo>
                    <a:lnTo>
                      <a:pt x="643" y="1456"/>
                    </a:lnTo>
                    <a:lnTo>
                      <a:pt x="655" y="1431"/>
                    </a:lnTo>
                    <a:lnTo>
                      <a:pt x="660" y="1417"/>
                    </a:lnTo>
                    <a:lnTo>
                      <a:pt x="667" y="1390"/>
                    </a:lnTo>
                    <a:lnTo>
                      <a:pt x="669" y="1381"/>
                    </a:lnTo>
                    <a:lnTo>
                      <a:pt x="667" y="1368"/>
                    </a:lnTo>
                    <a:lnTo>
                      <a:pt x="661" y="1363"/>
                    </a:lnTo>
                    <a:lnTo>
                      <a:pt x="660" y="1358"/>
                    </a:lnTo>
                    <a:lnTo>
                      <a:pt x="658" y="1356"/>
                    </a:lnTo>
                    <a:lnTo>
                      <a:pt x="660" y="1352"/>
                    </a:lnTo>
                    <a:lnTo>
                      <a:pt x="664" y="1356"/>
                    </a:lnTo>
                    <a:lnTo>
                      <a:pt x="656" y="1324"/>
                    </a:lnTo>
                    <a:lnTo>
                      <a:pt x="659" y="1314"/>
                    </a:lnTo>
                    <a:lnTo>
                      <a:pt x="659" y="1304"/>
                    </a:lnTo>
                    <a:lnTo>
                      <a:pt x="659" y="1302"/>
                    </a:lnTo>
                    <a:lnTo>
                      <a:pt x="655" y="1297"/>
                    </a:lnTo>
                    <a:lnTo>
                      <a:pt x="654" y="1284"/>
                    </a:lnTo>
                    <a:lnTo>
                      <a:pt x="654" y="1262"/>
                    </a:lnTo>
                    <a:lnTo>
                      <a:pt x="661" y="1251"/>
                    </a:lnTo>
                    <a:lnTo>
                      <a:pt x="670" y="1238"/>
                    </a:lnTo>
                    <a:lnTo>
                      <a:pt x="680" y="1233"/>
                    </a:lnTo>
                    <a:lnTo>
                      <a:pt x="688" y="1232"/>
                    </a:lnTo>
                    <a:lnTo>
                      <a:pt x="698" y="1238"/>
                    </a:lnTo>
                    <a:lnTo>
                      <a:pt x="706" y="1234"/>
                    </a:lnTo>
                    <a:lnTo>
                      <a:pt x="713" y="1222"/>
                    </a:lnTo>
                    <a:lnTo>
                      <a:pt x="718" y="1208"/>
                    </a:lnTo>
                    <a:lnTo>
                      <a:pt x="720" y="1208"/>
                    </a:lnTo>
                    <a:lnTo>
                      <a:pt x="733" y="1205"/>
                    </a:lnTo>
                    <a:lnTo>
                      <a:pt x="746" y="1202"/>
                    </a:lnTo>
                    <a:lnTo>
                      <a:pt x="769" y="1193"/>
                    </a:lnTo>
                    <a:lnTo>
                      <a:pt x="776" y="1185"/>
                    </a:lnTo>
                    <a:lnTo>
                      <a:pt x="776" y="1174"/>
                    </a:lnTo>
                    <a:lnTo>
                      <a:pt x="782" y="1164"/>
                    </a:lnTo>
                    <a:lnTo>
                      <a:pt x="795" y="1155"/>
                    </a:lnTo>
                    <a:lnTo>
                      <a:pt x="820" y="1136"/>
                    </a:lnTo>
                    <a:lnTo>
                      <a:pt x="837" y="1123"/>
                    </a:lnTo>
                    <a:lnTo>
                      <a:pt x="849" y="1109"/>
                    </a:lnTo>
                    <a:lnTo>
                      <a:pt x="864" y="1098"/>
                    </a:lnTo>
                    <a:lnTo>
                      <a:pt x="875" y="1092"/>
                    </a:lnTo>
                    <a:lnTo>
                      <a:pt x="878" y="1088"/>
                    </a:lnTo>
                    <a:lnTo>
                      <a:pt x="880" y="1087"/>
                    </a:lnTo>
                    <a:lnTo>
                      <a:pt x="890" y="1077"/>
                    </a:lnTo>
                    <a:lnTo>
                      <a:pt x="925" y="1034"/>
                    </a:lnTo>
                    <a:lnTo>
                      <a:pt x="938" y="1024"/>
                    </a:lnTo>
                    <a:lnTo>
                      <a:pt x="968" y="1007"/>
                    </a:lnTo>
                    <a:lnTo>
                      <a:pt x="986" y="1001"/>
                    </a:lnTo>
                    <a:lnTo>
                      <a:pt x="995" y="996"/>
                    </a:lnTo>
                    <a:lnTo>
                      <a:pt x="998" y="996"/>
                    </a:lnTo>
                    <a:lnTo>
                      <a:pt x="1015" y="981"/>
                    </a:lnTo>
                    <a:lnTo>
                      <a:pt x="1024" y="970"/>
                    </a:lnTo>
                    <a:lnTo>
                      <a:pt x="1026" y="964"/>
                    </a:lnTo>
                    <a:lnTo>
                      <a:pt x="1036" y="953"/>
                    </a:lnTo>
                    <a:lnTo>
                      <a:pt x="1030" y="929"/>
                    </a:lnTo>
                    <a:lnTo>
                      <a:pt x="1036" y="913"/>
                    </a:lnTo>
                    <a:lnTo>
                      <a:pt x="1068" y="897"/>
                    </a:lnTo>
                    <a:lnTo>
                      <a:pt x="1078" y="894"/>
                    </a:lnTo>
                    <a:lnTo>
                      <a:pt x="1084" y="889"/>
                    </a:lnTo>
                    <a:lnTo>
                      <a:pt x="1089" y="880"/>
                    </a:lnTo>
                    <a:lnTo>
                      <a:pt x="1091" y="874"/>
                    </a:lnTo>
                    <a:lnTo>
                      <a:pt x="1096" y="868"/>
                    </a:lnTo>
                    <a:lnTo>
                      <a:pt x="1100" y="868"/>
                    </a:lnTo>
                    <a:lnTo>
                      <a:pt x="1097" y="880"/>
                    </a:lnTo>
                    <a:lnTo>
                      <a:pt x="1097" y="893"/>
                    </a:lnTo>
                    <a:lnTo>
                      <a:pt x="1099" y="894"/>
                    </a:lnTo>
                    <a:lnTo>
                      <a:pt x="1101" y="894"/>
                    </a:lnTo>
                    <a:lnTo>
                      <a:pt x="1104" y="895"/>
                    </a:lnTo>
                    <a:lnTo>
                      <a:pt x="1107" y="902"/>
                    </a:lnTo>
                    <a:lnTo>
                      <a:pt x="1116" y="901"/>
                    </a:lnTo>
                    <a:lnTo>
                      <a:pt x="1121" y="897"/>
                    </a:lnTo>
                    <a:lnTo>
                      <a:pt x="1124" y="899"/>
                    </a:lnTo>
                    <a:lnTo>
                      <a:pt x="1126" y="890"/>
                    </a:lnTo>
                    <a:lnTo>
                      <a:pt x="1128" y="886"/>
                    </a:lnTo>
                    <a:lnTo>
                      <a:pt x="1131" y="896"/>
                    </a:lnTo>
                    <a:lnTo>
                      <a:pt x="1134" y="900"/>
                    </a:lnTo>
                    <a:lnTo>
                      <a:pt x="1142" y="897"/>
                    </a:lnTo>
                    <a:lnTo>
                      <a:pt x="1135" y="884"/>
                    </a:lnTo>
                    <a:lnTo>
                      <a:pt x="1137" y="878"/>
                    </a:lnTo>
                    <a:lnTo>
                      <a:pt x="1135" y="874"/>
                    </a:lnTo>
                    <a:lnTo>
                      <a:pt x="1133" y="863"/>
                    </a:lnTo>
                    <a:lnTo>
                      <a:pt x="1134" y="854"/>
                    </a:lnTo>
                    <a:lnTo>
                      <a:pt x="1132" y="846"/>
                    </a:lnTo>
                    <a:lnTo>
                      <a:pt x="1127" y="841"/>
                    </a:lnTo>
                    <a:lnTo>
                      <a:pt x="1124" y="832"/>
                    </a:lnTo>
                    <a:lnTo>
                      <a:pt x="1124" y="823"/>
                    </a:lnTo>
                    <a:lnTo>
                      <a:pt x="1126" y="820"/>
                    </a:lnTo>
                    <a:lnTo>
                      <a:pt x="1127" y="804"/>
                    </a:lnTo>
                    <a:lnTo>
                      <a:pt x="1126" y="800"/>
                    </a:lnTo>
                    <a:lnTo>
                      <a:pt x="1122" y="799"/>
                    </a:lnTo>
                    <a:lnTo>
                      <a:pt x="1122" y="784"/>
                    </a:lnTo>
                    <a:lnTo>
                      <a:pt x="1116" y="778"/>
                    </a:lnTo>
                    <a:lnTo>
                      <a:pt x="1116" y="770"/>
                    </a:lnTo>
                    <a:lnTo>
                      <a:pt x="1118" y="759"/>
                    </a:lnTo>
                    <a:lnTo>
                      <a:pt x="1120" y="738"/>
                    </a:lnTo>
                    <a:lnTo>
                      <a:pt x="1111" y="728"/>
                    </a:lnTo>
                    <a:lnTo>
                      <a:pt x="1105" y="723"/>
                    </a:lnTo>
                    <a:lnTo>
                      <a:pt x="1094" y="718"/>
                    </a:lnTo>
                    <a:lnTo>
                      <a:pt x="1085" y="714"/>
                    </a:lnTo>
                    <a:lnTo>
                      <a:pt x="1084" y="708"/>
                    </a:lnTo>
                    <a:lnTo>
                      <a:pt x="1085" y="703"/>
                    </a:lnTo>
                    <a:lnTo>
                      <a:pt x="1090" y="695"/>
                    </a:lnTo>
                    <a:lnTo>
                      <a:pt x="1097" y="694"/>
                    </a:lnTo>
                    <a:lnTo>
                      <a:pt x="1104" y="690"/>
                    </a:lnTo>
                    <a:lnTo>
                      <a:pt x="1106" y="683"/>
                    </a:lnTo>
                    <a:lnTo>
                      <a:pt x="1126" y="681"/>
                    </a:lnTo>
                    <a:lnTo>
                      <a:pt x="1126" y="673"/>
                    </a:lnTo>
                    <a:lnTo>
                      <a:pt x="1122" y="669"/>
                    </a:lnTo>
                    <a:lnTo>
                      <a:pt x="1123" y="665"/>
                    </a:lnTo>
                    <a:lnTo>
                      <a:pt x="1108" y="667"/>
                    </a:lnTo>
                    <a:lnTo>
                      <a:pt x="1101" y="662"/>
                    </a:lnTo>
                    <a:lnTo>
                      <a:pt x="1099" y="648"/>
                    </a:lnTo>
                    <a:lnTo>
                      <a:pt x="1095" y="644"/>
                    </a:lnTo>
                    <a:lnTo>
                      <a:pt x="1110" y="620"/>
                    </a:lnTo>
                    <a:lnTo>
                      <a:pt x="1112" y="608"/>
                    </a:lnTo>
                    <a:lnTo>
                      <a:pt x="1117" y="605"/>
                    </a:lnTo>
                    <a:lnTo>
                      <a:pt x="1126" y="622"/>
                    </a:lnTo>
                    <a:lnTo>
                      <a:pt x="1132" y="630"/>
                    </a:lnTo>
                    <a:lnTo>
                      <a:pt x="1133" y="622"/>
                    </a:lnTo>
                    <a:lnTo>
                      <a:pt x="1137" y="610"/>
                    </a:lnTo>
                    <a:lnTo>
                      <a:pt x="1143" y="613"/>
                    </a:lnTo>
                    <a:lnTo>
                      <a:pt x="1145" y="627"/>
                    </a:lnTo>
                    <a:lnTo>
                      <a:pt x="1153" y="636"/>
                    </a:lnTo>
                    <a:lnTo>
                      <a:pt x="1159" y="632"/>
                    </a:lnTo>
                    <a:lnTo>
                      <a:pt x="1166" y="638"/>
                    </a:lnTo>
                    <a:lnTo>
                      <a:pt x="1175" y="624"/>
                    </a:lnTo>
                    <a:lnTo>
                      <a:pt x="1177" y="628"/>
                    </a:lnTo>
                    <a:lnTo>
                      <a:pt x="1180" y="648"/>
                    </a:lnTo>
                    <a:lnTo>
                      <a:pt x="1185" y="667"/>
                    </a:lnTo>
                    <a:lnTo>
                      <a:pt x="1192" y="675"/>
                    </a:lnTo>
                    <a:lnTo>
                      <a:pt x="1203" y="680"/>
                    </a:lnTo>
                    <a:lnTo>
                      <a:pt x="1246" y="684"/>
                    </a:lnTo>
                    <a:lnTo>
                      <a:pt x="1250" y="681"/>
                    </a:lnTo>
                    <a:lnTo>
                      <a:pt x="1264" y="679"/>
                    </a:lnTo>
                    <a:lnTo>
                      <a:pt x="1288" y="681"/>
                    </a:lnTo>
                    <a:lnTo>
                      <a:pt x="1311" y="685"/>
                    </a:lnTo>
                    <a:lnTo>
                      <a:pt x="1326" y="691"/>
                    </a:lnTo>
                    <a:lnTo>
                      <a:pt x="1325" y="696"/>
                    </a:lnTo>
                    <a:lnTo>
                      <a:pt x="1315" y="701"/>
                    </a:lnTo>
                    <a:lnTo>
                      <a:pt x="1310" y="714"/>
                    </a:lnTo>
                    <a:lnTo>
                      <a:pt x="1298" y="729"/>
                    </a:lnTo>
                    <a:lnTo>
                      <a:pt x="1288" y="739"/>
                    </a:lnTo>
                    <a:lnTo>
                      <a:pt x="1276" y="744"/>
                    </a:lnTo>
                    <a:lnTo>
                      <a:pt x="1262" y="754"/>
                    </a:lnTo>
                    <a:lnTo>
                      <a:pt x="1260" y="762"/>
                    </a:lnTo>
                    <a:lnTo>
                      <a:pt x="1261" y="778"/>
                    </a:lnTo>
                    <a:lnTo>
                      <a:pt x="1268" y="798"/>
                    </a:lnTo>
                    <a:lnTo>
                      <a:pt x="1278" y="799"/>
                    </a:lnTo>
                    <a:lnTo>
                      <a:pt x="1284" y="809"/>
                    </a:lnTo>
                    <a:lnTo>
                      <a:pt x="1292" y="814"/>
                    </a:lnTo>
                    <a:lnTo>
                      <a:pt x="1295" y="807"/>
                    </a:lnTo>
                    <a:lnTo>
                      <a:pt x="1301" y="786"/>
                    </a:lnTo>
                    <a:lnTo>
                      <a:pt x="1312" y="771"/>
                    </a:lnTo>
                    <a:lnTo>
                      <a:pt x="1319" y="772"/>
                    </a:lnTo>
                    <a:lnTo>
                      <a:pt x="1326" y="786"/>
                    </a:lnTo>
                    <a:lnTo>
                      <a:pt x="1331" y="803"/>
                    </a:lnTo>
                    <a:lnTo>
                      <a:pt x="1333" y="811"/>
                    </a:lnTo>
                    <a:lnTo>
                      <a:pt x="1336" y="819"/>
                    </a:lnTo>
                    <a:lnTo>
                      <a:pt x="1342" y="847"/>
                    </a:lnTo>
                    <a:lnTo>
                      <a:pt x="1346" y="881"/>
                    </a:lnTo>
                    <a:lnTo>
                      <a:pt x="1349" y="878"/>
                    </a:lnTo>
                    <a:lnTo>
                      <a:pt x="1354" y="873"/>
                    </a:lnTo>
                    <a:lnTo>
                      <a:pt x="1363" y="875"/>
                    </a:lnTo>
                    <a:lnTo>
                      <a:pt x="1368" y="874"/>
                    </a:lnTo>
                    <a:lnTo>
                      <a:pt x="1373" y="868"/>
                    </a:lnTo>
                    <a:lnTo>
                      <a:pt x="1374" y="862"/>
                    </a:lnTo>
                    <a:lnTo>
                      <a:pt x="1371" y="862"/>
                    </a:lnTo>
                    <a:lnTo>
                      <a:pt x="1368" y="852"/>
                    </a:lnTo>
                    <a:lnTo>
                      <a:pt x="1368" y="836"/>
                    </a:lnTo>
                    <a:lnTo>
                      <a:pt x="1369" y="823"/>
                    </a:lnTo>
                    <a:lnTo>
                      <a:pt x="1380" y="824"/>
                    </a:lnTo>
                    <a:lnTo>
                      <a:pt x="1384" y="819"/>
                    </a:lnTo>
                    <a:lnTo>
                      <a:pt x="1387" y="799"/>
                    </a:lnTo>
                    <a:lnTo>
                      <a:pt x="1386" y="773"/>
                    </a:lnTo>
                    <a:lnTo>
                      <a:pt x="1393" y="766"/>
                    </a:lnTo>
                    <a:lnTo>
                      <a:pt x="1407" y="762"/>
                    </a:lnTo>
                    <a:lnTo>
                      <a:pt x="1420" y="765"/>
                    </a:lnTo>
                    <a:lnTo>
                      <a:pt x="1428" y="765"/>
                    </a:lnTo>
                    <a:lnTo>
                      <a:pt x="1433" y="760"/>
                    </a:lnTo>
                    <a:lnTo>
                      <a:pt x="1439" y="740"/>
                    </a:lnTo>
                    <a:lnTo>
                      <a:pt x="1457" y="705"/>
                    </a:lnTo>
                    <a:lnTo>
                      <a:pt x="1461" y="694"/>
                    </a:lnTo>
                    <a:lnTo>
                      <a:pt x="1459" y="684"/>
                    </a:lnTo>
                    <a:lnTo>
                      <a:pt x="1465" y="675"/>
                    </a:lnTo>
                    <a:lnTo>
                      <a:pt x="1481" y="664"/>
                    </a:lnTo>
                    <a:lnTo>
                      <a:pt x="1487" y="652"/>
                    </a:lnTo>
                    <a:lnTo>
                      <a:pt x="1486" y="624"/>
                    </a:lnTo>
                    <a:lnTo>
                      <a:pt x="1493" y="608"/>
                    </a:lnTo>
                    <a:lnTo>
                      <a:pt x="1506" y="597"/>
                    </a:lnTo>
                    <a:lnTo>
                      <a:pt x="1521" y="589"/>
                    </a:lnTo>
                    <a:lnTo>
                      <a:pt x="1531" y="581"/>
                    </a:lnTo>
                    <a:lnTo>
                      <a:pt x="1538" y="567"/>
                    </a:lnTo>
                    <a:lnTo>
                      <a:pt x="1558" y="563"/>
                    </a:lnTo>
                    <a:lnTo>
                      <a:pt x="1569" y="560"/>
                    </a:lnTo>
                    <a:lnTo>
                      <a:pt x="1585" y="565"/>
                    </a:lnTo>
                    <a:lnTo>
                      <a:pt x="1590" y="560"/>
                    </a:lnTo>
                    <a:lnTo>
                      <a:pt x="1586" y="544"/>
                    </a:lnTo>
                    <a:lnTo>
                      <a:pt x="1591" y="530"/>
                    </a:lnTo>
                    <a:lnTo>
                      <a:pt x="1602" y="525"/>
                    </a:lnTo>
                    <a:lnTo>
                      <a:pt x="1608" y="518"/>
                    </a:lnTo>
                    <a:lnTo>
                      <a:pt x="1608" y="506"/>
                    </a:lnTo>
                    <a:lnTo>
                      <a:pt x="1604" y="493"/>
                    </a:lnTo>
                    <a:lnTo>
                      <a:pt x="1594" y="490"/>
                    </a:lnTo>
                    <a:lnTo>
                      <a:pt x="1580" y="490"/>
                    </a:lnTo>
                    <a:lnTo>
                      <a:pt x="1570" y="486"/>
                    </a:lnTo>
                    <a:lnTo>
                      <a:pt x="1552" y="486"/>
                    </a:lnTo>
                    <a:lnTo>
                      <a:pt x="1554" y="470"/>
                    </a:lnTo>
                    <a:lnTo>
                      <a:pt x="1556" y="455"/>
                    </a:lnTo>
                    <a:lnTo>
                      <a:pt x="1543" y="453"/>
                    </a:lnTo>
                    <a:lnTo>
                      <a:pt x="1541" y="442"/>
                    </a:lnTo>
                    <a:lnTo>
                      <a:pt x="1543" y="434"/>
                    </a:lnTo>
                    <a:lnTo>
                      <a:pt x="1532" y="422"/>
                    </a:lnTo>
                    <a:lnTo>
                      <a:pt x="1520" y="426"/>
                    </a:lnTo>
                    <a:lnTo>
                      <a:pt x="1505" y="436"/>
                    </a:lnTo>
                    <a:lnTo>
                      <a:pt x="1492" y="439"/>
                    </a:lnTo>
                    <a:lnTo>
                      <a:pt x="1472" y="441"/>
                    </a:lnTo>
                    <a:lnTo>
                      <a:pt x="1463" y="439"/>
                    </a:lnTo>
                    <a:lnTo>
                      <a:pt x="1457" y="434"/>
                    </a:lnTo>
                    <a:lnTo>
                      <a:pt x="1452" y="433"/>
                    </a:lnTo>
                    <a:lnTo>
                      <a:pt x="1443" y="438"/>
                    </a:lnTo>
                    <a:lnTo>
                      <a:pt x="1434" y="444"/>
                    </a:lnTo>
                    <a:lnTo>
                      <a:pt x="1428" y="455"/>
                    </a:lnTo>
                    <a:lnTo>
                      <a:pt x="1408" y="472"/>
                    </a:lnTo>
                    <a:lnTo>
                      <a:pt x="1393" y="476"/>
                    </a:lnTo>
                    <a:lnTo>
                      <a:pt x="1379" y="492"/>
                    </a:lnTo>
                    <a:lnTo>
                      <a:pt x="1369" y="499"/>
                    </a:lnTo>
                    <a:lnTo>
                      <a:pt x="1354" y="507"/>
                    </a:lnTo>
                    <a:lnTo>
                      <a:pt x="1342" y="515"/>
                    </a:lnTo>
                    <a:lnTo>
                      <a:pt x="1314" y="522"/>
                    </a:lnTo>
                    <a:lnTo>
                      <a:pt x="1296" y="527"/>
                    </a:lnTo>
                    <a:lnTo>
                      <a:pt x="1298" y="529"/>
                    </a:lnTo>
                    <a:lnTo>
                      <a:pt x="1298" y="531"/>
                    </a:lnTo>
                    <a:lnTo>
                      <a:pt x="1295" y="538"/>
                    </a:lnTo>
                    <a:lnTo>
                      <a:pt x="1295" y="540"/>
                    </a:lnTo>
                    <a:lnTo>
                      <a:pt x="1296" y="542"/>
                    </a:lnTo>
                    <a:lnTo>
                      <a:pt x="1315" y="550"/>
                    </a:lnTo>
                    <a:lnTo>
                      <a:pt x="1321" y="556"/>
                    </a:lnTo>
                    <a:lnTo>
                      <a:pt x="1319" y="570"/>
                    </a:lnTo>
                    <a:lnTo>
                      <a:pt x="1320" y="574"/>
                    </a:lnTo>
                    <a:lnTo>
                      <a:pt x="1320" y="577"/>
                    </a:lnTo>
                    <a:lnTo>
                      <a:pt x="1312" y="581"/>
                    </a:lnTo>
                    <a:lnTo>
                      <a:pt x="1292" y="584"/>
                    </a:lnTo>
                    <a:lnTo>
                      <a:pt x="1278" y="585"/>
                    </a:lnTo>
                    <a:lnTo>
                      <a:pt x="1257" y="589"/>
                    </a:lnTo>
                    <a:lnTo>
                      <a:pt x="1249" y="590"/>
                    </a:lnTo>
                    <a:lnTo>
                      <a:pt x="1240" y="590"/>
                    </a:lnTo>
                    <a:lnTo>
                      <a:pt x="1230" y="587"/>
                    </a:lnTo>
                    <a:lnTo>
                      <a:pt x="1225" y="587"/>
                    </a:lnTo>
                    <a:lnTo>
                      <a:pt x="1202" y="595"/>
                    </a:lnTo>
                    <a:lnTo>
                      <a:pt x="1183" y="595"/>
                    </a:lnTo>
                    <a:lnTo>
                      <a:pt x="1160" y="592"/>
                    </a:lnTo>
                    <a:lnTo>
                      <a:pt x="1149" y="588"/>
                    </a:lnTo>
                    <a:lnTo>
                      <a:pt x="1145" y="585"/>
                    </a:lnTo>
                    <a:lnTo>
                      <a:pt x="1142" y="585"/>
                    </a:lnTo>
                    <a:lnTo>
                      <a:pt x="1140" y="584"/>
                    </a:lnTo>
                    <a:lnTo>
                      <a:pt x="1140" y="577"/>
                    </a:lnTo>
                    <a:lnTo>
                      <a:pt x="1139" y="574"/>
                    </a:lnTo>
                    <a:lnTo>
                      <a:pt x="1134" y="573"/>
                    </a:lnTo>
                    <a:lnTo>
                      <a:pt x="1134" y="568"/>
                    </a:lnTo>
                    <a:lnTo>
                      <a:pt x="1143" y="560"/>
                    </a:lnTo>
                    <a:lnTo>
                      <a:pt x="1144" y="556"/>
                    </a:lnTo>
                    <a:lnTo>
                      <a:pt x="1139" y="556"/>
                    </a:lnTo>
                    <a:lnTo>
                      <a:pt x="1135" y="554"/>
                    </a:lnTo>
                    <a:lnTo>
                      <a:pt x="1133" y="551"/>
                    </a:lnTo>
                    <a:lnTo>
                      <a:pt x="1133" y="544"/>
                    </a:lnTo>
                    <a:lnTo>
                      <a:pt x="1137" y="531"/>
                    </a:lnTo>
                    <a:lnTo>
                      <a:pt x="1137" y="525"/>
                    </a:lnTo>
                    <a:lnTo>
                      <a:pt x="1134" y="515"/>
                    </a:lnTo>
                    <a:lnTo>
                      <a:pt x="1133" y="512"/>
                    </a:lnTo>
                    <a:lnTo>
                      <a:pt x="1128" y="509"/>
                    </a:lnTo>
                    <a:lnTo>
                      <a:pt x="1123" y="511"/>
                    </a:lnTo>
                    <a:lnTo>
                      <a:pt x="1115" y="517"/>
                    </a:lnTo>
                    <a:lnTo>
                      <a:pt x="1107" y="517"/>
                    </a:lnTo>
                    <a:lnTo>
                      <a:pt x="1099" y="520"/>
                    </a:lnTo>
                    <a:lnTo>
                      <a:pt x="1097" y="522"/>
                    </a:lnTo>
                    <a:lnTo>
                      <a:pt x="1094" y="529"/>
                    </a:lnTo>
                    <a:lnTo>
                      <a:pt x="1090" y="541"/>
                    </a:lnTo>
                    <a:lnTo>
                      <a:pt x="1091" y="556"/>
                    </a:lnTo>
                    <a:lnTo>
                      <a:pt x="1090" y="570"/>
                    </a:lnTo>
                    <a:lnTo>
                      <a:pt x="1086" y="574"/>
                    </a:lnTo>
                    <a:lnTo>
                      <a:pt x="1086" y="578"/>
                    </a:lnTo>
                    <a:lnTo>
                      <a:pt x="1094" y="582"/>
                    </a:lnTo>
                    <a:lnTo>
                      <a:pt x="1099" y="592"/>
                    </a:lnTo>
                    <a:lnTo>
                      <a:pt x="1099" y="599"/>
                    </a:lnTo>
                    <a:lnTo>
                      <a:pt x="1092" y="610"/>
                    </a:lnTo>
                    <a:lnTo>
                      <a:pt x="1092" y="613"/>
                    </a:lnTo>
                    <a:lnTo>
                      <a:pt x="1080" y="611"/>
                    </a:lnTo>
                    <a:lnTo>
                      <a:pt x="1069" y="614"/>
                    </a:lnTo>
                    <a:lnTo>
                      <a:pt x="1054" y="613"/>
                    </a:lnTo>
                    <a:lnTo>
                      <a:pt x="1046" y="615"/>
                    </a:lnTo>
                    <a:lnTo>
                      <a:pt x="1036" y="610"/>
                    </a:lnTo>
                    <a:lnTo>
                      <a:pt x="1026" y="609"/>
                    </a:lnTo>
                    <a:lnTo>
                      <a:pt x="1020" y="609"/>
                    </a:lnTo>
                    <a:lnTo>
                      <a:pt x="973" y="601"/>
                    </a:lnTo>
                    <a:lnTo>
                      <a:pt x="967" y="595"/>
                    </a:lnTo>
                    <a:lnTo>
                      <a:pt x="959" y="592"/>
                    </a:lnTo>
                    <a:lnTo>
                      <a:pt x="945" y="593"/>
                    </a:lnTo>
                    <a:lnTo>
                      <a:pt x="925" y="589"/>
                    </a:lnTo>
                    <a:lnTo>
                      <a:pt x="913" y="581"/>
                    </a:lnTo>
                    <a:lnTo>
                      <a:pt x="907" y="576"/>
                    </a:lnTo>
                    <a:lnTo>
                      <a:pt x="897" y="562"/>
                    </a:lnTo>
                    <a:lnTo>
                      <a:pt x="891" y="558"/>
                    </a:lnTo>
                    <a:lnTo>
                      <a:pt x="873" y="555"/>
                    </a:lnTo>
                    <a:lnTo>
                      <a:pt x="869" y="555"/>
                    </a:lnTo>
                    <a:lnTo>
                      <a:pt x="866" y="558"/>
                    </a:lnTo>
                    <a:lnTo>
                      <a:pt x="860" y="557"/>
                    </a:lnTo>
                    <a:lnTo>
                      <a:pt x="852" y="554"/>
                    </a:lnTo>
                    <a:lnTo>
                      <a:pt x="841" y="554"/>
                    </a:lnTo>
                    <a:lnTo>
                      <a:pt x="832" y="558"/>
                    </a:lnTo>
                    <a:lnTo>
                      <a:pt x="827" y="558"/>
                    </a:lnTo>
                    <a:lnTo>
                      <a:pt x="806" y="554"/>
                    </a:lnTo>
                    <a:lnTo>
                      <a:pt x="796" y="541"/>
                    </a:lnTo>
                    <a:lnTo>
                      <a:pt x="794" y="539"/>
                    </a:lnTo>
                    <a:lnTo>
                      <a:pt x="785" y="538"/>
                    </a:lnTo>
                    <a:lnTo>
                      <a:pt x="782" y="538"/>
                    </a:lnTo>
                    <a:lnTo>
                      <a:pt x="772" y="530"/>
                    </a:lnTo>
                    <a:lnTo>
                      <a:pt x="761" y="525"/>
                    </a:lnTo>
                    <a:lnTo>
                      <a:pt x="751" y="524"/>
                    </a:lnTo>
                    <a:lnTo>
                      <a:pt x="741" y="519"/>
                    </a:lnTo>
                    <a:lnTo>
                      <a:pt x="736" y="515"/>
                    </a:lnTo>
                    <a:lnTo>
                      <a:pt x="724" y="501"/>
                    </a:lnTo>
                    <a:lnTo>
                      <a:pt x="715" y="495"/>
                    </a:lnTo>
                    <a:lnTo>
                      <a:pt x="707" y="491"/>
                    </a:lnTo>
                    <a:lnTo>
                      <a:pt x="703" y="487"/>
                    </a:lnTo>
                    <a:lnTo>
                      <a:pt x="690" y="480"/>
                    </a:lnTo>
                    <a:lnTo>
                      <a:pt x="687" y="480"/>
                    </a:lnTo>
                    <a:lnTo>
                      <a:pt x="686" y="484"/>
                    </a:lnTo>
                    <a:lnTo>
                      <a:pt x="681" y="484"/>
                    </a:lnTo>
                    <a:lnTo>
                      <a:pt x="676" y="480"/>
                    </a:lnTo>
                    <a:lnTo>
                      <a:pt x="675" y="474"/>
                    </a:lnTo>
                    <a:lnTo>
                      <a:pt x="670" y="469"/>
                    </a:lnTo>
                    <a:lnTo>
                      <a:pt x="659" y="468"/>
                    </a:lnTo>
                    <a:lnTo>
                      <a:pt x="658" y="465"/>
                    </a:lnTo>
                    <a:lnTo>
                      <a:pt x="659" y="458"/>
                    </a:lnTo>
                    <a:lnTo>
                      <a:pt x="664" y="450"/>
                    </a:lnTo>
                    <a:lnTo>
                      <a:pt x="667" y="449"/>
                    </a:lnTo>
                    <a:lnTo>
                      <a:pt x="669" y="442"/>
                    </a:lnTo>
                    <a:lnTo>
                      <a:pt x="672" y="438"/>
                    </a:lnTo>
                    <a:lnTo>
                      <a:pt x="669" y="429"/>
                    </a:lnTo>
                    <a:lnTo>
                      <a:pt x="672" y="422"/>
                    </a:lnTo>
                    <a:lnTo>
                      <a:pt x="677" y="416"/>
                    </a:lnTo>
                    <a:lnTo>
                      <a:pt x="675" y="409"/>
                    </a:lnTo>
                    <a:lnTo>
                      <a:pt x="675" y="405"/>
                    </a:lnTo>
                    <a:lnTo>
                      <a:pt x="679" y="400"/>
                    </a:lnTo>
                    <a:lnTo>
                      <a:pt x="685" y="400"/>
                    </a:lnTo>
                    <a:lnTo>
                      <a:pt x="688" y="393"/>
                    </a:lnTo>
                    <a:lnTo>
                      <a:pt x="696" y="388"/>
                    </a:lnTo>
                    <a:lnTo>
                      <a:pt x="699" y="382"/>
                    </a:lnTo>
                    <a:lnTo>
                      <a:pt x="701" y="377"/>
                    </a:lnTo>
                    <a:lnTo>
                      <a:pt x="703" y="375"/>
                    </a:lnTo>
                    <a:lnTo>
                      <a:pt x="706" y="377"/>
                    </a:lnTo>
                    <a:lnTo>
                      <a:pt x="712" y="375"/>
                    </a:lnTo>
                    <a:lnTo>
                      <a:pt x="709" y="374"/>
                    </a:lnTo>
                    <a:lnTo>
                      <a:pt x="692" y="369"/>
                    </a:lnTo>
                    <a:lnTo>
                      <a:pt x="690" y="367"/>
                    </a:lnTo>
                    <a:lnTo>
                      <a:pt x="686" y="361"/>
                    </a:lnTo>
                    <a:lnTo>
                      <a:pt x="681" y="359"/>
                    </a:lnTo>
                    <a:lnTo>
                      <a:pt x="669" y="350"/>
                    </a:lnTo>
                    <a:lnTo>
                      <a:pt x="663" y="350"/>
                    </a:lnTo>
                    <a:lnTo>
                      <a:pt x="656" y="346"/>
                    </a:lnTo>
                    <a:lnTo>
                      <a:pt x="654" y="342"/>
                    </a:lnTo>
                    <a:lnTo>
                      <a:pt x="654" y="339"/>
                    </a:lnTo>
                    <a:lnTo>
                      <a:pt x="651" y="335"/>
                    </a:lnTo>
                    <a:lnTo>
                      <a:pt x="647" y="335"/>
                    </a:lnTo>
                    <a:lnTo>
                      <a:pt x="645" y="332"/>
                    </a:lnTo>
                    <a:lnTo>
                      <a:pt x="640" y="330"/>
                    </a:lnTo>
                    <a:lnTo>
                      <a:pt x="632" y="334"/>
                    </a:lnTo>
                    <a:lnTo>
                      <a:pt x="631" y="332"/>
                    </a:lnTo>
                    <a:lnTo>
                      <a:pt x="629" y="326"/>
                    </a:lnTo>
                    <a:lnTo>
                      <a:pt x="628" y="325"/>
                    </a:lnTo>
                    <a:lnTo>
                      <a:pt x="624" y="324"/>
                    </a:lnTo>
                    <a:lnTo>
                      <a:pt x="621" y="325"/>
                    </a:lnTo>
                    <a:lnTo>
                      <a:pt x="612" y="324"/>
                    </a:lnTo>
                    <a:lnTo>
                      <a:pt x="608" y="325"/>
                    </a:lnTo>
                    <a:lnTo>
                      <a:pt x="602" y="329"/>
                    </a:lnTo>
                    <a:lnTo>
                      <a:pt x="599" y="329"/>
                    </a:lnTo>
                    <a:lnTo>
                      <a:pt x="596" y="326"/>
                    </a:lnTo>
                    <a:lnTo>
                      <a:pt x="597" y="316"/>
                    </a:lnTo>
                    <a:lnTo>
                      <a:pt x="593" y="313"/>
                    </a:lnTo>
                    <a:lnTo>
                      <a:pt x="589" y="307"/>
                    </a:lnTo>
                    <a:lnTo>
                      <a:pt x="589" y="304"/>
                    </a:lnTo>
                    <a:lnTo>
                      <a:pt x="584" y="299"/>
                    </a:lnTo>
                    <a:lnTo>
                      <a:pt x="584" y="294"/>
                    </a:lnTo>
                    <a:lnTo>
                      <a:pt x="586" y="287"/>
                    </a:lnTo>
                    <a:lnTo>
                      <a:pt x="583" y="281"/>
                    </a:lnTo>
                    <a:lnTo>
                      <a:pt x="583" y="277"/>
                    </a:lnTo>
                    <a:lnTo>
                      <a:pt x="584" y="270"/>
                    </a:lnTo>
                    <a:lnTo>
                      <a:pt x="586" y="264"/>
                    </a:lnTo>
                    <a:lnTo>
                      <a:pt x="579" y="254"/>
                    </a:lnTo>
                    <a:lnTo>
                      <a:pt x="572" y="246"/>
                    </a:lnTo>
                    <a:lnTo>
                      <a:pt x="572" y="237"/>
                    </a:lnTo>
                    <a:lnTo>
                      <a:pt x="569" y="229"/>
                    </a:lnTo>
                    <a:lnTo>
                      <a:pt x="570" y="226"/>
                    </a:lnTo>
                    <a:lnTo>
                      <a:pt x="581" y="224"/>
                    </a:lnTo>
                    <a:lnTo>
                      <a:pt x="584" y="221"/>
                    </a:lnTo>
                    <a:lnTo>
                      <a:pt x="585" y="222"/>
                    </a:lnTo>
                    <a:lnTo>
                      <a:pt x="586" y="229"/>
                    </a:lnTo>
                    <a:lnTo>
                      <a:pt x="589" y="234"/>
                    </a:lnTo>
                    <a:lnTo>
                      <a:pt x="591" y="237"/>
                    </a:lnTo>
                    <a:lnTo>
                      <a:pt x="599" y="239"/>
                    </a:lnTo>
                    <a:lnTo>
                      <a:pt x="601" y="238"/>
                    </a:lnTo>
                    <a:lnTo>
                      <a:pt x="604" y="237"/>
                    </a:lnTo>
                    <a:lnTo>
                      <a:pt x="607" y="238"/>
                    </a:lnTo>
                    <a:lnTo>
                      <a:pt x="608" y="232"/>
                    </a:lnTo>
                    <a:lnTo>
                      <a:pt x="612" y="229"/>
                    </a:lnTo>
                    <a:lnTo>
                      <a:pt x="616" y="223"/>
                    </a:lnTo>
                    <a:lnTo>
                      <a:pt x="617" y="223"/>
                    </a:lnTo>
                    <a:lnTo>
                      <a:pt x="621" y="228"/>
                    </a:lnTo>
                    <a:lnTo>
                      <a:pt x="623" y="228"/>
                    </a:lnTo>
                    <a:lnTo>
                      <a:pt x="632" y="217"/>
                    </a:lnTo>
                    <a:lnTo>
                      <a:pt x="632" y="215"/>
                    </a:lnTo>
                    <a:lnTo>
                      <a:pt x="628" y="208"/>
                    </a:lnTo>
                    <a:lnTo>
                      <a:pt x="622" y="200"/>
                    </a:lnTo>
                    <a:lnTo>
                      <a:pt x="621" y="195"/>
                    </a:lnTo>
                    <a:lnTo>
                      <a:pt x="622" y="192"/>
                    </a:lnTo>
                    <a:lnTo>
                      <a:pt x="622" y="189"/>
                    </a:lnTo>
                    <a:lnTo>
                      <a:pt x="612" y="184"/>
                    </a:lnTo>
                    <a:lnTo>
                      <a:pt x="607" y="185"/>
                    </a:lnTo>
                    <a:lnTo>
                      <a:pt x="606" y="181"/>
                    </a:lnTo>
                    <a:lnTo>
                      <a:pt x="597" y="174"/>
                    </a:lnTo>
                    <a:lnTo>
                      <a:pt x="597" y="159"/>
                    </a:lnTo>
                    <a:lnTo>
                      <a:pt x="602" y="158"/>
                    </a:lnTo>
                    <a:lnTo>
                      <a:pt x="600" y="152"/>
                    </a:lnTo>
                    <a:lnTo>
                      <a:pt x="601" y="149"/>
                    </a:lnTo>
                    <a:lnTo>
                      <a:pt x="602" y="148"/>
                    </a:lnTo>
                    <a:lnTo>
                      <a:pt x="595" y="141"/>
                    </a:lnTo>
                    <a:lnTo>
                      <a:pt x="596" y="135"/>
                    </a:lnTo>
                    <a:lnTo>
                      <a:pt x="596" y="133"/>
                    </a:lnTo>
                    <a:lnTo>
                      <a:pt x="606" y="133"/>
                    </a:lnTo>
                    <a:lnTo>
                      <a:pt x="610" y="130"/>
                    </a:lnTo>
                    <a:lnTo>
                      <a:pt x="621" y="133"/>
                    </a:lnTo>
                    <a:lnTo>
                      <a:pt x="623" y="131"/>
                    </a:lnTo>
                    <a:lnTo>
                      <a:pt x="628" y="126"/>
                    </a:lnTo>
                    <a:lnTo>
                      <a:pt x="633" y="116"/>
                    </a:lnTo>
                    <a:lnTo>
                      <a:pt x="633" y="105"/>
                    </a:lnTo>
                    <a:lnTo>
                      <a:pt x="643" y="104"/>
                    </a:lnTo>
                    <a:lnTo>
                      <a:pt x="644" y="103"/>
                    </a:lnTo>
                    <a:lnTo>
                      <a:pt x="642" y="100"/>
                    </a:lnTo>
                    <a:lnTo>
                      <a:pt x="643" y="97"/>
                    </a:lnTo>
                    <a:lnTo>
                      <a:pt x="647" y="94"/>
                    </a:lnTo>
                    <a:lnTo>
                      <a:pt x="648" y="92"/>
                    </a:lnTo>
                    <a:lnTo>
                      <a:pt x="651" y="88"/>
                    </a:lnTo>
                    <a:lnTo>
                      <a:pt x="658" y="83"/>
                    </a:lnTo>
                    <a:lnTo>
                      <a:pt x="658" y="77"/>
                    </a:lnTo>
                    <a:lnTo>
                      <a:pt x="664" y="71"/>
                    </a:lnTo>
                    <a:lnTo>
                      <a:pt x="666" y="52"/>
                    </a:lnTo>
                    <a:lnTo>
                      <a:pt x="669" y="50"/>
                    </a:lnTo>
                    <a:lnTo>
                      <a:pt x="669" y="43"/>
                    </a:lnTo>
                    <a:lnTo>
                      <a:pt x="675" y="35"/>
                    </a:lnTo>
                    <a:lnTo>
                      <a:pt x="675" y="32"/>
                    </a:lnTo>
                    <a:lnTo>
                      <a:pt x="671" y="29"/>
                    </a:lnTo>
                    <a:lnTo>
                      <a:pt x="667" y="29"/>
                    </a:lnTo>
                    <a:lnTo>
                      <a:pt x="660" y="38"/>
                    </a:lnTo>
                    <a:lnTo>
                      <a:pt x="658" y="38"/>
                    </a:lnTo>
                    <a:lnTo>
                      <a:pt x="655" y="34"/>
                    </a:lnTo>
                    <a:lnTo>
                      <a:pt x="653" y="23"/>
                    </a:lnTo>
                    <a:lnTo>
                      <a:pt x="648" y="27"/>
                    </a:lnTo>
                    <a:lnTo>
                      <a:pt x="644" y="27"/>
                    </a:lnTo>
                    <a:lnTo>
                      <a:pt x="642" y="22"/>
                    </a:lnTo>
                    <a:lnTo>
                      <a:pt x="639" y="22"/>
                    </a:lnTo>
                    <a:lnTo>
                      <a:pt x="637" y="20"/>
                    </a:lnTo>
                    <a:lnTo>
                      <a:pt x="636" y="11"/>
                    </a:lnTo>
                    <a:lnTo>
                      <a:pt x="632" y="9"/>
                    </a:lnTo>
                    <a:lnTo>
                      <a:pt x="631" y="7"/>
                    </a:lnTo>
                    <a:lnTo>
                      <a:pt x="628" y="6"/>
                    </a:lnTo>
                    <a:lnTo>
                      <a:pt x="624" y="6"/>
                    </a:lnTo>
                    <a:lnTo>
                      <a:pt x="621" y="1"/>
                    </a:lnTo>
                    <a:lnTo>
                      <a:pt x="618" y="0"/>
                    </a:lnTo>
                    <a:lnTo>
                      <a:pt x="615" y="0"/>
                    </a:lnTo>
                    <a:lnTo>
                      <a:pt x="610" y="2"/>
                    </a:lnTo>
                    <a:lnTo>
                      <a:pt x="604" y="2"/>
                    </a:lnTo>
                    <a:lnTo>
                      <a:pt x="599" y="6"/>
                    </a:lnTo>
                    <a:lnTo>
                      <a:pt x="585" y="6"/>
                    </a:lnTo>
                    <a:lnTo>
                      <a:pt x="575" y="13"/>
                    </a:lnTo>
                    <a:lnTo>
                      <a:pt x="564" y="19"/>
                    </a:lnTo>
                    <a:lnTo>
                      <a:pt x="557" y="24"/>
                    </a:lnTo>
                    <a:lnTo>
                      <a:pt x="552" y="29"/>
                    </a:lnTo>
                    <a:lnTo>
                      <a:pt x="547" y="30"/>
                    </a:lnTo>
                    <a:lnTo>
                      <a:pt x="543" y="35"/>
                    </a:lnTo>
                    <a:lnTo>
                      <a:pt x="536" y="32"/>
                    </a:lnTo>
                    <a:lnTo>
                      <a:pt x="531" y="35"/>
                    </a:lnTo>
                    <a:lnTo>
                      <a:pt x="526" y="35"/>
                    </a:lnTo>
                    <a:lnTo>
                      <a:pt x="492" y="60"/>
                    </a:lnTo>
                    <a:lnTo>
                      <a:pt x="488" y="66"/>
                    </a:lnTo>
                    <a:lnTo>
                      <a:pt x="489" y="68"/>
                    </a:lnTo>
                    <a:lnTo>
                      <a:pt x="489" y="71"/>
                    </a:lnTo>
                    <a:lnTo>
                      <a:pt x="486" y="79"/>
                    </a:lnTo>
                    <a:lnTo>
                      <a:pt x="482" y="83"/>
                    </a:lnTo>
                    <a:lnTo>
                      <a:pt x="478" y="82"/>
                    </a:lnTo>
                    <a:lnTo>
                      <a:pt x="475" y="78"/>
                    </a:lnTo>
                    <a:lnTo>
                      <a:pt x="456" y="79"/>
                    </a:lnTo>
                    <a:lnTo>
                      <a:pt x="454" y="81"/>
                    </a:lnTo>
                    <a:lnTo>
                      <a:pt x="449" y="87"/>
                    </a:lnTo>
                    <a:lnTo>
                      <a:pt x="446" y="88"/>
                    </a:lnTo>
                    <a:lnTo>
                      <a:pt x="440" y="88"/>
                    </a:lnTo>
                    <a:lnTo>
                      <a:pt x="433" y="86"/>
                    </a:lnTo>
                    <a:lnTo>
                      <a:pt x="429" y="88"/>
                    </a:lnTo>
                    <a:lnTo>
                      <a:pt x="427" y="92"/>
                    </a:lnTo>
                    <a:lnTo>
                      <a:pt x="423" y="94"/>
                    </a:lnTo>
                    <a:lnTo>
                      <a:pt x="421" y="95"/>
                    </a:lnTo>
                    <a:lnTo>
                      <a:pt x="414" y="94"/>
                    </a:lnTo>
                    <a:lnTo>
                      <a:pt x="411" y="95"/>
                    </a:lnTo>
                    <a:lnTo>
                      <a:pt x="407" y="93"/>
                    </a:lnTo>
                    <a:lnTo>
                      <a:pt x="395" y="93"/>
                    </a:lnTo>
                    <a:lnTo>
                      <a:pt x="390" y="92"/>
                    </a:lnTo>
                    <a:lnTo>
                      <a:pt x="385" y="92"/>
                    </a:lnTo>
                    <a:lnTo>
                      <a:pt x="370" y="83"/>
                    </a:lnTo>
                    <a:lnTo>
                      <a:pt x="360" y="81"/>
                    </a:lnTo>
                    <a:lnTo>
                      <a:pt x="342" y="73"/>
                    </a:lnTo>
                    <a:lnTo>
                      <a:pt x="337" y="76"/>
                    </a:lnTo>
                    <a:lnTo>
                      <a:pt x="333" y="79"/>
                    </a:lnTo>
                    <a:lnTo>
                      <a:pt x="326" y="78"/>
                    </a:lnTo>
                    <a:lnTo>
                      <a:pt x="322" y="79"/>
                    </a:lnTo>
                    <a:lnTo>
                      <a:pt x="321" y="82"/>
                    </a:lnTo>
                    <a:lnTo>
                      <a:pt x="320" y="90"/>
                    </a:lnTo>
                    <a:lnTo>
                      <a:pt x="312" y="104"/>
                    </a:lnTo>
                    <a:lnTo>
                      <a:pt x="312" y="106"/>
                    </a:lnTo>
                    <a:lnTo>
                      <a:pt x="321" y="106"/>
                    </a:lnTo>
                    <a:lnTo>
                      <a:pt x="323" y="111"/>
                    </a:lnTo>
                    <a:lnTo>
                      <a:pt x="323" y="115"/>
                    </a:lnTo>
                    <a:lnTo>
                      <a:pt x="319" y="117"/>
                    </a:lnTo>
                    <a:lnTo>
                      <a:pt x="317" y="119"/>
                    </a:lnTo>
                    <a:lnTo>
                      <a:pt x="317" y="122"/>
                    </a:lnTo>
                    <a:lnTo>
                      <a:pt x="320" y="126"/>
                    </a:lnTo>
                    <a:lnTo>
                      <a:pt x="322" y="127"/>
                    </a:lnTo>
                    <a:lnTo>
                      <a:pt x="333" y="126"/>
                    </a:lnTo>
                    <a:lnTo>
                      <a:pt x="336" y="129"/>
                    </a:lnTo>
                    <a:lnTo>
                      <a:pt x="337" y="132"/>
                    </a:lnTo>
                    <a:lnTo>
                      <a:pt x="337" y="133"/>
                    </a:lnTo>
                    <a:lnTo>
                      <a:pt x="332" y="138"/>
                    </a:lnTo>
                    <a:lnTo>
                      <a:pt x="326" y="141"/>
                    </a:lnTo>
                    <a:lnTo>
                      <a:pt x="325" y="147"/>
                    </a:lnTo>
                    <a:lnTo>
                      <a:pt x="337" y="158"/>
                    </a:lnTo>
                    <a:lnTo>
                      <a:pt x="337" y="164"/>
                    </a:lnTo>
                    <a:lnTo>
                      <a:pt x="336" y="169"/>
                    </a:lnTo>
                    <a:lnTo>
                      <a:pt x="322" y="178"/>
                    </a:lnTo>
                    <a:lnTo>
                      <a:pt x="321" y="181"/>
                    </a:lnTo>
                    <a:lnTo>
                      <a:pt x="330" y="185"/>
                    </a:lnTo>
                    <a:lnTo>
                      <a:pt x="333" y="194"/>
                    </a:lnTo>
                    <a:lnTo>
                      <a:pt x="343" y="200"/>
                    </a:lnTo>
                    <a:lnTo>
                      <a:pt x="342" y="207"/>
                    </a:lnTo>
                    <a:lnTo>
                      <a:pt x="349" y="208"/>
                    </a:lnTo>
                    <a:lnTo>
                      <a:pt x="352" y="212"/>
                    </a:lnTo>
                    <a:lnTo>
                      <a:pt x="358" y="210"/>
                    </a:lnTo>
                    <a:lnTo>
                      <a:pt x="363" y="211"/>
                    </a:lnTo>
                    <a:lnTo>
                      <a:pt x="363" y="216"/>
                    </a:lnTo>
                    <a:lnTo>
                      <a:pt x="362" y="222"/>
                    </a:lnTo>
                    <a:lnTo>
                      <a:pt x="365" y="229"/>
                    </a:lnTo>
                    <a:lnTo>
                      <a:pt x="366" y="230"/>
                    </a:lnTo>
                    <a:lnTo>
                      <a:pt x="384" y="232"/>
                    </a:lnTo>
                    <a:lnTo>
                      <a:pt x="389" y="235"/>
                    </a:lnTo>
                    <a:lnTo>
                      <a:pt x="394" y="234"/>
                    </a:lnTo>
                    <a:lnTo>
                      <a:pt x="400" y="242"/>
                    </a:lnTo>
                    <a:lnTo>
                      <a:pt x="398" y="246"/>
                    </a:lnTo>
                    <a:lnTo>
                      <a:pt x="401" y="250"/>
                    </a:lnTo>
                    <a:lnTo>
                      <a:pt x="396" y="255"/>
                    </a:lnTo>
                    <a:lnTo>
                      <a:pt x="394" y="259"/>
                    </a:lnTo>
                    <a:lnTo>
                      <a:pt x="386" y="260"/>
                    </a:lnTo>
                    <a:lnTo>
                      <a:pt x="382" y="260"/>
                    </a:lnTo>
                    <a:lnTo>
                      <a:pt x="380" y="259"/>
                    </a:lnTo>
                    <a:lnTo>
                      <a:pt x="375" y="260"/>
                    </a:lnTo>
                    <a:lnTo>
                      <a:pt x="373" y="262"/>
                    </a:lnTo>
                    <a:lnTo>
                      <a:pt x="362" y="267"/>
                    </a:lnTo>
                    <a:lnTo>
                      <a:pt x="358" y="275"/>
                    </a:lnTo>
                    <a:lnTo>
                      <a:pt x="357" y="286"/>
                    </a:lnTo>
                    <a:lnTo>
                      <a:pt x="362" y="292"/>
                    </a:lnTo>
                    <a:lnTo>
                      <a:pt x="360" y="297"/>
                    </a:lnTo>
                    <a:lnTo>
                      <a:pt x="363" y="298"/>
                    </a:lnTo>
                    <a:lnTo>
                      <a:pt x="364" y="301"/>
                    </a:lnTo>
                    <a:lnTo>
                      <a:pt x="363" y="304"/>
                    </a:lnTo>
                    <a:lnTo>
                      <a:pt x="358" y="308"/>
                    </a:lnTo>
                    <a:lnTo>
                      <a:pt x="357" y="314"/>
                    </a:lnTo>
                    <a:lnTo>
                      <a:pt x="357" y="316"/>
                    </a:lnTo>
                    <a:lnTo>
                      <a:pt x="359" y="318"/>
                    </a:lnTo>
                    <a:lnTo>
                      <a:pt x="369" y="318"/>
                    </a:lnTo>
                    <a:lnTo>
                      <a:pt x="371" y="324"/>
                    </a:lnTo>
                    <a:lnTo>
                      <a:pt x="369" y="326"/>
                    </a:lnTo>
                    <a:lnTo>
                      <a:pt x="365" y="328"/>
                    </a:lnTo>
                    <a:lnTo>
                      <a:pt x="362" y="326"/>
                    </a:lnTo>
                    <a:lnTo>
                      <a:pt x="359" y="324"/>
                    </a:lnTo>
                    <a:lnTo>
                      <a:pt x="357" y="331"/>
                    </a:lnTo>
                    <a:lnTo>
                      <a:pt x="343" y="336"/>
                    </a:lnTo>
                    <a:lnTo>
                      <a:pt x="331" y="352"/>
                    </a:lnTo>
                    <a:lnTo>
                      <a:pt x="326" y="355"/>
                    </a:lnTo>
                    <a:lnTo>
                      <a:pt x="321" y="361"/>
                    </a:lnTo>
                    <a:lnTo>
                      <a:pt x="317" y="366"/>
                    </a:lnTo>
                    <a:lnTo>
                      <a:pt x="316" y="372"/>
                    </a:lnTo>
                    <a:lnTo>
                      <a:pt x="317" y="380"/>
                    </a:lnTo>
                    <a:lnTo>
                      <a:pt x="314" y="388"/>
                    </a:lnTo>
                    <a:lnTo>
                      <a:pt x="305" y="393"/>
                    </a:lnTo>
                    <a:lnTo>
                      <a:pt x="298" y="393"/>
                    </a:lnTo>
                    <a:lnTo>
                      <a:pt x="292" y="398"/>
                    </a:lnTo>
                    <a:lnTo>
                      <a:pt x="287" y="406"/>
                    </a:lnTo>
                    <a:lnTo>
                      <a:pt x="283" y="417"/>
                    </a:lnTo>
                    <a:lnTo>
                      <a:pt x="277" y="428"/>
                    </a:lnTo>
                    <a:lnTo>
                      <a:pt x="262" y="450"/>
                    </a:lnTo>
                    <a:lnTo>
                      <a:pt x="256" y="457"/>
                    </a:lnTo>
                    <a:lnTo>
                      <a:pt x="244" y="464"/>
                    </a:lnTo>
                    <a:lnTo>
                      <a:pt x="233" y="474"/>
                    </a:lnTo>
                    <a:lnTo>
                      <a:pt x="229" y="479"/>
                    </a:lnTo>
                    <a:lnTo>
                      <a:pt x="219" y="495"/>
                    </a:lnTo>
                    <a:lnTo>
                      <a:pt x="212" y="504"/>
                    </a:lnTo>
                    <a:lnTo>
                      <a:pt x="204" y="519"/>
                    </a:lnTo>
                    <a:lnTo>
                      <a:pt x="199" y="522"/>
                    </a:lnTo>
                    <a:lnTo>
                      <a:pt x="195" y="523"/>
                    </a:lnTo>
                    <a:lnTo>
                      <a:pt x="172" y="523"/>
                    </a:lnTo>
                    <a:lnTo>
                      <a:pt x="169" y="524"/>
                    </a:lnTo>
                    <a:lnTo>
                      <a:pt x="161" y="527"/>
                    </a:lnTo>
                    <a:lnTo>
                      <a:pt x="156" y="533"/>
                    </a:lnTo>
                    <a:lnTo>
                      <a:pt x="152" y="534"/>
                    </a:lnTo>
                    <a:lnTo>
                      <a:pt x="149" y="533"/>
                    </a:lnTo>
                    <a:lnTo>
                      <a:pt x="147" y="528"/>
                    </a:lnTo>
                    <a:lnTo>
                      <a:pt x="139" y="514"/>
                    </a:lnTo>
                    <a:lnTo>
                      <a:pt x="136" y="512"/>
                    </a:lnTo>
                    <a:lnTo>
                      <a:pt x="132" y="513"/>
                    </a:lnTo>
                    <a:lnTo>
                      <a:pt x="122" y="522"/>
                    </a:lnTo>
                    <a:lnTo>
                      <a:pt x="118" y="528"/>
                    </a:lnTo>
                    <a:lnTo>
                      <a:pt x="107" y="538"/>
                    </a:lnTo>
                    <a:lnTo>
                      <a:pt x="93" y="556"/>
                    </a:lnTo>
                    <a:lnTo>
                      <a:pt x="85" y="563"/>
                    </a:lnTo>
                    <a:lnTo>
                      <a:pt x="83" y="570"/>
                    </a:lnTo>
                    <a:lnTo>
                      <a:pt x="79" y="588"/>
                    </a:lnTo>
                    <a:lnTo>
                      <a:pt x="79" y="593"/>
                    </a:lnTo>
                    <a:lnTo>
                      <a:pt x="81" y="598"/>
                    </a:lnTo>
                    <a:lnTo>
                      <a:pt x="88" y="601"/>
                    </a:lnTo>
                    <a:lnTo>
                      <a:pt x="94" y="600"/>
                    </a:lnTo>
                    <a:lnTo>
                      <a:pt x="101" y="603"/>
                    </a:lnTo>
                    <a:lnTo>
                      <a:pt x="111" y="603"/>
                    </a:lnTo>
                    <a:lnTo>
                      <a:pt x="113" y="604"/>
                    </a:lnTo>
                    <a:lnTo>
                      <a:pt x="117" y="608"/>
                    </a:lnTo>
                    <a:lnTo>
                      <a:pt x="118" y="611"/>
                    </a:lnTo>
                    <a:lnTo>
                      <a:pt x="118" y="616"/>
                    </a:lnTo>
                    <a:lnTo>
                      <a:pt x="112" y="636"/>
                    </a:lnTo>
                    <a:lnTo>
                      <a:pt x="112" y="641"/>
                    </a:lnTo>
                    <a:lnTo>
                      <a:pt x="113" y="646"/>
                    </a:lnTo>
                    <a:lnTo>
                      <a:pt x="123" y="657"/>
                    </a:lnTo>
                    <a:lnTo>
                      <a:pt x="127" y="658"/>
                    </a:lnTo>
                    <a:lnTo>
                      <a:pt x="137" y="654"/>
                    </a:lnTo>
                    <a:lnTo>
                      <a:pt x="139" y="655"/>
                    </a:lnTo>
                    <a:lnTo>
                      <a:pt x="142" y="658"/>
                    </a:lnTo>
                    <a:lnTo>
                      <a:pt x="142" y="669"/>
                    </a:lnTo>
                    <a:lnTo>
                      <a:pt x="143" y="678"/>
                    </a:lnTo>
                    <a:lnTo>
                      <a:pt x="148" y="685"/>
                    </a:lnTo>
                    <a:lnTo>
                      <a:pt x="150" y="692"/>
                    </a:lnTo>
                    <a:lnTo>
                      <a:pt x="155" y="698"/>
                    </a:lnTo>
                    <a:lnTo>
                      <a:pt x="160" y="703"/>
                    </a:lnTo>
                    <a:lnTo>
                      <a:pt x="160" y="706"/>
                    </a:lnTo>
                    <a:lnTo>
                      <a:pt x="164" y="711"/>
                    </a:lnTo>
                    <a:lnTo>
                      <a:pt x="165" y="714"/>
                    </a:lnTo>
                    <a:lnTo>
                      <a:pt x="160" y="716"/>
                    </a:lnTo>
                    <a:lnTo>
                      <a:pt x="160" y="718"/>
                    </a:lnTo>
                    <a:lnTo>
                      <a:pt x="160" y="728"/>
                    </a:lnTo>
                    <a:lnTo>
                      <a:pt x="159" y="732"/>
                    </a:lnTo>
                    <a:lnTo>
                      <a:pt x="166" y="733"/>
                    </a:lnTo>
                    <a:lnTo>
                      <a:pt x="166" y="735"/>
                    </a:lnTo>
                    <a:lnTo>
                      <a:pt x="159" y="735"/>
                    </a:lnTo>
                    <a:lnTo>
                      <a:pt x="154" y="739"/>
                    </a:lnTo>
                    <a:lnTo>
                      <a:pt x="154" y="741"/>
                    </a:lnTo>
                    <a:lnTo>
                      <a:pt x="150" y="743"/>
                    </a:lnTo>
                    <a:lnTo>
                      <a:pt x="147" y="743"/>
                    </a:lnTo>
                    <a:lnTo>
                      <a:pt x="140" y="743"/>
                    </a:lnTo>
                    <a:lnTo>
                      <a:pt x="139" y="740"/>
                    </a:lnTo>
                    <a:lnTo>
                      <a:pt x="138" y="739"/>
                    </a:lnTo>
                    <a:lnTo>
                      <a:pt x="139" y="733"/>
                    </a:lnTo>
                    <a:lnTo>
                      <a:pt x="139" y="732"/>
                    </a:lnTo>
                    <a:lnTo>
                      <a:pt x="132" y="730"/>
                    </a:lnTo>
                    <a:lnTo>
                      <a:pt x="127" y="734"/>
                    </a:lnTo>
                    <a:lnTo>
                      <a:pt x="115" y="738"/>
                    </a:lnTo>
                    <a:lnTo>
                      <a:pt x="111" y="745"/>
                    </a:lnTo>
                    <a:lnTo>
                      <a:pt x="110" y="746"/>
                    </a:lnTo>
                    <a:lnTo>
                      <a:pt x="107" y="746"/>
                    </a:lnTo>
                    <a:lnTo>
                      <a:pt x="93" y="746"/>
                    </a:lnTo>
                    <a:lnTo>
                      <a:pt x="84" y="739"/>
                    </a:lnTo>
                    <a:lnTo>
                      <a:pt x="78" y="741"/>
                    </a:lnTo>
                    <a:lnTo>
                      <a:pt x="74" y="739"/>
                    </a:lnTo>
                    <a:lnTo>
                      <a:pt x="62" y="740"/>
                    </a:lnTo>
                    <a:lnTo>
                      <a:pt x="58" y="739"/>
                    </a:lnTo>
                    <a:lnTo>
                      <a:pt x="52" y="740"/>
                    </a:lnTo>
                    <a:lnTo>
                      <a:pt x="48" y="739"/>
                    </a:lnTo>
                    <a:lnTo>
                      <a:pt x="47" y="740"/>
                    </a:lnTo>
                    <a:lnTo>
                      <a:pt x="46" y="740"/>
                    </a:lnTo>
                    <a:lnTo>
                      <a:pt x="43" y="735"/>
                    </a:lnTo>
                    <a:lnTo>
                      <a:pt x="41" y="735"/>
                    </a:lnTo>
                    <a:lnTo>
                      <a:pt x="40" y="740"/>
                    </a:lnTo>
                    <a:lnTo>
                      <a:pt x="40" y="757"/>
                    </a:lnTo>
                    <a:lnTo>
                      <a:pt x="20" y="757"/>
                    </a:lnTo>
                    <a:lnTo>
                      <a:pt x="16" y="759"/>
                    </a:lnTo>
                    <a:lnTo>
                      <a:pt x="11" y="757"/>
                    </a:lnTo>
                    <a:lnTo>
                      <a:pt x="9" y="762"/>
                    </a:lnTo>
                    <a:lnTo>
                      <a:pt x="7" y="764"/>
                    </a:lnTo>
                    <a:lnTo>
                      <a:pt x="5" y="767"/>
                    </a:lnTo>
                    <a:lnTo>
                      <a:pt x="0" y="771"/>
                    </a:lnTo>
                    <a:lnTo>
                      <a:pt x="0" y="773"/>
                    </a:lnTo>
                    <a:lnTo>
                      <a:pt x="2" y="782"/>
                    </a:lnTo>
                    <a:lnTo>
                      <a:pt x="9" y="782"/>
                    </a:lnTo>
                    <a:lnTo>
                      <a:pt x="13" y="791"/>
                    </a:lnTo>
                    <a:lnTo>
                      <a:pt x="27" y="809"/>
                    </a:lnTo>
                    <a:lnTo>
                      <a:pt x="37" y="820"/>
                    </a:lnTo>
                    <a:lnTo>
                      <a:pt x="47" y="825"/>
                    </a:lnTo>
                    <a:lnTo>
                      <a:pt x="67" y="827"/>
                    </a:lnTo>
                    <a:lnTo>
                      <a:pt x="89" y="825"/>
                    </a:lnTo>
                    <a:lnTo>
                      <a:pt x="105" y="821"/>
                    </a:lnTo>
                    <a:lnTo>
                      <a:pt x="113" y="818"/>
                    </a:lnTo>
                    <a:lnTo>
                      <a:pt x="117" y="810"/>
                    </a:lnTo>
                    <a:lnTo>
                      <a:pt x="122" y="808"/>
                    </a:lnTo>
                    <a:lnTo>
                      <a:pt x="124" y="814"/>
                    </a:lnTo>
                    <a:lnTo>
                      <a:pt x="117" y="834"/>
                    </a:lnTo>
                    <a:lnTo>
                      <a:pt x="106" y="843"/>
                    </a:lnTo>
                    <a:lnTo>
                      <a:pt x="96" y="850"/>
                    </a:lnTo>
                    <a:lnTo>
                      <a:pt x="84" y="852"/>
                    </a:lnTo>
                    <a:lnTo>
                      <a:pt x="70" y="854"/>
                    </a:lnTo>
                    <a:lnTo>
                      <a:pt x="59" y="857"/>
                    </a:lnTo>
                    <a:lnTo>
                      <a:pt x="51" y="850"/>
                    </a:lnTo>
                    <a:lnTo>
                      <a:pt x="47" y="854"/>
                    </a:lnTo>
                    <a:lnTo>
                      <a:pt x="50" y="870"/>
                    </a:lnTo>
                    <a:lnTo>
                      <a:pt x="90" y="911"/>
                    </a:lnTo>
                    <a:lnTo>
                      <a:pt x="104" y="926"/>
                    </a:lnTo>
                    <a:lnTo>
                      <a:pt x="124" y="944"/>
                    </a:lnTo>
                    <a:lnTo>
                      <a:pt x="131" y="945"/>
                    </a:lnTo>
                    <a:lnTo>
                      <a:pt x="156" y="947"/>
                    </a:lnTo>
                    <a:lnTo>
                      <a:pt x="167" y="944"/>
                    </a:lnTo>
                    <a:lnTo>
                      <a:pt x="174" y="943"/>
                    </a:lnTo>
                    <a:lnTo>
                      <a:pt x="183" y="936"/>
                    </a:lnTo>
                    <a:lnTo>
                      <a:pt x="190" y="936"/>
                    </a:lnTo>
                    <a:lnTo>
                      <a:pt x="207" y="924"/>
                    </a:lnTo>
                    <a:lnTo>
                      <a:pt x="213" y="916"/>
                    </a:lnTo>
                    <a:lnTo>
                      <a:pt x="218" y="906"/>
                    </a:lnTo>
                    <a:lnTo>
                      <a:pt x="219" y="879"/>
                    </a:lnTo>
                    <a:lnTo>
                      <a:pt x="222" y="867"/>
                    </a:lnTo>
                    <a:lnTo>
                      <a:pt x="224" y="852"/>
                    </a:lnTo>
                    <a:lnTo>
                      <a:pt x="226" y="856"/>
                    </a:lnTo>
                    <a:lnTo>
                      <a:pt x="229" y="857"/>
                    </a:lnTo>
                    <a:lnTo>
                      <a:pt x="258" y="858"/>
                    </a:lnTo>
                    <a:lnTo>
                      <a:pt x="260" y="859"/>
                    </a:lnTo>
                    <a:lnTo>
                      <a:pt x="253" y="866"/>
                    </a:lnTo>
                    <a:lnTo>
                      <a:pt x="242" y="866"/>
                    </a:lnTo>
                    <a:lnTo>
                      <a:pt x="239" y="879"/>
                    </a:lnTo>
                    <a:lnTo>
                      <a:pt x="241" y="880"/>
                    </a:lnTo>
                    <a:lnTo>
                      <a:pt x="240" y="891"/>
                    </a:lnTo>
                    <a:lnTo>
                      <a:pt x="242" y="894"/>
                    </a:lnTo>
                    <a:lnTo>
                      <a:pt x="249" y="897"/>
                    </a:lnTo>
                    <a:lnTo>
                      <a:pt x="242" y="911"/>
                    </a:lnTo>
                    <a:lnTo>
                      <a:pt x="242" y="922"/>
                    </a:lnTo>
                    <a:lnTo>
                      <a:pt x="242" y="924"/>
                    </a:lnTo>
                    <a:lnTo>
                      <a:pt x="246" y="924"/>
                    </a:lnTo>
                    <a:lnTo>
                      <a:pt x="249" y="928"/>
                    </a:lnTo>
                    <a:lnTo>
                      <a:pt x="249" y="934"/>
                    </a:lnTo>
                    <a:lnTo>
                      <a:pt x="255" y="952"/>
                    </a:lnTo>
                    <a:lnTo>
                      <a:pt x="256" y="963"/>
                    </a:lnTo>
                    <a:lnTo>
                      <a:pt x="256" y="971"/>
                    </a:lnTo>
                    <a:lnTo>
                      <a:pt x="250" y="987"/>
                    </a:lnTo>
                    <a:lnTo>
                      <a:pt x="247" y="998"/>
                    </a:lnTo>
                    <a:lnTo>
                      <a:pt x="247" y="1009"/>
                    </a:lnTo>
                    <a:lnTo>
                      <a:pt x="251" y="1028"/>
                    </a:lnTo>
                    <a:lnTo>
                      <a:pt x="253" y="1031"/>
                    </a:lnTo>
                    <a:lnTo>
                      <a:pt x="253" y="1047"/>
                    </a:lnTo>
                    <a:lnTo>
                      <a:pt x="257" y="1044"/>
                    </a:lnTo>
                    <a:lnTo>
                      <a:pt x="261" y="1041"/>
                    </a:lnTo>
                    <a:lnTo>
                      <a:pt x="262" y="1045"/>
                    </a:lnTo>
                    <a:lnTo>
                      <a:pt x="263" y="1052"/>
                    </a:lnTo>
                    <a:lnTo>
                      <a:pt x="261" y="1056"/>
                    </a:lnTo>
                    <a:lnTo>
                      <a:pt x="261" y="1060"/>
                    </a:lnTo>
                    <a:lnTo>
                      <a:pt x="260" y="1065"/>
                    </a:lnTo>
                    <a:lnTo>
                      <a:pt x="257" y="1084"/>
                    </a:lnTo>
                    <a:lnTo>
                      <a:pt x="263" y="1093"/>
                    </a:lnTo>
                    <a:lnTo>
                      <a:pt x="262" y="1096"/>
                    </a:lnTo>
                    <a:lnTo>
                      <a:pt x="265" y="1114"/>
                    </a:lnTo>
                    <a:lnTo>
                      <a:pt x="266" y="1114"/>
                    </a:lnTo>
                    <a:lnTo>
                      <a:pt x="273" y="1139"/>
                    </a:lnTo>
                    <a:lnTo>
                      <a:pt x="276" y="1147"/>
                    </a:lnTo>
                    <a:lnTo>
                      <a:pt x="276" y="1157"/>
                    </a:lnTo>
                    <a:lnTo>
                      <a:pt x="278" y="1163"/>
                    </a:lnTo>
                    <a:lnTo>
                      <a:pt x="282" y="1192"/>
                    </a:lnTo>
                    <a:lnTo>
                      <a:pt x="284" y="1201"/>
                    </a:lnTo>
                    <a:lnTo>
                      <a:pt x="289" y="1212"/>
                    </a:lnTo>
                    <a:lnTo>
                      <a:pt x="293" y="1214"/>
                    </a:lnTo>
                    <a:lnTo>
                      <a:pt x="295" y="1225"/>
                    </a:lnTo>
                    <a:lnTo>
                      <a:pt x="304" y="123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1" name="Pakistan"/>
              <p:cNvSpPr>
                <a:spLocks noChangeAspect="1"/>
              </p:cNvSpPr>
              <p:nvPr>
                <p:custDataLst>
                  <p:tags r:id="rId308"/>
                </p:custDataLst>
              </p:nvPr>
            </p:nvSpPr>
            <p:spPr bwMode="gray">
              <a:xfrm>
                <a:off x="3183" y="2052"/>
                <a:ext cx="184" cy="168"/>
              </a:xfrm>
              <a:custGeom>
                <a:avLst/>
                <a:gdLst/>
                <a:ahLst/>
                <a:cxnLst>
                  <a:cxn ang="0">
                    <a:pos x="106" y="668"/>
                  </a:cxn>
                  <a:cxn ang="0">
                    <a:pos x="108" y="599"/>
                  </a:cxn>
                  <a:cxn ang="0">
                    <a:pos x="0" y="475"/>
                  </a:cxn>
                  <a:cxn ang="0">
                    <a:pos x="109" y="492"/>
                  </a:cxn>
                  <a:cxn ang="0">
                    <a:pos x="187" y="487"/>
                  </a:cxn>
                  <a:cxn ang="0">
                    <a:pos x="302" y="458"/>
                  </a:cxn>
                  <a:cxn ang="0">
                    <a:pos x="325" y="378"/>
                  </a:cxn>
                  <a:cxn ang="0">
                    <a:pos x="379" y="373"/>
                  </a:cxn>
                  <a:cxn ang="0">
                    <a:pos x="405" y="346"/>
                  </a:cxn>
                  <a:cxn ang="0">
                    <a:pos x="435" y="356"/>
                  </a:cxn>
                  <a:cxn ang="0">
                    <a:pos x="464" y="297"/>
                  </a:cxn>
                  <a:cxn ang="0">
                    <a:pos x="490" y="258"/>
                  </a:cxn>
                  <a:cxn ang="0">
                    <a:pos x="506" y="218"/>
                  </a:cxn>
                  <a:cxn ang="0">
                    <a:pos x="549" y="202"/>
                  </a:cxn>
                  <a:cxn ang="0">
                    <a:pos x="561" y="163"/>
                  </a:cxn>
                  <a:cxn ang="0">
                    <a:pos x="588" y="114"/>
                  </a:cxn>
                  <a:cxn ang="0">
                    <a:pos x="570" y="60"/>
                  </a:cxn>
                  <a:cxn ang="0">
                    <a:pos x="604" y="34"/>
                  </a:cxn>
                  <a:cxn ang="0">
                    <a:pos x="645" y="12"/>
                  </a:cxn>
                  <a:cxn ang="0">
                    <a:pos x="731" y="11"/>
                  </a:cxn>
                  <a:cxn ang="0">
                    <a:pos x="780" y="2"/>
                  </a:cxn>
                  <a:cxn ang="0">
                    <a:pos x="811" y="16"/>
                  </a:cxn>
                  <a:cxn ang="0">
                    <a:pos x="830" y="59"/>
                  </a:cxn>
                  <a:cxn ang="0">
                    <a:pos x="852" y="78"/>
                  </a:cxn>
                  <a:cxn ang="0">
                    <a:pos x="903" y="99"/>
                  </a:cxn>
                  <a:cxn ang="0">
                    <a:pos x="877" y="153"/>
                  </a:cxn>
                  <a:cxn ang="0">
                    <a:pos x="828" y="156"/>
                  </a:cxn>
                  <a:cxn ang="0">
                    <a:pos x="790" y="163"/>
                  </a:cxn>
                  <a:cxn ang="0">
                    <a:pos x="721" y="148"/>
                  </a:cxn>
                  <a:cxn ang="0">
                    <a:pos x="718" y="185"/>
                  </a:cxn>
                  <a:cxn ang="0">
                    <a:pos x="732" y="202"/>
                  </a:cxn>
                  <a:cxn ang="0">
                    <a:pos x="717" y="248"/>
                  </a:cxn>
                  <a:cxn ang="0">
                    <a:pos x="753" y="280"/>
                  </a:cxn>
                  <a:cxn ang="0">
                    <a:pos x="789" y="304"/>
                  </a:cxn>
                  <a:cxn ang="0">
                    <a:pos x="775" y="329"/>
                  </a:cxn>
                  <a:cxn ang="0">
                    <a:pos x="758" y="368"/>
                  </a:cxn>
                  <a:cxn ang="0">
                    <a:pos x="766" y="394"/>
                  </a:cxn>
                  <a:cxn ang="0">
                    <a:pos x="721" y="425"/>
                  </a:cxn>
                  <a:cxn ang="0">
                    <a:pos x="687" y="468"/>
                  </a:cxn>
                  <a:cxn ang="0">
                    <a:pos x="624" y="549"/>
                  </a:cxn>
                  <a:cxn ang="0">
                    <a:pos x="556" y="597"/>
                  </a:cxn>
                  <a:cxn ang="0">
                    <a:pos x="517" y="592"/>
                  </a:cxn>
                  <a:cxn ang="0">
                    <a:pos x="476" y="668"/>
                  </a:cxn>
                  <a:cxn ang="0">
                    <a:pos x="513" y="686"/>
                  </a:cxn>
                  <a:cxn ang="0">
                    <a:pos x="537" y="728"/>
                  </a:cxn>
                  <a:cxn ang="0">
                    <a:pos x="559" y="781"/>
                  </a:cxn>
                  <a:cxn ang="0">
                    <a:pos x="554" y="805"/>
                  </a:cxn>
                  <a:cxn ang="0">
                    <a:pos x="534" y="803"/>
                  </a:cxn>
                  <a:cxn ang="0">
                    <a:pos x="488" y="816"/>
                  </a:cxn>
                  <a:cxn ang="0">
                    <a:pos x="442" y="810"/>
                  </a:cxn>
                  <a:cxn ang="0">
                    <a:pos x="406" y="827"/>
                  </a:cxn>
                  <a:cxn ang="0">
                    <a:pos x="363" y="834"/>
                  </a:cxn>
                  <a:cxn ang="0">
                    <a:pos x="329" y="781"/>
                  </a:cxn>
                  <a:cxn ang="0">
                    <a:pos x="250" y="744"/>
                  </a:cxn>
                  <a:cxn ang="0">
                    <a:pos x="164" y="746"/>
                  </a:cxn>
                  <a:cxn ang="0">
                    <a:pos x="61" y="761"/>
                  </a:cxn>
                </a:cxnLst>
                <a:rect l="0" t="0" r="r" b="b"/>
                <a:pathLst>
                  <a:path w="921" h="842">
                    <a:moveTo>
                      <a:pt x="42" y="757"/>
                    </a:moveTo>
                    <a:lnTo>
                      <a:pt x="42" y="743"/>
                    </a:lnTo>
                    <a:lnTo>
                      <a:pt x="44" y="730"/>
                    </a:lnTo>
                    <a:lnTo>
                      <a:pt x="55" y="701"/>
                    </a:lnTo>
                    <a:lnTo>
                      <a:pt x="64" y="689"/>
                    </a:lnTo>
                    <a:lnTo>
                      <a:pt x="77" y="679"/>
                    </a:lnTo>
                    <a:lnTo>
                      <a:pt x="91" y="674"/>
                    </a:lnTo>
                    <a:lnTo>
                      <a:pt x="106" y="668"/>
                    </a:lnTo>
                    <a:lnTo>
                      <a:pt x="118" y="665"/>
                    </a:lnTo>
                    <a:lnTo>
                      <a:pt x="131" y="653"/>
                    </a:lnTo>
                    <a:lnTo>
                      <a:pt x="134" y="647"/>
                    </a:lnTo>
                    <a:lnTo>
                      <a:pt x="133" y="637"/>
                    </a:lnTo>
                    <a:lnTo>
                      <a:pt x="128" y="632"/>
                    </a:lnTo>
                    <a:lnTo>
                      <a:pt x="108" y="628"/>
                    </a:lnTo>
                    <a:lnTo>
                      <a:pt x="109" y="614"/>
                    </a:lnTo>
                    <a:lnTo>
                      <a:pt x="108" y="599"/>
                    </a:lnTo>
                    <a:lnTo>
                      <a:pt x="103" y="573"/>
                    </a:lnTo>
                    <a:lnTo>
                      <a:pt x="98" y="567"/>
                    </a:lnTo>
                    <a:lnTo>
                      <a:pt x="71" y="558"/>
                    </a:lnTo>
                    <a:lnTo>
                      <a:pt x="55" y="550"/>
                    </a:lnTo>
                    <a:lnTo>
                      <a:pt x="43" y="540"/>
                    </a:lnTo>
                    <a:lnTo>
                      <a:pt x="22" y="497"/>
                    </a:lnTo>
                    <a:lnTo>
                      <a:pt x="8" y="485"/>
                    </a:lnTo>
                    <a:lnTo>
                      <a:pt x="0" y="475"/>
                    </a:lnTo>
                    <a:lnTo>
                      <a:pt x="4" y="470"/>
                    </a:lnTo>
                    <a:lnTo>
                      <a:pt x="63" y="486"/>
                    </a:lnTo>
                    <a:lnTo>
                      <a:pt x="81" y="496"/>
                    </a:lnTo>
                    <a:lnTo>
                      <a:pt x="88" y="497"/>
                    </a:lnTo>
                    <a:lnTo>
                      <a:pt x="92" y="496"/>
                    </a:lnTo>
                    <a:lnTo>
                      <a:pt x="96" y="493"/>
                    </a:lnTo>
                    <a:lnTo>
                      <a:pt x="99" y="492"/>
                    </a:lnTo>
                    <a:lnTo>
                      <a:pt x="109" y="492"/>
                    </a:lnTo>
                    <a:lnTo>
                      <a:pt x="118" y="491"/>
                    </a:lnTo>
                    <a:lnTo>
                      <a:pt x="130" y="491"/>
                    </a:lnTo>
                    <a:lnTo>
                      <a:pt x="144" y="490"/>
                    </a:lnTo>
                    <a:lnTo>
                      <a:pt x="161" y="490"/>
                    </a:lnTo>
                    <a:lnTo>
                      <a:pt x="177" y="497"/>
                    </a:lnTo>
                    <a:lnTo>
                      <a:pt x="180" y="495"/>
                    </a:lnTo>
                    <a:lnTo>
                      <a:pt x="184" y="490"/>
                    </a:lnTo>
                    <a:lnTo>
                      <a:pt x="187" y="487"/>
                    </a:lnTo>
                    <a:lnTo>
                      <a:pt x="194" y="485"/>
                    </a:lnTo>
                    <a:lnTo>
                      <a:pt x="206" y="485"/>
                    </a:lnTo>
                    <a:lnTo>
                      <a:pt x="232" y="486"/>
                    </a:lnTo>
                    <a:lnTo>
                      <a:pt x="248" y="482"/>
                    </a:lnTo>
                    <a:lnTo>
                      <a:pt x="268" y="475"/>
                    </a:lnTo>
                    <a:lnTo>
                      <a:pt x="293" y="470"/>
                    </a:lnTo>
                    <a:lnTo>
                      <a:pt x="302" y="464"/>
                    </a:lnTo>
                    <a:lnTo>
                      <a:pt x="302" y="458"/>
                    </a:lnTo>
                    <a:lnTo>
                      <a:pt x="298" y="454"/>
                    </a:lnTo>
                    <a:lnTo>
                      <a:pt x="298" y="450"/>
                    </a:lnTo>
                    <a:lnTo>
                      <a:pt x="302" y="431"/>
                    </a:lnTo>
                    <a:lnTo>
                      <a:pt x="301" y="418"/>
                    </a:lnTo>
                    <a:lnTo>
                      <a:pt x="305" y="404"/>
                    </a:lnTo>
                    <a:lnTo>
                      <a:pt x="308" y="398"/>
                    </a:lnTo>
                    <a:lnTo>
                      <a:pt x="319" y="389"/>
                    </a:lnTo>
                    <a:lnTo>
                      <a:pt x="325" y="378"/>
                    </a:lnTo>
                    <a:lnTo>
                      <a:pt x="333" y="374"/>
                    </a:lnTo>
                    <a:lnTo>
                      <a:pt x="336" y="377"/>
                    </a:lnTo>
                    <a:lnTo>
                      <a:pt x="336" y="380"/>
                    </a:lnTo>
                    <a:lnTo>
                      <a:pt x="348" y="382"/>
                    </a:lnTo>
                    <a:lnTo>
                      <a:pt x="359" y="379"/>
                    </a:lnTo>
                    <a:lnTo>
                      <a:pt x="370" y="377"/>
                    </a:lnTo>
                    <a:lnTo>
                      <a:pt x="377" y="375"/>
                    </a:lnTo>
                    <a:lnTo>
                      <a:pt x="379" y="373"/>
                    </a:lnTo>
                    <a:lnTo>
                      <a:pt x="379" y="371"/>
                    </a:lnTo>
                    <a:lnTo>
                      <a:pt x="372" y="368"/>
                    </a:lnTo>
                    <a:lnTo>
                      <a:pt x="371" y="366"/>
                    </a:lnTo>
                    <a:lnTo>
                      <a:pt x="375" y="362"/>
                    </a:lnTo>
                    <a:lnTo>
                      <a:pt x="392" y="353"/>
                    </a:lnTo>
                    <a:lnTo>
                      <a:pt x="394" y="348"/>
                    </a:lnTo>
                    <a:lnTo>
                      <a:pt x="399" y="346"/>
                    </a:lnTo>
                    <a:lnTo>
                      <a:pt x="405" y="346"/>
                    </a:lnTo>
                    <a:lnTo>
                      <a:pt x="421" y="351"/>
                    </a:lnTo>
                    <a:lnTo>
                      <a:pt x="421" y="348"/>
                    </a:lnTo>
                    <a:lnTo>
                      <a:pt x="418" y="347"/>
                    </a:lnTo>
                    <a:lnTo>
                      <a:pt x="420" y="343"/>
                    </a:lnTo>
                    <a:lnTo>
                      <a:pt x="424" y="343"/>
                    </a:lnTo>
                    <a:lnTo>
                      <a:pt x="431" y="348"/>
                    </a:lnTo>
                    <a:lnTo>
                      <a:pt x="432" y="352"/>
                    </a:lnTo>
                    <a:lnTo>
                      <a:pt x="435" y="356"/>
                    </a:lnTo>
                    <a:lnTo>
                      <a:pt x="441" y="358"/>
                    </a:lnTo>
                    <a:lnTo>
                      <a:pt x="443" y="358"/>
                    </a:lnTo>
                    <a:lnTo>
                      <a:pt x="463" y="337"/>
                    </a:lnTo>
                    <a:lnTo>
                      <a:pt x="463" y="334"/>
                    </a:lnTo>
                    <a:lnTo>
                      <a:pt x="461" y="323"/>
                    </a:lnTo>
                    <a:lnTo>
                      <a:pt x="459" y="305"/>
                    </a:lnTo>
                    <a:lnTo>
                      <a:pt x="461" y="302"/>
                    </a:lnTo>
                    <a:lnTo>
                      <a:pt x="464" y="297"/>
                    </a:lnTo>
                    <a:lnTo>
                      <a:pt x="467" y="292"/>
                    </a:lnTo>
                    <a:lnTo>
                      <a:pt x="469" y="292"/>
                    </a:lnTo>
                    <a:lnTo>
                      <a:pt x="470" y="288"/>
                    </a:lnTo>
                    <a:lnTo>
                      <a:pt x="469" y="282"/>
                    </a:lnTo>
                    <a:lnTo>
                      <a:pt x="470" y="277"/>
                    </a:lnTo>
                    <a:lnTo>
                      <a:pt x="476" y="275"/>
                    </a:lnTo>
                    <a:lnTo>
                      <a:pt x="478" y="261"/>
                    </a:lnTo>
                    <a:lnTo>
                      <a:pt x="490" y="258"/>
                    </a:lnTo>
                    <a:lnTo>
                      <a:pt x="497" y="259"/>
                    </a:lnTo>
                    <a:lnTo>
                      <a:pt x="507" y="251"/>
                    </a:lnTo>
                    <a:lnTo>
                      <a:pt x="515" y="249"/>
                    </a:lnTo>
                    <a:lnTo>
                      <a:pt x="519" y="243"/>
                    </a:lnTo>
                    <a:lnTo>
                      <a:pt x="519" y="239"/>
                    </a:lnTo>
                    <a:lnTo>
                      <a:pt x="515" y="234"/>
                    </a:lnTo>
                    <a:lnTo>
                      <a:pt x="510" y="218"/>
                    </a:lnTo>
                    <a:lnTo>
                      <a:pt x="506" y="218"/>
                    </a:lnTo>
                    <a:lnTo>
                      <a:pt x="500" y="208"/>
                    </a:lnTo>
                    <a:lnTo>
                      <a:pt x="499" y="205"/>
                    </a:lnTo>
                    <a:lnTo>
                      <a:pt x="500" y="200"/>
                    </a:lnTo>
                    <a:lnTo>
                      <a:pt x="504" y="197"/>
                    </a:lnTo>
                    <a:lnTo>
                      <a:pt x="508" y="199"/>
                    </a:lnTo>
                    <a:lnTo>
                      <a:pt x="527" y="203"/>
                    </a:lnTo>
                    <a:lnTo>
                      <a:pt x="538" y="205"/>
                    </a:lnTo>
                    <a:lnTo>
                      <a:pt x="549" y="202"/>
                    </a:lnTo>
                    <a:lnTo>
                      <a:pt x="555" y="199"/>
                    </a:lnTo>
                    <a:lnTo>
                      <a:pt x="562" y="189"/>
                    </a:lnTo>
                    <a:lnTo>
                      <a:pt x="562" y="181"/>
                    </a:lnTo>
                    <a:lnTo>
                      <a:pt x="566" y="178"/>
                    </a:lnTo>
                    <a:lnTo>
                      <a:pt x="562" y="175"/>
                    </a:lnTo>
                    <a:lnTo>
                      <a:pt x="558" y="173"/>
                    </a:lnTo>
                    <a:lnTo>
                      <a:pt x="558" y="167"/>
                    </a:lnTo>
                    <a:lnTo>
                      <a:pt x="561" y="163"/>
                    </a:lnTo>
                    <a:lnTo>
                      <a:pt x="565" y="156"/>
                    </a:lnTo>
                    <a:lnTo>
                      <a:pt x="572" y="147"/>
                    </a:lnTo>
                    <a:lnTo>
                      <a:pt x="581" y="141"/>
                    </a:lnTo>
                    <a:lnTo>
                      <a:pt x="587" y="133"/>
                    </a:lnTo>
                    <a:lnTo>
                      <a:pt x="591" y="126"/>
                    </a:lnTo>
                    <a:lnTo>
                      <a:pt x="591" y="120"/>
                    </a:lnTo>
                    <a:lnTo>
                      <a:pt x="588" y="116"/>
                    </a:lnTo>
                    <a:lnTo>
                      <a:pt x="588" y="114"/>
                    </a:lnTo>
                    <a:lnTo>
                      <a:pt x="593" y="105"/>
                    </a:lnTo>
                    <a:lnTo>
                      <a:pt x="593" y="104"/>
                    </a:lnTo>
                    <a:lnTo>
                      <a:pt x="588" y="94"/>
                    </a:lnTo>
                    <a:lnTo>
                      <a:pt x="585" y="81"/>
                    </a:lnTo>
                    <a:lnTo>
                      <a:pt x="578" y="73"/>
                    </a:lnTo>
                    <a:lnTo>
                      <a:pt x="570" y="67"/>
                    </a:lnTo>
                    <a:lnTo>
                      <a:pt x="569" y="66"/>
                    </a:lnTo>
                    <a:lnTo>
                      <a:pt x="570" y="60"/>
                    </a:lnTo>
                    <a:lnTo>
                      <a:pt x="574" y="56"/>
                    </a:lnTo>
                    <a:lnTo>
                      <a:pt x="591" y="43"/>
                    </a:lnTo>
                    <a:lnTo>
                      <a:pt x="591" y="38"/>
                    </a:lnTo>
                    <a:lnTo>
                      <a:pt x="592" y="36"/>
                    </a:lnTo>
                    <a:lnTo>
                      <a:pt x="597" y="36"/>
                    </a:lnTo>
                    <a:lnTo>
                      <a:pt x="602" y="39"/>
                    </a:lnTo>
                    <a:lnTo>
                      <a:pt x="605" y="38"/>
                    </a:lnTo>
                    <a:lnTo>
                      <a:pt x="604" y="34"/>
                    </a:lnTo>
                    <a:lnTo>
                      <a:pt x="605" y="32"/>
                    </a:lnTo>
                    <a:lnTo>
                      <a:pt x="615" y="29"/>
                    </a:lnTo>
                    <a:lnTo>
                      <a:pt x="619" y="25"/>
                    </a:lnTo>
                    <a:lnTo>
                      <a:pt x="619" y="23"/>
                    </a:lnTo>
                    <a:lnTo>
                      <a:pt x="624" y="22"/>
                    </a:lnTo>
                    <a:lnTo>
                      <a:pt x="628" y="19"/>
                    </a:lnTo>
                    <a:lnTo>
                      <a:pt x="636" y="18"/>
                    </a:lnTo>
                    <a:lnTo>
                      <a:pt x="645" y="12"/>
                    </a:lnTo>
                    <a:lnTo>
                      <a:pt x="652" y="12"/>
                    </a:lnTo>
                    <a:lnTo>
                      <a:pt x="662" y="7"/>
                    </a:lnTo>
                    <a:lnTo>
                      <a:pt x="666" y="8"/>
                    </a:lnTo>
                    <a:lnTo>
                      <a:pt x="701" y="6"/>
                    </a:lnTo>
                    <a:lnTo>
                      <a:pt x="705" y="7"/>
                    </a:lnTo>
                    <a:lnTo>
                      <a:pt x="712" y="6"/>
                    </a:lnTo>
                    <a:lnTo>
                      <a:pt x="726" y="11"/>
                    </a:lnTo>
                    <a:lnTo>
                      <a:pt x="731" y="11"/>
                    </a:lnTo>
                    <a:lnTo>
                      <a:pt x="737" y="6"/>
                    </a:lnTo>
                    <a:lnTo>
                      <a:pt x="741" y="6"/>
                    </a:lnTo>
                    <a:lnTo>
                      <a:pt x="746" y="2"/>
                    </a:lnTo>
                    <a:lnTo>
                      <a:pt x="755" y="4"/>
                    </a:lnTo>
                    <a:lnTo>
                      <a:pt x="757" y="0"/>
                    </a:lnTo>
                    <a:lnTo>
                      <a:pt x="755" y="1"/>
                    </a:lnTo>
                    <a:lnTo>
                      <a:pt x="766" y="4"/>
                    </a:lnTo>
                    <a:lnTo>
                      <a:pt x="780" y="2"/>
                    </a:lnTo>
                    <a:lnTo>
                      <a:pt x="784" y="3"/>
                    </a:lnTo>
                    <a:lnTo>
                      <a:pt x="789" y="6"/>
                    </a:lnTo>
                    <a:lnTo>
                      <a:pt x="796" y="4"/>
                    </a:lnTo>
                    <a:lnTo>
                      <a:pt x="798" y="7"/>
                    </a:lnTo>
                    <a:lnTo>
                      <a:pt x="798" y="19"/>
                    </a:lnTo>
                    <a:lnTo>
                      <a:pt x="800" y="20"/>
                    </a:lnTo>
                    <a:lnTo>
                      <a:pt x="806" y="16"/>
                    </a:lnTo>
                    <a:lnTo>
                      <a:pt x="811" y="16"/>
                    </a:lnTo>
                    <a:lnTo>
                      <a:pt x="822" y="23"/>
                    </a:lnTo>
                    <a:lnTo>
                      <a:pt x="828" y="29"/>
                    </a:lnTo>
                    <a:lnTo>
                      <a:pt x="830" y="35"/>
                    </a:lnTo>
                    <a:lnTo>
                      <a:pt x="830" y="41"/>
                    </a:lnTo>
                    <a:lnTo>
                      <a:pt x="828" y="47"/>
                    </a:lnTo>
                    <a:lnTo>
                      <a:pt x="830" y="50"/>
                    </a:lnTo>
                    <a:lnTo>
                      <a:pt x="832" y="55"/>
                    </a:lnTo>
                    <a:lnTo>
                      <a:pt x="830" y="59"/>
                    </a:lnTo>
                    <a:lnTo>
                      <a:pt x="825" y="60"/>
                    </a:lnTo>
                    <a:lnTo>
                      <a:pt x="825" y="62"/>
                    </a:lnTo>
                    <a:lnTo>
                      <a:pt x="827" y="66"/>
                    </a:lnTo>
                    <a:lnTo>
                      <a:pt x="834" y="67"/>
                    </a:lnTo>
                    <a:lnTo>
                      <a:pt x="840" y="78"/>
                    </a:lnTo>
                    <a:lnTo>
                      <a:pt x="844" y="79"/>
                    </a:lnTo>
                    <a:lnTo>
                      <a:pt x="849" y="78"/>
                    </a:lnTo>
                    <a:lnTo>
                      <a:pt x="852" y="78"/>
                    </a:lnTo>
                    <a:lnTo>
                      <a:pt x="857" y="74"/>
                    </a:lnTo>
                    <a:lnTo>
                      <a:pt x="861" y="73"/>
                    </a:lnTo>
                    <a:lnTo>
                      <a:pt x="862" y="77"/>
                    </a:lnTo>
                    <a:lnTo>
                      <a:pt x="862" y="83"/>
                    </a:lnTo>
                    <a:lnTo>
                      <a:pt x="872" y="89"/>
                    </a:lnTo>
                    <a:lnTo>
                      <a:pt x="889" y="95"/>
                    </a:lnTo>
                    <a:lnTo>
                      <a:pt x="897" y="100"/>
                    </a:lnTo>
                    <a:lnTo>
                      <a:pt x="903" y="99"/>
                    </a:lnTo>
                    <a:lnTo>
                      <a:pt x="910" y="104"/>
                    </a:lnTo>
                    <a:lnTo>
                      <a:pt x="921" y="105"/>
                    </a:lnTo>
                    <a:lnTo>
                      <a:pt x="887" y="130"/>
                    </a:lnTo>
                    <a:lnTo>
                      <a:pt x="883" y="136"/>
                    </a:lnTo>
                    <a:lnTo>
                      <a:pt x="884" y="138"/>
                    </a:lnTo>
                    <a:lnTo>
                      <a:pt x="884" y="141"/>
                    </a:lnTo>
                    <a:lnTo>
                      <a:pt x="881" y="149"/>
                    </a:lnTo>
                    <a:lnTo>
                      <a:pt x="877" y="153"/>
                    </a:lnTo>
                    <a:lnTo>
                      <a:pt x="873" y="152"/>
                    </a:lnTo>
                    <a:lnTo>
                      <a:pt x="870" y="148"/>
                    </a:lnTo>
                    <a:lnTo>
                      <a:pt x="851" y="149"/>
                    </a:lnTo>
                    <a:lnTo>
                      <a:pt x="849" y="151"/>
                    </a:lnTo>
                    <a:lnTo>
                      <a:pt x="844" y="157"/>
                    </a:lnTo>
                    <a:lnTo>
                      <a:pt x="841" y="158"/>
                    </a:lnTo>
                    <a:lnTo>
                      <a:pt x="835" y="158"/>
                    </a:lnTo>
                    <a:lnTo>
                      <a:pt x="828" y="156"/>
                    </a:lnTo>
                    <a:lnTo>
                      <a:pt x="824" y="158"/>
                    </a:lnTo>
                    <a:lnTo>
                      <a:pt x="822" y="162"/>
                    </a:lnTo>
                    <a:lnTo>
                      <a:pt x="818" y="164"/>
                    </a:lnTo>
                    <a:lnTo>
                      <a:pt x="816" y="165"/>
                    </a:lnTo>
                    <a:lnTo>
                      <a:pt x="809" y="164"/>
                    </a:lnTo>
                    <a:lnTo>
                      <a:pt x="806" y="165"/>
                    </a:lnTo>
                    <a:lnTo>
                      <a:pt x="802" y="163"/>
                    </a:lnTo>
                    <a:lnTo>
                      <a:pt x="790" y="163"/>
                    </a:lnTo>
                    <a:lnTo>
                      <a:pt x="785" y="162"/>
                    </a:lnTo>
                    <a:lnTo>
                      <a:pt x="780" y="162"/>
                    </a:lnTo>
                    <a:lnTo>
                      <a:pt x="765" y="153"/>
                    </a:lnTo>
                    <a:lnTo>
                      <a:pt x="755" y="151"/>
                    </a:lnTo>
                    <a:lnTo>
                      <a:pt x="737" y="143"/>
                    </a:lnTo>
                    <a:lnTo>
                      <a:pt x="732" y="146"/>
                    </a:lnTo>
                    <a:lnTo>
                      <a:pt x="728" y="149"/>
                    </a:lnTo>
                    <a:lnTo>
                      <a:pt x="721" y="148"/>
                    </a:lnTo>
                    <a:lnTo>
                      <a:pt x="717" y="149"/>
                    </a:lnTo>
                    <a:lnTo>
                      <a:pt x="716" y="152"/>
                    </a:lnTo>
                    <a:lnTo>
                      <a:pt x="715" y="160"/>
                    </a:lnTo>
                    <a:lnTo>
                      <a:pt x="707" y="174"/>
                    </a:lnTo>
                    <a:lnTo>
                      <a:pt x="707" y="176"/>
                    </a:lnTo>
                    <a:lnTo>
                      <a:pt x="716" y="176"/>
                    </a:lnTo>
                    <a:lnTo>
                      <a:pt x="718" y="181"/>
                    </a:lnTo>
                    <a:lnTo>
                      <a:pt x="718" y="185"/>
                    </a:lnTo>
                    <a:lnTo>
                      <a:pt x="714" y="187"/>
                    </a:lnTo>
                    <a:lnTo>
                      <a:pt x="712" y="189"/>
                    </a:lnTo>
                    <a:lnTo>
                      <a:pt x="712" y="192"/>
                    </a:lnTo>
                    <a:lnTo>
                      <a:pt x="715" y="196"/>
                    </a:lnTo>
                    <a:lnTo>
                      <a:pt x="717" y="197"/>
                    </a:lnTo>
                    <a:lnTo>
                      <a:pt x="728" y="196"/>
                    </a:lnTo>
                    <a:lnTo>
                      <a:pt x="731" y="199"/>
                    </a:lnTo>
                    <a:lnTo>
                      <a:pt x="732" y="202"/>
                    </a:lnTo>
                    <a:lnTo>
                      <a:pt x="732" y="203"/>
                    </a:lnTo>
                    <a:lnTo>
                      <a:pt x="727" y="208"/>
                    </a:lnTo>
                    <a:lnTo>
                      <a:pt x="721" y="211"/>
                    </a:lnTo>
                    <a:lnTo>
                      <a:pt x="720" y="217"/>
                    </a:lnTo>
                    <a:lnTo>
                      <a:pt x="732" y="228"/>
                    </a:lnTo>
                    <a:lnTo>
                      <a:pt x="732" y="234"/>
                    </a:lnTo>
                    <a:lnTo>
                      <a:pt x="731" y="239"/>
                    </a:lnTo>
                    <a:lnTo>
                      <a:pt x="717" y="248"/>
                    </a:lnTo>
                    <a:lnTo>
                      <a:pt x="716" y="251"/>
                    </a:lnTo>
                    <a:lnTo>
                      <a:pt x="725" y="255"/>
                    </a:lnTo>
                    <a:lnTo>
                      <a:pt x="728" y="264"/>
                    </a:lnTo>
                    <a:lnTo>
                      <a:pt x="738" y="270"/>
                    </a:lnTo>
                    <a:lnTo>
                      <a:pt x="737" y="277"/>
                    </a:lnTo>
                    <a:lnTo>
                      <a:pt x="744" y="278"/>
                    </a:lnTo>
                    <a:lnTo>
                      <a:pt x="747" y="282"/>
                    </a:lnTo>
                    <a:lnTo>
                      <a:pt x="753" y="280"/>
                    </a:lnTo>
                    <a:lnTo>
                      <a:pt x="758" y="281"/>
                    </a:lnTo>
                    <a:lnTo>
                      <a:pt x="758" y="286"/>
                    </a:lnTo>
                    <a:lnTo>
                      <a:pt x="757" y="292"/>
                    </a:lnTo>
                    <a:lnTo>
                      <a:pt x="760" y="299"/>
                    </a:lnTo>
                    <a:lnTo>
                      <a:pt x="761" y="300"/>
                    </a:lnTo>
                    <a:lnTo>
                      <a:pt x="779" y="302"/>
                    </a:lnTo>
                    <a:lnTo>
                      <a:pt x="784" y="305"/>
                    </a:lnTo>
                    <a:lnTo>
                      <a:pt x="789" y="304"/>
                    </a:lnTo>
                    <a:lnTo>
                      <a:pt x="795" y="312"/>
                    </a:lnTo>
                    <a:lnTo>
                      <a:pt x="793" y="316"/>
                    </a:lnTo>
                    <a:lnTo>
                      <a:pt x="796" y="320"/>
                    </a:lnTo>
                    <a:lnTo>
                      <a:pt x="791" y="325"/>
                    </a:lnTo>
                    <a:lnTo>
                      <a:pt x="789" y="329"/>
                    </a:lnTo>
                    <a:lnTo>
                      <a:pt x="781" y="330"/>
                    </a:lnTo>
                    <a:lnTo>
                      <a:pt x="777" y="330"/>
                    </a:lnTo>
                    <a:lnTo>
                      <a:pt x="775" y="329"/>
                    </a:lnTo>
                    <a:lnTo>
                      <a:pt x="770" y="330"/>
                    </a:lnTo>
                    <a:lnTo>
                      <a:pt x="768" y="332"/>
                    </a:lnTo>
                    <a:lnTo>
                      <a:pt x="757" y="337"/>
                    </a:lnTo>
                    <a:lnTo>
                      <a:pt x="753" y="345"/>
                    </a:lnTo>
                    <a:lnTo>
                      <a:pt x="752" y="356"/>
                    </a:lnTo>
                    <a:lnTo>
                      <a:pt x="757" y="362"/>
                    </a:lnTo>
                    <a:lnTo>
                      <a:pt x="755" y="367"/>
                    </a:lnTo>
                    <a:lnTo>
                      <a:pt x="758" y="368"/>
                    </a:lnTo>
                    <a:lnTo>
                      <a:pt x="759" y="371"/>
                    </a:lnTo>
                    <a:lnTo>
                      <a:pt x="758" y="374"/>
                    </a:lnTo>
                    <a:lnTo>
                      <a:pt x="753" y="378"/>
                    </a:lnTo>
                    <a:lnTo>
                      <a:pt x="752" y="384"/>
                    </a:lnTo>
                    <a:lnTo>
                      <a:pt x="752" y="386"/>
                    </a:lnTo>
                    <a:lnTo>
                      <a:pt x="754" y="388"/>
                    </a:lnTo>
                    <a:lnTo>
                      <a:pt x="764" y="388"/>
                    </a:lnTo>
                    <a:lnTo>
                      <a:pt x="766" y="394"/>
                    </a:lnTo>
                    <a:lnTo>
                      <a:pt x="764" y="396"/>
                    </a:lnTo>
                    <a:lnTo>
                      <a:pt x="760" y="398"/>
                    </a:lnTo>
                    <a:lnTo>
                      <a:pt x="757" y="396"/>
                    </a:lnTo>
                    <a:lnTo>
                      <a:pt x="754" y="394"/>
                    </a:lnTo>
                    <a:lnTo>
                      <a:pt x="752" y="401"/>
                    </a:lnTo>
                    <a:lnTo>
                      <a:pt x="738" y="406"/>
                    </a:lnTo>
                    <a:lnTo>
                      <a:pt x="726" y="422"/>
                    </a:lnTo>
                    <a:lnTo>
                      <a:pt x="721" y="425"/>
                    </a:lnTo>
                    <a:lnTo>
                      <a:pt x="716" y="431"/>
                    </a:lnTo>
                    <a:lnTo>
                      <a:pt x="712" y="436"/>
                    </a:lnTo>
                    <a:lnTo>
                      <a:pt x="711" y="442"/>
                    </a:lnTo>
                    <a:lnTo>
                      <a:pt x="712" y="450"/>
                    </a:lnTo>
                    <a:lnTo>
                      <a:pt x="709" y="458"/>
                    </a:lnTo>
                    <a:lnTo>
                      <a:pt x="700" y="463"/>
                    </a:lnTo>
                    <a:lnTo>
                      <a:pt x="693" y="463"/>
                    </a:lnTo>
                    <a:lnTo>
                      <a:pt x="687" y="468"/>
                    </a:lnTo>
                    <a:lnTo>
                      <a:pt x="682" y="476"/>
                    </a:lnTo>
                    <a:lnTo>
                      <a:pt x="678" y="487"/>
                    </a:lnTo>
                    <a:lnTo>
                      <a:pt x="672" y="498"/>
                    </a:lnTo>
                    <a:lnTo>
                      <a:pt x="657" y="520"/>
                    </a:lnTo>
                    <a:lnTo>
                      <a:pt x="651" y="527"/>
                    </a:lnTo>
                    <a:lnTo>
                      <a:pt x="639" y="534"/>
                    </a:lnTo>
                    <a:lnTo>
                      <a:pt x="628" y="544"/>
                    </a:lnTo>
                    <a:lnTo>
                      <a:pt x="624" y="549"/>
                    </a:lnTo>
                    <a:lnTo>
                      <a:pt x="614" y="565"/>
                    </a:lnTo>
                    <a:lnTo>
                      <a:pt x="607" y="574"/>
                    </a:lnTo>
                    <a:lnTo>
                      <a:pt x="599" y="589"/>
                    </a:lnTo>
                    <a:lnTo>
                      <a:pt x="594" y="592"/>
                    </a:lnTo>
                    <a:lnTo>
                      <a:pt x="590" y="593"/>
                    </a:lnTo>
                    <a:lnTo>
                      <a:pt x="567" y="593"/>
                    </a:lnTo>
                    <a:lnTo>
                      <a:pt x="564" y="594"/>
                    </a:lnTo>
                    <a:lnTo>
                      <a:pt x="556" y="597"/>
                    </a:lnTo>
                    <a:lnTo>
                      <a:pt x="551" y="603"/>
                    </a:lnTo>
                    <a:lnTo>
                      <a:pt x="547" y="604"/>
                    </a:lnTo>
                    <a:lnTo>
                      <a:pt x="544" y="603"/>
                    </a:lnTo>
                    <a:lnTo>
                      <a:pt x="542" y="598"/>
                    </a:lnTo>
                    <a:lnTo>
                      <a:pt x="534" y="584"/>
                    </a:lnTo>
                    <a:lnTo>
                      <a:pt x="531" y="582"/>
                    </a:lnTo>
                    <a:lnTo>
                      <a:pt x="527" y="583"/>
                    </a:lnTo>
                    <a:lnTo>
                      <a:pt x="517" y="592"/>
                    </a:lnTo>
                    <a:lnTo>
                      <a:pt x="513" y="598"/>
                    </a:lnTo>
                    <a:lnTo>
                      <a:pt x="502" y="608"/>
                    </a:lnTo>
                    <a:lnTo>
                      <a:pt x="488" y="626"/>
                    </a:lnTo>
                    <a:lnTo>
                      <a:pt x="480" y="633"/>
                    </a:lnTo>
                    <a:lnTo>
                      <a:pt x="478" y="640"/>
                    </a:lnTo>
                    <a:lnTo>
                      <a:pt x="474" y="658"/>
                    </a:lnTo>
                    <a:lnTo>
                      <a:pt x="474" y="663"/>
                    </a:lnTo>
                    <a:lnTo>
                      <a:pt x="476" y="668"/>
                    </a:lnTo>
                    <a:lnTo>
                      <a:pt x="483" y="671"/>
                    </a:lnTo>
                    <a:lnTo>
                      <a:pt x="489" y="670"/>
                    </a:lnTo>
                    <a:lnTo>
                      <a:pt x="496" y="673"/>
                    </a:lnTo>
                    <a:lnTo>
                      <a:pt x="506" y="673"/>
                    </a:lnTo>
                    <a:lnTo>
                      <a:pt x="508" y="674"/>
                    </a:lnTo>
                    <a:lnTo>
                      <a:pt x="512" y="678"/>
                    </a:lnTo>
                    <a:lnTo>
                      <a:pt x="513" y="681"/>
                    </a:lnTo>
                    <a:lnTo>
                      <a:pt x="513" y="686"/>
                    </a:lnTo>
                    <a:lnTo>
                      <a:pt x="507" y="706"/>
                    </a:lnTo>
                    <a:lnTo>
                      <a:pt x="507" y="711"/>
                    </a:lnTo>
                    <a:lnTo>
                      <a:pt x="508" y="716"/>
                    </a:lnTo>
                    <a:lnTo>
                      <a:pt x="518" y="727"/>
                    </a:lnTo>
                    <a:lnTo>
                      <a:pt x="522" y="728"/>
                    </a:lnTo>
                    <a:lnTo>
                      <a:pt x="532" y="724"/>
                    </a:lnTo>
                    <a:lnTo>
                      <a:pt x="534" y="725"/>
                    </a:lnTo>
                    <a:lnTo>
                      <a:pt x="537" y="728"/>
                    </a:lnTo>
                    <a:lnTo>
                      <a:pt x="537" y="739"/>
                    </a:lnTo>
                    <a:lnTo>
                      <a:pt x="538" y="748"/>
                    </a:lnTo>
                    <a:lnTo>
                      <a:pt x="543" y="755"/>
                    </a:lnTo>
                    <a:lnTo>
                      <a:pt x="545" y="762"/>
                    </a:lnTo>
                    <a:lnTo>
                      <a:pt x="550" y="768"/>
                    </a:lnTo>
                    <a:lnTo>
                      <a:pt x="555" y="773"/>
                    </a:lnTo>
                    <a:lnTo>
                      <a:pt x="555" y="776"/>
                    </a:lnTo>
                    <a:lnTo>
                      <a:pt x="559" y="781"/>
                    </a:lnTo>
                    <a:lnTo>
                      <a:pt x="560" y="784"/>
                    </a:lnTo>
                    <a:lnTo>
                      <a:pt x="555" y="786"/>
                    </a:lnTo>
                    <a:lnTo>
                      <a:pt x="555" y="788"/>
                    </a:lnTo>
                    <a:lnTo>
                      <a:pt x="555" y="798"/>
                    </a:lnTo>
                    <a:lnTo>
                      <a:pt x="554" y="802"/>
                    </a:lnTo>
                    <a:lnTo>
                      <a:pt x="561" y="803"/>
                    </a:lnTo>
                    <a:lnTo>
                      <a:pt x="561" y="805"/>
                    </a:lnTo>
                    <a:lnTo>
                      <a:pt x="554" y="805"/>
                    </a:lnTo>
                    <a:lnTo>
                      <a:pt x="549" y="809"/>
                    </a:lnTo>
                    <a:lnTo>
                      <a:pt x="549" y="811"/>
                    </a:lnTo>
                    <a:lnTo>
                      <a:pt x="545" y="813"/>
                    </a:lnTo>
                    <a:lnTo>
                      <a:pt x="542" y="813"/>
                    </a:lnTo>
                    <a:lnTo>
                      <a:pt x="535" y="813"/>
                    </a:lnTo>
                    <a:lnTo>
                      <a:pt x="534" y="810"/>
                    </a:lnTo>
                    <a:lnTo>
                      <a:pt x="533" y="809"/>
                    </a:lnTo>
                    <a:lnTo>
                      <a:pt x="534" y="803"/>
                    </a:lnTo>
                    <a:lnTo>
                      <a:pt x="534" y="802"/>
                    </a:lnTo>
                    <a:lnTo>
                      <a:pt x="527" y="800"/>
                    </a:lnTo>
                    <a:lnTo>
                      <a:pt x="522" y="804"/>
                    </a:lnTo>
                    <a:lnTo>
                      <a:pt x="510" y="808"/>
                    </a:lnTo>
                    <a:lnTo>
                      <a:pt x="506" y="815"/>
                    </a:lnTo>
                    <a:lnTo>
                      <a:pt x="505" y="816"/>
                    </a:lnTo>
                    <a:lnTo>
                      <a:pt x="502" y="816"/>
                    </a:lnTo>
                    <a:lnTo>
                      <a:pt x="488" y="816"/>
                    </a:lnTo>
                    <a:lnTo>
                      <a:pt x="479" y="809"/>
                    </a:lnTo>
                    <a:lnTo>
                      <a:pt x="473" y="811"/>
                    </a:lnTo>
                    <a:lnTo>
                      <a:pt x="469" y="809"/>
                    </a:lnTo>
                    <a:lnTo>
                      <a:pt x="457" y="810"/>
                    </a:lnTo>
                    <a:lnTo>
                      <a:pt x="453" y="809"/>
                    </a:lnTo>
                    <a:lnTo>
                      <a:pt x="447" y="810"/>
                    </a:lnTo>
                    <a:lnTo>
                      <a:pt x="443" y="809"/>
                    </a:lnTo>
                    <a:lnTo>
                      <a:pt x="442" y="810"/>
                    </a:lnTo>
                    <a:lnTo>
                      <a:pt x="441" y="810"/>
                    </a:lnTo>
                    <a:lnTo>
                      <a:pt x="438" y="805"/>
                    </a:lnTo>
                    <a:lnTo>
                      <a:pt x="436" y="805"/>
                    </a:lnTo>
                    <a:lnTo>
                      <a:pt x="435" y="810"/>
                    </a:lnTo>
                    <a:lnTo>
                      <a:pt x="435" y="827"/>
                    </a:lnTo>
                    <a:lnTo>
                      <a:pt x="415" y="827"/>
                    </a:lnTo>
                    <a:lnTo>
                      <a:pt x="411" y="829"/>
                    </a:lnTo>
                    <a:lnTo>
                      <a:pt x="406" y="827"/>
                    </a:lnTo>
                    <a:lnTo>
                      <a:pt x="404" y="832"/>
                    </a:lnTo>
                    <a:lnTo>
                      <a:pt x="402" y="834"/>
                    </a:lnTo>
                    <a:lnTo>
                      <a:pt x="400" y="837"/>
                    </a:lnTo>
                    <a:lnTo>
                      <a:pt x="395" y="841"/>
                    </a:lnTo>
                    <a:lnTo>
                      <a:pt x="391" y="842"/>
                    </a:lnTo>
                    <a:lnTo>
                      <a:pt x="378" y="837"/>
                    </a:lnTo>
                    <a:lnTo>
                      <a:pt x="367" y="836"/>
                    </a:lnTo>
                    <a:lnTo>
                      <a:pt x="363" y="834"/>
                    </a:lnTo>
                    <a:lnTo>
                      <a:pt x="362" y="827"/>
                    </a:lnTo>
                    <a:lnTo>
                      <a:pt x="360" y="824"/>
                    </a:lnTo>
                    <a:lnTo>
                      <a:pt x="355" y="820"/>
                    </a:lnTo>
                    <a:lnTo>
                      <a:pt x="350" y="808"/>
                    </a:lnTo>
                    <a:lnTo>
                      <a:pt x="344" y="791"/>
                    </a:lnTo>
                    <a:lnTo>
                      <a:pt x="344" y="784"/>
                    </a:lnTo>
                    <a:lnTo>
                      <a:pt x="340" y="784"/>
                    </a:lnTo>
                    <a:lnTo>
                      <a:pt x="329" y="781"/>
                    </a:lnTo>
                    <a:lnTo>
                      <a:pt x="322" y="776"/>
                    </a:lnTo>
                    <a:lnTo>
                      <a:pt x="318" y="756"/>
                    </a:lnTo>
                    <a:lnTo>
                      <a:pt x="316" y="751"/>
                    </a:lnTo>
                    <a:lnTo>
                      <a:pt x="308" y="745"/>
                    </a:lnTo>
                    <a:lnTo>
                      <a:pt x="302" y="741"/>
                    </a:lnTo>
                    <a:lnTo>
                      <a:pt x="292" y="740"/>
                    </a:lnTo>
                    <a:lnTo>
                      <a:pt x="271" y="744"/>
                    </a:lnTo>
                    <a:lnTo>
                      <a:pt x="250" y="744"/>
                    </a:lnTo>
                    <a:lnTo>
                      <a:pt x="236" y="750"/>
                    </a:lnTo>
                    <a:lnTo>
                      <a:pt x="227" y="748"/>
                    </a:lnTo>
                    <a:lnTo>
                      <a:pt x="212" y="746"/>
                    </a:lnTo>
                    <a:lnTo>
                      <a:pt x="205" y="759"/>
                    </a:lnTo>
                    <a:lnTo>
                      <a:pt x="200" y="753"/>
                    </a:lnTo>
                    <a:lnTo>
                      <a:pt x="188" y="753"/>
                    </a:lnTo>
                    <a:lnTo>
                      <a:pt x="178" y="745"/>
                    </a:lnTo>
                    <a:lnTo>
                      <a:pt x="164" y="746"/>
                    </a:lnTo>
                    <a:lnTo>
                      <a:pt x="151" y="745"/>
                    </a:lnTo>
                    <a:lnTo>
                      <a:pt x="144" y="753"/>
                    </a:lnTo>
                    <a:lnTo>
                      <a:pt x="130" y="755"/>
                    </a:lnTo>
                    <a:lnTo>
                      <a:pt x="102" y="751"/>
                    </a:lnTo>
                    <a:lnTo>
                      <a:pt x="91" y="751"/>
                    </a:lnTo>
                    <a:lnTo>
                      <a:pt x="76" y="759"/>
                    </a:lnTo>
                    <a:lnTo>
                      <a:pt x="69" y="755"/>
                    </a:lnTo>
                    <a:lnTo>
                      <a:pt x="61" y="761"/>
                    </a:lnTo>
                    <a:lnTo>
                      <a:pt x="53" y="761"/>
                    </a:lnTo>
                    <a:lnTo>
                      <a:pt x="48" y="765"/>
                    </a:lnTo>
                    <a:lnTo>
                      <a:pt x="45" y="759"/>
                    </a:lnTo>
                    <a:lnTo>
                      <a:pt x="42" y="75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2" name="Bhutan"/>
              <p:cNvSpPr>
                <a:spLocks noChangeAspect="1"/>
              </p:cNvSpPr>
              <p:nvPr>
                <p:custDataLst>
                  <p:tags r:id="rId309"/>
                </p:custDataLst>
              </p:nvPr>
            </p:nvSpPr>
            <p:spPr bwMode="gray">
              <a:xfrm>
                <a:off x="3489" y="2165"/>
                <a:ext cx="37" cy="20"/>
              </a:xfrm>
              <a:custGeom>
                <a:avLst/>
                <a:gdLst/>
                <a:ahLst/>
                <a:cxnLst>
                  <a:cxn ang="0">
                    <a:pos x="164" y="32"/>
                  </a:cxn>
                  <a:cxn ang="0">
                    <a:pos x="164" y="30"/>
                  </a:cxn>
                  <a:cxn ang="0">
                    <a:pos x="150" y="22"/>
                  </a:cxn>
                  <a:cxn ang="0">
                    <a:pos x="148" y="18"/>
                  </a:cxn>
                  <a:cxn ang="0">
                    <a:pos x="145" y="17"/>
                  </a:cxn>
                  <a:cxn ang="0">
                    <a:pos x="130" y="21"/>
                  </a:cxn>
                  <a:cxn ang="0">
                    <a:pos x="126" y="21"/>
                  </a:cxn>
                  <a:cxn ang="0">
                    <a:pos x="112" y="16"/>
                  </a:cxn>
                  <a:cxn ang="0">
                    <a:pos x="96" y="15"/>
                  </a:cxn>
                  <a:cxn ang="0">
                    <a:pos x="89" y="10"/>
                  </a:cxn>
                  <a:cxn ang="0">
                    <a:pos x="89" y="7"/>
                  </a:cxn>
                  <a:cxn ang="0">
                    <a:pos x="85" y="1"/>
                  </a:cxn>
                  <a:cxn ang="0">
                    <a:pos x="79" y="0"/>
                  </a:cxn>
                  <a:cxn ang="0">
                    <a:pos x="65" y="1"/>
                  </a:cxn>
                  <a:cxn ang="0">
                    <a:pos x="53" y="6"/>
                  </a:cxn>
                  <a:cxn ang="0">
                    <a:pos x="42" y="17"/>
                  </a:cxn>
                  <a:cxn ang="0">
                    <a:pos x="32" y="33"/>
                  </a:cxn>
                  <a:cxn ang="0">
                    <a:pos x="11" y="53"/>
                  </a:cxn>
                  <a:cxn ang="0">
                    <a:pos x="10" y="59"/>
                  </a:cxn>
                  <a:cxn ang="0">
                    <a:pos x="9" y="63"/>
                  </a:cxn>
                  <a:cxn ang="0">
                    <a:pos x="0" y="71"/>
                  </a:cxn>
                  <a:cxn ang="0">
                    <a:pos x="0" y="76"/>
                  </a:cxn>
                  <a:cxn ang="0">
                    <a:pos x="5" y="77"/>
                  </a:cxn>
                  <a:cxn ang="0">
                    <a:pos x="6" y="80"/>
                  </a:cxn>
                  <a:cxn ang="0">
                    <a:pos x="6" y="87"/>
                  </a:cxn>
                  <a:cxn ang="0">
                    <a:pos x="8" y="88"/>
                  </a:cxn>
                  <a:cxn ang="0">
                    <a:pos x="11" y="88"/>
                  </a:cxn>
                  <a:cxn ang="0">
                    <a:pos x="15" y="91"/>
                  </a:cxn>
                  <a:cxn ang="0">
                    <a:pos x="26" y="95"/>
                  </a:cxn>
                  <a:cxn ang="0">
                    <a:pos x="49" y="98"/>
                  </a:cxn>
                  <a:cxn ang="0">
                    <a:pos x="68" y="98"/>
                  </a:cxn>
                  <a:cxn ang="0">
                    <a:pos x="91" y="90"/>
                  </a:cxn>
                  <a:cxn ang="0">
                    <a:pos x="96" y="90"/>
                  </a:cxn>
                  <a:cxn ang="0">
                    <a:pos x="106" y="93"/>
                  </a:cxn>
                  <a:cxn ang="0">
                    <a:pos x="115" y="93"/>
                  </a:cxn>
                  <a:cxn ang="0">
                    <a:pos x="123" y="92"/>
                  </a:cxn>
                  <a:cxn ang="0">
                    <a:pos x="144" y="88"/>
                  </a:cxn>
                  <a:cxn ang="0">
                    <a:pos x="158" y="87"/>
                  </a:cxn>
                  <a:cxn ang="0">
                    <a:pos x="178" y="84"/>
                  </a:cxn>
                  <a:cxn ang="0">
                    <a:pos x="186" y="80"/>
                  </a:cxn>
                  <a:cxn ang="0">
                    <a:pos x="186" y="77"/>
                  </a:cxn>
                  <a:cxn ang="0">
                    <a:pos x="185" y="73"/>
                  </a:cxn>
                  <a:cxn ang="0">
                    <a:pos x="187" y="59"/>
                  </a:cxn>
                  <a:cxn ang="0">
                    <a:pos x="181" y="53"/>
                  </a:cxn>
                  <a:cxn ang="0">
                    <a:pos x="162" y="45"/>
                  </a:cxn>
                  <a:cxn ang="0">
                    <a:pos x="161" y="43"/>
                  </a:cxn>
                  <a:cxn ang="0">
                    <a:pos x="161" y="41"/>
                  </a:cxn>
                  <a:cxn ang="0">
                    <a:pos x="164" y="34"/>
                  </a:cxn>
                  <a:cxn ang="0">
                    <a:pos x="164" y="32"/>
                  </a:cxn>
                </a:cxnLst>
                <a:rect l="0" t="0" r="r" b="b"/>
                <a:pathLst>
                  <a:path w="187" h="98">
                    <a:moveTo>
                      <a:pt x="164" y="32"/>
                    </a:moveTo>
                    <a:lnTo>
                      <a:pt x="164" y="30"/>
                    </a:lnTo>
                    <a:lnTo>
                      <a:pt x="150" y="22"/>
                    </a:lnTo>
                    <a:lnTo>
                      <a:pt x="148" y="18"/>
                    </a:lnTo>
                    <a:lnTo>
                      <a:pt x="145" y="17"/>
                    </a:lnTo>
                    <a:lnTo>
                      <a:pt x="130" y="21"/>
                    </a:lnTo>
                    <a:lnTo>
                      <a:pt x="126" y="21"/>
                    </a:lnTo>
                    <a:lnTo>
                      <a:pt x="112" y="16"/>
                    </a:lnTo>
                    <a:lnTo>
                      <a:pt x="96" y="15"/>
                    </a:lnTo>
                    <a:lnTo>
                      <a:pt x="89" y="10"/>
                    </a:lnTo>
                    <a:lnTo>
                      <a:pt x="89" y="7"/>
                    </a:lnTo>
                    <a:lnTo>
                      <a:pt x="85" y="1"/>
                    </a:lnTo>
                    <a:lnTo>
                      <a:pt x="79" y="0"/>
                    </a:lnTo>
                    <a:lnTo>
                      <a:pt x="65" y="1"/>
                    </a:lnTo>
                    <a:lnTo>
                      <a:pt x="53" y="6"/>
                    </a:lnTo>
                    <a:lnTo>
                      <a:pt x="42" y="17"/>
                    </a:lnTo>
                    <a:lnTo>
                      <a:pt x="32" y="33"/>
                    </a:lnTo>
                    <a:lnTo>
                      <a:pt x="11" y="53"/>
                    </a:lnTo>
                    <a:lnTo>
                      <a:pt x="10" y="59"/>
                    </a:lnTo>
                    <a:lnTo>
                      <a:pt x="9" y="63"/>
                    </a:lnTo>
                    <a:lnTo>
                      <a:pt x="0" y="71"/>
                    </a:lnTo>
                    <a:lnTo>
                      <a:pt x="0" y="76"/>
                    </a:lnTo>
                    <a:lnTo>
                      <a:pt x="5" y="77"/>
                    </a:lnTo>
                    <a:lnTo>
                      <a:pt x="6" y="80"/>
                    </a:lnTo>
                    <a:lnTo>
                      <a:pt x="6" y="87"/>
                    </a:lnTo>
                    <a:lnTo>
                      <a:pt x="8" y="88"/>
                    </a:lnTo>
                    <a:lnTo>
                      <a:pt x="11" y="88"/>
                    </a:lnTo>
                    <a:lnTo>
                      <a:pt x="15" y="91"/>
                    </a:lnTo>
                    <a:lnTo>
                      <a:pt x="26" y="95"/>
                    </a:lnTo>
                    <a:lnTo>
                      <a:pt x="49" y="98"/>
                    </a:lnTo>
                    <a:lnTo>
                      <a:pt x="68" y="98"/>
                    </a:lnTo>
                    <a:lnTo>
                      <a:pt x="91" y="90"/>
                    </a:lnTo>
                    <a:lnTo>
                      <a:pt x="96" y="90"/>
                    </a:lnTo>
                    <a:lnTo>
                      <a:pt x="106" y="93"/>
                    </a:lnTo>
                    <a:lnTo>
                      <a:pt x="115" y="93"/>
                    </a:lnTo>
                    <a:lnTo>
                      <a:pt x="123" y="92"/>
                    </a:lnTo>
                    <a:lnTo>
                      <a:pt x="144" y="88"/>
                    </a:lnTo>
                    <a:lnTo>
                      <a:pt x="158" y="87"/>
                    </a:lnTo>
                    <a:lnTo>
                      <a:pt x="178" y="84"/>
                    </a:lnTo>
                    <a:lnTo>
                      <a:pt x="186" y="80"/>
                    </a:lnTo>
                    <a:lnTo>
                      <a:pt x="186" y="77"/>
                    </a:lnTo>
                    <a:lnTo>
                      <a:pt x="185" y="73"/>
                    </a:lnTo>
                    <a:lnTo>
                      <a:pt x="187" y="59"/>
                    </a:lnTo>
                    <a:lnTo>
                      <a:pt x="181" y="53"/>
                    </a:lnTo>
                    <a:lnTo>
                      <a:pt x="162" y="45"/>
                    </a:lnTo>
                    <a:lnTo>
                      <a:pt x="161" y="43"/>
                    </a:lnTo>
                    <a:lnTo>
                      <a:pt x="161" y="41"/>
                    </a:lnTo>
                    <a:lnTo>
                      <a:pt x="164" y="34"/>
                    </a:lnTo>
                    <a:lnTo>
                      <a:pt x="164" y="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3" name="Nepal"/>
              <p:cNvSpPr>
                <a:spLocks noChangeAspect="1"/>
              </p:cNvSpPr>
              <p:nvPr>
                <p:custDataLst>
                  <p:tags r:id="rId310"/>
                </p:custDataLst>
              </p:nvPr>
            </p:nvSpPr>
            <p:spPr bwMode="gray">
              <a:xfrm>
                <a:off x="3394" y="2140"/>
                <a:ext cx="88" cy="49"/>
              </a:xfrm>
              <a:custGeom>
                <a:avLst/>
                <a:gdLst/>
                <a:ahLst/>
                <a:cxnLst>
                  <a:cxn ang="0">
                    <a:pos x="432" y="170"/>
                  </a:cxn>
                  <a:cxn ang="0">
                    <a:pos x="428" y="203"/>
                  </a:cxn>
                  <a:cxn ang="0">
                    <a:pos x="441" y="221"/>
                  </a:cxn>
                  <a:cxn ang="0">
                    <a:pos x="434" y="242"/>
                  </a:cxn>
                  <a:cxn ang="0">
                    <a:pos x="396" y="242"/>
                  </a:cxn>
                  <a:cxn ang="0">
                    <a:pos x="368" y="238"/>
                  </a:cxn>
                  <a:cxn ang="0">
                    <a:pos x="308" y="224"/>
                  </a:cxn>
                  <a:cxn ang="0">
                    <a:pos x="267" y="218"/>
                  </a:cxn>
                  <a:cxn ang="0">
                    <a:pos x="239" y="191"/>
                  </a:cxn>
                  <a:cxn ang="0">
                    <a:pos x="211" y="184"/>
                  </a:cxn>
                  <a:cxn ang="0">
                    <a:pos x="192" y="184"/>
                  </a:cxn>
                  <a:cxn ang="0">
                    <a:pos x="168" y="187"/>
                  </a:cxn>
                  <a:cxn ang="0">
                    <a:pos x="136" y="168"/>
                  </a:cxn>
                  <a:cxn ang="0">
                    <a:pos x="114" y="159"/>
                  </a:cxn>
                  <a:cxn ang="0">
                    <a:pos x="83" y="148"/>
                  </a:cxn>
                  <a:cxn ang="0">
                    <a:pos x="57" y="124"/>
                  </a:cxn>
                  <a:cxn ang="0">
                    <a:pos x="32" y="109"/>
                  </a:cxn>
                  <a:cxn ang="0">
                    <a:pos x="23" y="113"/>
                  </a:cxn>
                  <a:cxn ang="0">
                    <a:pos x="12" y="98"/>
                  </a:cxn>
                  <a:cxn ang="0">
                    <a:pos x="1" y="87"/>
                  </a:cxn>
                  <a:cxn ang="0">
                    <a:pos x="11" y="71"/>
                  </a:cxn>
                  <a:cxn ang="0">
                    <a:pos x="14" y="51"/>
                  </a:cxn>
                  <a:cxn ang="0">
                    <a:pos x="17" y="34"/>
                  </a:cxn>
                  <a:cxn ang="0">
                    <a:pos x="30" y="22"/>
                  </a:cxn>
                  <a:cxn ang="0">
                    <a:pos x="43" y="6"/>
                  </a:cxn>
                  <a:cxn ang="0">
                    <a:pos x="54" y="4"/>
                  </a:cxn>
                  <a:cxn ang="0">
                    <a:pos x="67" y="18"/>
                  </a:cxn>
                  <a:cxn ang="0">
                    <a:pos x="71" y="8"/>
                  </a:cxn>
                  <a:cxn ang="0">
                    <a:pos x="73" y="0"/>
                  </a:cxn>
                  <a:cxn ang="0">
                    <a:pos x="110" y="7"/>
                  </a:cxn>
                  <a:cxn ang="0">
                    <a:pos x="141" y="24"/>
                  </a:cxn>
                  <a:cxn ang="0">
                    <a:pos x="174" y="46"/>
                  </a:cxn>
                  <a:cxn ang="0">
                    <a:pos x="186" y="77"/>
                  </a:cxn>
                  <a:cxn ang="0">
                    <a:pos x="200" y="74"/>
                  </a:cxn>
                  <a:cxn ang="0">
                    <a:pos x="207" y="67"/>
                  </a:cxn>
                  <a:cxn ang="0">
                    <a:pos x="221" y="63"/>
                  </a:cxn>
                  <a:cxn ang="0">
                    <a:pos x="226" y="73"/>
                  </a:cxn>
                  <a:cxn ang="0">
                    <a:pos x="226" y="95"/>
                  </a:cxn>
                  <a:cxn ang="0">
                    <a:pos x="235" y="101"/>
                  </a:cxn>
                  <a:cxn ang="0">
                    <a:pos x="251" y="104"/>
                  </a:cxn>
                  <a:cxn ang="0">
                    <a:pos x="272" y="106"/>
                  </a:cxn>
                  <a:cxn ang="0">
                    <a:pos x="277" y="117"/>
                  </a:cxn>
                  <a:cxn ang="0">
                    <a:pos x="301" y="131"/>
                  </a:cxn>
                  <a:cxn ang="0">
                    <a:pos x="315" y="142"/>
                  </a:cxn>
                  <a:cxn ang="0">
                    <a:pos x="329" y="149"/>
                  </a:cxn>
                  <a:cxn ang="0">
                    <a:pos x="344" y="149"/>
                  </a:cxn>
                  <a:cxn ang="0">
                    <a:pos x="356" y="144"/>
                  </a:cxn>
                  <a:cxn ang="0">
                    <a:pos x="377" y="151"/>
                  </a:cxn>
                  <a:cxn ang="0">
                    <a:pos x="398" y="158"/>
                  </a:cxn>
                  <a:cxn ang="0">
                    <a:pos x="422" y="159"/>
                  </a:cxn>
                  <a:cxn ang="0">
                    <a:pos x="439" y="151"/>
                  </a:cxn>
                </a:cxnLst>
                <a:rect l="0" t="0" r="r" b="b"/>
                <a:pathLst>
                  <a:path w="441" h="244">
                    <a:moveTo>
                      <a:pt x="439" y="151"/>
                    </a:moveTo>
                    <a:lnTo>
                      <a:pt x="436" y="158"/>
                    </a:lnTo>
                    <a:lnTo>
                      <a:pt x="432" y="170"/>
                    </a:lnTo>
                    <a:lnTo>
                      <a:pt x="433" y="185"/>
                    </a:lnTo>
                    <a:lnTo>
                      <a:pt x="432" y="199"/>
                    </a:lnTo>
                    <a:lnTo>
                      <a:pt x="428" y="203"/>
                    </a:lnTo>
                    <a:lnTo>
                      <a:pt x="428" y="207"/>
                    </a:lnTo>
                    <a:lnTo>
                      <a:pt x="436" y="211"/>
                    </a:lnTo>
                    <a:lnTo>
                      <a:pt x="441" y="221"/>
                    </a:lnTo>
                    <a:lnTo>
                      <a:pt x="441" y="228"/>
                    </a:lnTo>
                    <a:lnTo>
                      <a:pt x="434" y="239"/>
                    </a:lnTo>
                    <a:lnTo>
                      <a:pt x="434" y="242"/>
                    </a:lnTo>
                    <a:lnTo>
                      <a:pt x="422" y="240"/>
                    </a:lnTo>
                    <a:lnTo>
                      <a:pt x="411" y="243"/>
                    </a:lnTo>
                    <a:lnTo>
                      <a:pt x="396" y="242"/>
                    </a:lnTo>
                    <a:lnTo>
                      <a:pt x="388" y="244"/>
                    </a:lnTo>
                    <a:lnTo>
                      <a:pt x="378" y="239"/>
                    </a:lnTo>
                    <a:lnTo>
                      <a:pt x="368" y="238"/>
                    </a:lnTo>
                    <a:lnTo>
                      <a:pt x="362" y="238"/>
                    </a:lnTo>
                    <a:lnTo>
                      <a:pt x="315" y="230"/>
                    </a:lnTo>
                    <a:lnTo>
                      <a:pt x="308" y="224"/>
                    </a:lnTo>
                    <a:lnTo>
                      <a:pt x="299" y="221"/>
                    </a:lnTo>
                    <a:lnTo>
                      <a:pt x="287" y="222"/>
                    </a:lnTo>
                    <a:lnTo>
                      <a:pt x="267" y="218"/>
                    </a:lnTo>
                    <a:lnTo>
                      <a:pt x="255" y="210"/>
                    </a:lnTo>
                    <a:lnTo>
                      <a:pt x="249" y="205"/>
                    </a:lnTo>
                    <a:lnTo>
                      <a:pt x="239" y="191"/>
                    </a:lnTo>
                    <a:lnTo>
                      <a:pt x="232" y="187"/>
                    </a:lnTo>
                    <a:lnTo>
                      <a:pt x="213" y="184"/>
                    </a:lnTo>
                    <a:lnTo>
                      <a:pt x="211" y="184"/>
                    </a:lnTo>
                    <a:lnTo>
                      <a:pt x="208" y="187"/>
                    </a:lnTo>
                    <a:lnTo>
                      <a:pt x="202" y="186"/>
                    </a:lnTo>
                    <a:lnTo>
                      <a:pt x="192" y="184"/>
                    </a:lnTo>
                    <a:lnTo>
                      <a:pt x="183" y="183"/>
                    </a:lnTo>
                    <a:lnTo>
                      <a:pt x="173" y="187"/>
                    </a:lnTo>
                    <a:lnTo>
                      <a:pt x="168" y="187"/>
                    </a:lnTo>
                    <a:lnTo>
                      <a:pt x="148" y="183"/>
                    </a:lnTo>
                    <a:lnTo>
                      <a:pt x="138" y="170"/>
                    </a:lnTo>
                    <a:lnTo>
                      <a:pt x="136" y="168"/>
                    </a:lnTo>
                    <a:lnTo>
                      <a:pt x="127" y="167"/>
                    </a:lnTo>
                    <a:lnTo>
                      <a:pt x="124" y="167"/>
                    </a:lnTo>
                    <a:lnTo>
                      <a:pt x="114" y="159"/>
                    </a:lnTo>
                    <a:lnTo>
                      <a:pt x="103" y="154"/>
                    </a:lnTo>
                    <a:lnTo>
                      <a:pt x="93" y="153"/>
                    </a:lnTo>
                    <a:lnTo>
                      <a:pt x="83" y="148"/>
                    </a:lnTo>
                    <a:lnTo>
                      <a:pt x="78" y="144"/>
                    </a:lnTo>
                    <a:lnTo>
                      <a:pt x="66" y="130"/>
                    </a:lnTo>
                    <a:lnTo>
                      <a:pt x="57" y="124"/>
                    </a:lnTo>
                    <a:lnTo>
                      <a:pt x="49" y="120"/>
                    </a:lnTo>
                    <a:lnTo>
                      <a:pt x="45" y="116"/>
                    </a:lnTo>
                    <a:lnTo>
                      <a:pt x="32" y="109"/>
                    </a:lnTo>
                    <a:lnTo>
                      <a:pt x="28" y="109"/>
                    </a:lnTo>
                    <a:lnTo>
                      <a:pt x="28" y="113"/>
                    </a:lnTo>
                    <a:lnTo>
                      <a:pt x="23" y="113"/>
                    </a:lnTo>
                    <a:lnTo>
                      <a:pt x="18" y="109"/>
                    </a:lnTo>
                    <a:lnTo>
                      <a:pt x="17" y="103"/>
                    </a:lnTo>
                    <a:lnTo>
                      <a:pt x="12" y="98"/>
                    </a:lnTo>
                    <a:lnTo>
                      <a:pt x="1" y="97"/>
                    </a:lnTo>
                    <a:lnTo>
                      <a:pt x="0" y="94"/>
                    </a:lnTo>
                    <a:lnTo>
                      <a:pt x="1" y="87"/>
                    </a:lnTo>
                    <a:lnTo>
                      <a:pt x="6" y="79"/>
                    </a:lnTo>
                    <a:lnTo>
                      <a:pt x="9" y="78"/>
                    </a:lnTo>
                    <a:lnTo>
                      <a:pt x="11" y="71"/>
                    </a:lnTo>
                    <a:lnTo>
                      <a:pt x="14" y="67"/>
                    </a:lnTo>
                    <a:lnTo>
                      <a:pt x="11" y="58"/>
                    </a:lnTo>
                    <a:lnTo>
                      <a:pt x="14" y="51"/>
                    </a:lnTo>
                    <a:lnTo>
                      <a:pt x="19" y="45"/>
                    </a:lnTo>
                    <a:lnTo>
                      <a:pt x="17" y="38"/>
                    </a:lnTo>
                    <a:lnTo>
                      <a:pt x="17" y="34"/>
                    </a:lnTo>
                    <a:lnTo>
                      <a:pt x="21" y="29"/>
                    </a:lnTo>
                    <a:lnTo>
                      <a:pt x="27" y="29"/>
                    </a:lnTo>
                    <a:lnTo>
                      <a:pt x="30" y="22"/>
                    </a:lnTo>
                    <a:lnTo>
                      <a:pt x="38" y="17"/>
                    </a:lnTo>
                    <a:lnTo>
                      <a:pt x="41" y="11"/>
                    </a:lnTo>
                    <a:lnTo>
                      <a:pt x="43" y="6"/>
                    </a:lnTo>
                    <a:lnTo>
                      <a:pt x="45" y="4"/>
                    </a:lnTo>
                    <a:lnTo>
                      <a:pt x="48" y="7"/>
                    </a:lnTo>
                    <a:lnTo>
                      <a:pt x="54" y="4"/>
                    </a:lnTo>
                    <a:lnTo>
                      <a:pt x="56" y="6"/>
                    </a:lnTo>
                    <a:lnTo>
                      <a:pt x="59" y="11"/>
                    </a:lnTo>
                    <a:lnTo>
                      <a:pt x="67" y="18"/>
                    </a:lnTo>
                    <a:lnTo>
                      <a:pt x="68" y="14"/>
                    </a:lnTo>
                    <a:lnTo>
                      <a:pt x="67" y="12"/>
                    </a:lnTo>
                    <a:lnTo>
                      <a:pt x="71" y="8"/>
                    </a:lnTo>
                    <a:lnTo>
                      <a:pt x="71" y="2"/>
                    </a:lnTo>
                    <a:lnTo>
                      <a:pt x="71" y="1"/>
                    </a:lnTo>
                    <a:lnTo>
                      <a:pt x="73" y="0"/>
                    </a:lnTo>
                    <a:lnTo>
                      <a:pt x="89" y="2"/>
                    </a:lnTo>
                    <a:lnTo>
                      <a:pt x="92" y="3"/>
                    </a:lnTo>
                    <a:lnTo>
                      <a:pt x="110" y="7"/>
                    </a:lnTo>
                    <a:lnTo>
                      <a:pt x="130" y="13"/>
                    </a:lnTo>
                    <a:lnTo>
                      <a:pt x="135" y="15"/>
                    </a:lnTo>
                    <a:lnTo>
                      <a:pt x="141" y="24"/>
                    </a:lnTo>
                    <a:lnTo>
                      <a:pt x="151" y="33"/>
                    </a:lnTo>
                    <a:lnTo>
                      <a:pt x="163" y="36"/>
                    </a:lnTo>
                    <a:lnTo>
                      <a:pt x="174" y="46"/>
                    </a:lnTo>
                    <a:lnTo>
                      <a:pt x="181" y="55"/>
                    </a:lnTo>
                    <a:lnTo>
                      <a:pt x="184" y="72"/>
                    </a:lnTo>
                    <a:lnTo>
                      <a:pt x="186" y="77"/>
                    </a:lnTo>
                    <a:lnTo>
                      <a:pt x="192" y="79"/>
                    </a:lnTo>
                    <a:lnTo>
                      <a:pt x="196" y="79"/>
                    </a:lnTo>
                    <a:lnTo>
                      <a:pt x="200" y="74"/>
                    </a:lnTo>
                    <a:lnTo>
                      <a:pt x="204" y="73"/>
                    </a:lnTo>
                    <a:lnTo>
                      <a:pt x="207" y="70"/>
                    </a:lnTo>
                    <a:lnTo>
                      <a:pt x="207" y="67"/>
                    </a:lnTo>
                    <a:lnTo>
                      <a:pt x="211" y="63"/>
                    </a:lnTo>
                    <a:lnTo>
                      <a:pt x="215" y="65"/>
                    </a:lnTo>
                    <a:lnTo>
                      <a:pt x="221" y="63"/>
                    </a:lnTo>
                    <a:lnTo>
                      <a:pt x="227" y="65"/>
                    </a:lnTo>
                    <a:lnTo>
                      <a:pt x="229" y="67"/>
                    </a:lnTo>
                    <a:lnTo>
                      <a:pt x="226" y="73"/>
                    </a:lnTo>
                    <a:lnTo>
                      <a:pt x="227" y="79"/>
                    </a:lnTo>
                    <a:lnTo>
                      <a:pt x="224" y="92"/>
                    </a:lnTo>
                    <a:lnTo>
                      <a:pt x="226" y="95"/>
                    </a:lnTo>
                    <a:lnTo>
                      <a:pt x="231" y="93"/>
                    </a:lnTo>
                    <a:lnTo>
                      <a:pt x="233" y="98"/>
                    </a:lnTo>
                    <a:lnTo>
                      <a:pt x="235" y="101"/>
                    </a:lnTo>
                    <a:lnTo>
                      <a:pt x="240" y="101"/>
                    </a:lnTo>
                    <a:lnTo>
                      <a:pt x="245" y="105"/>
                    </a:lnTo>
                    <a:lnTo>
                      <a:pt x="251" y="104"/>
                    </a:lnTo>
                    <a:lnTo>
                      <a:pt x="259" y="106"/>
                    </a:lnTo>
                    <a:lnTo>
                      <a:pt x="267" y="108"/>
                    </a:lnTo>
                    <a:lnTo>
                      <a:pt x="272" y="106"/>
                    </a:lnTo>
                    <a:lnTo>
                      <a:pt x="277" y="103"/>
                    </a:lnTo>
                    <a:lnTo>
                      <a:pt x="280" y="104"/>
                    </a:lnTo>
                    <a:lnTo>
                      <a:pt x="277" y="117"/>
                    </a:lnTo>
                    <a:lnTo>
                      <a:pt x="278" y="124"/>
                    </a:lnTo>
                    <a:lnTo>
                      <a:pt x="293" y="133"/>
                    </a:lnTo>
                    <a:lnTo>
                      <a:pt x="301" y="131"/>
                    </a:lnTo>
                    <a:lnTo>
                      <a:pt x="308" y="132"/>
                    </a:lnTo>
                    <a:lnTo>
                      <a:pt x="314" y="138"/>
                    </a:lnTo>
                    <a:lnTo>
                      <a:pt x="315" y="142"/>
                    </a:lnTo>
                    <a:lnTo>
                      <a:pt x="319" y="148"/>
                    </a:lnTo>
                    <a:lnTo>
                      <a:pt x="323" y="151"/>
                    </a:lnTo>
                    <a:lnTo>
                      <a:pt x="329" y="149"/>
                    </a:lnTo>
                    <a:lnTo>
                      <a:pt x="333" y="147"/>
                    </a:lnTo>
                    <a:lnTo>
                      <a:pt x="339" y="151"/>
                    </a:lnTo>
                    <a:lnTo>
                      <a:pt x="344" y="149"/>
                    </a:lnTo>
                    <a:lnTo>
                      <a:pt x="350" y="152"/>
                    </a:lnTo>
                    <a:lnTo>
                      <a:pt x="352" y="151"/>
                    </a:lnTo>
                    <a:lnTo>
                      <a:pt x="356" y="144"/>
                    </a:lnTo>
                    <a:lnTo>
                      <a:pt x="361" y="143"/>
                    </a:lnTo>
                    <a:lnTo>
                      <a:pt x="369" y="144"/>
                    </a:lnTo>
                    <a:lnTo>
                      <a:pt x="377" y="151"/>
                    </a:lnTo>
                    <a:lnTo>
                      <a:pt x="387" y="153"/>
                    </a:lnTo>
                    <a:lnTo>
                      <a:pt x="394" y="157"/>
                    </a:lnTo>
                    <a:lnTo>
                      <a:pt x="398" y="158"/>
                    </a:lnTo>
                    <a:lnTo>
                      <a:pt x="405" y="156"/>
                    </a:lnTo>
                    <a:lnTo>
                      <a:pt x="419" y="159"/>
                    </a:lnTo>
                    <a:lnTo>
                      <a:pt x="422" y="159"/>
                    </a:lnTo>
                    <a:lnTo>
                      <a:pt x="428" y="151"/>
                    </a:lnTo>
                    <a:lnTo>
                      <a:pt x="436" y="149"/>
                    </a:lnTo>
                    <a:lnTo>
                      <a:pt x="439" y="15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4" name="Bangladesh"/>
              <p:cNvSpPr>
                <a:spLocks noChangeAspect="1"/>
              </p:cNvSpPr>
              <p:nvPr>
                <p:custDataLst>
                  <p:tags r:id="rId311"/>
                </p:custDataLst>
              </p:nvPr>
            </p:nvSpPr>
            <p:spPr bwMode="gray">
              <a:xfrm>
                <a:off x="3479" y="2187"/>
                <a:ext cx="52" cy="67"/>
              </a:xfrm>
              <a:custGeom>
                <a:avLst/>
                <a:gdLst/>
                <a:ahLst/>
                <a:cxnLst>
                  <a:cxn ang="0">
                    <a:pos x="241" y="337"/>
                  </a:cxn>
                  <a:cxn ang="0">
                    <a:pos x="226" y="291"/>
                  </a:cxn>
                  <a:cxn ang="0">
                    <a:pos x="221" y="257"/>
                  </a:cxn>
                  <a:cxn ang="0">
                    <a:pos x="198" y="225"/>
                  </a:cxn>
                  <a:cxn ang="0">
                    <a:pos x="174" y="230"/>
                  </a:cxn>
                  <a:cxn ang="0">
                    <a:pos x="161" y="215"/>
                  </a:cxn>
                  <a:cxn ang="0">
                    <a:pos x="153" y="227"/>
                  </a:cxn>
                  <a:cxn ang="0">
                    <a:pos x="149" y="246"/>
                  </a:cxn>
                  <a:cxn ang="0">
                    <a:pos x="129" y="283"/>
                  </a:cxn>
                  <a:cxn ang="0">
                    <a:pos x="115" y="267"/>
                  </a:cxn>
                  <a:cxn ang="0">
                    <a:pos x="108" y="279"/>
                  </a:cxn>
                  <a:cxn ang="0">
                    <a:pos x="96" y="280"/>
                  </a:cxn>
                  <a:cxn ang="0">
                    <a:pos x="80" y="284"/>
                  </a:cxn>
                  <a:cxn ang="0">
                    <a:pos x="75" y="286"/>
                  </a:cxn>
                  <a:cxn ang="0">
                    <a:pos x="69" y="291"/>
                  </a:cxn>
                  <a:cxn ang="0">
                    <a:pos x="58" y="292"/>
                  </a:cxn>
                  <a:cxn ang="0">
                    <a:pos x="53" y="273"/>
                  </a:cxn>
                  <a:cxn ang="0">
                    <a:pos x="49" y="258"/>
                  </a:cxn>
                  <a:cxn ang="0">
                    <a:pos x="48" y="241"/>
                  </a:cxn>
                  <a:cxn ang="0">
                    <a:pos x="40" y="227"/>
                  </a:cxn>
                  <a:cxn ang="0">
                    <a:pos x="42" y="215"/>
                  </a:cxn>
                  <a:cxn ang="0">
                    <a:pos x="42" y="195"/>
                  </a:cxn>
                  <a:cxn ang="0">
                    <a:pos x="38" y="179"/>
                  </a:cxn>
                  <a:cxn ang="0">
                    <a:pos x="32" y="165"/>
                  </a:cxn>
                  <a:cxn ang="0">
                    <a:pos x="36" y="133"/>
                  </a:cxn>
                  <a:cxn ang="0">
                    <a:pos x="21" y="118"/>
                  </a:cxn>
                  <a:cxn ang="0">
                    <a:pos x="1" y="109"/>
                  </a:cxn>
                  <a:cxn ang="0">
                    <a:pos x="1" y="98"/>
                  </a:cxn>
                  <a:cxn ang="0">
                    <a:pos x="13" y="89"/>
                  </a:cxn>
                  <a:cxn ang="0">
                    <a:pos x="22" y="78"/>
                  </a:cxn>
                  <a:cxn ang="0">
                    <a:pos x="42" y="68"/>
                  </a:cxn>
                  <a:cxn ang="0">
                    <a:pos x="39" y="60"/>
                  </a:cxn>
                  <a:cxn ang="0">
                    <a:pos x="17" y="57"/>
                  </a:cxn>
                  <a:cxn ang="0">
                    <a:pos x="11" y="39"/>
                  </a:cxn>
                  <a:cxn ang="0">
                    <a:pos x="28" y="3"/>
                  </a:cxn>
                  <a:cxn ang="0">
                    <a:pos x="42" y="17"/>
                  </a:cxn>
                  <a:cxn ang="0">
                    <a:pos x="49" y="17"/>
                  </a:cxn>
                  <a:cxn ang="0">
                    <a:pos x="59" y="8"/>
                  </a:cxn>
                  <a:cxn ang="0">
                    <a:pos x="69" y="31"/>
                  </a:cxn>
                  <a:cxn ang="0">
                    <a:pos x="82" y="33"/>
                  </a:cxn>
                  <a:cxn ang="0">
                    <a:pos x="93" y="23"/>
                  </a:cxn>
                  <a:cxn ang="0">
                    <a:pos x="101" y="62"/>
                  </a:cxn>
                  <a:cxn ang="0">
                    <a:pos x="118" y="75"/>
                  </a:cxn>
                  <a:cxn ang="0">
                    <a:pos x="166" y="76"/>
                  </a:cxn>
                  <a:cxn ang="0">
                    <a:pos x="203" y="76"/>
                  </a:cxn>
                  <a:cxn ang="0">
                    <a:pos x="242" y="86"/>
                  </a:cxn>
                  <a:cxn ang="0">
                    <a:pos x="231" y="96"/>
                  </a:cxn>
                  <a:cxn ang="0">
                    <a:pos x="214" y="124"/>
                  </a:cxn>
                  <a:cxn ang="0">
                    <a:pos x="192" y="140"/>
                  </a:cxn>
                  <a:cxn ang="0">
                    <a:pos x="176" y="157"/>
                  </a:cxn>
                  <a:cxn ang="0">
                    <a:pos x="184" y="193"/>
                  </a:cxn>
                  <a:cxn ang="0">
                    <a:pos x="199" y="204"/>
                  </a:cxn>
                  <a:cxn ang="0">
                    <a:pos x="211" y="202"/>
                  </a:cxn>
                  <a:cxn ang="0">
                    <a:pos x="228" y="166"/>
                  </a:cxn>
                  <a:cxn ang="0">
                    <a:pos x="241" y="181"/>
                  </a:cxn>
                  <a:cxn ang="0">
                    <a:pos x="249" y="206"/>
                  </a:cxn>
                  <a:cxn ang="0">
                    <a:pos x="258" y="243"/>
                  </a:cxn>
                  <a:cxn ang="0">
                    <a:pos x="260" y="279"/>
                  </a:cxn>
                  <a:cxn ang="0">
                    <a:pos x="250" y="305"/>
                  </a:cxn>
                  <a:cxn ang="0">
                    <a:pos x="243" y="318"/>
                  </a:cxn>
                </a:cxnLst>
                <a:rect l="0" t="0" r="r" b="b"/>
                <a:pathLst>
                  <a:path w="262" h="337">
                    <a:moveTo>
                      <a:pt x="243" y="335"/>
                    </a:moveTo>
                    <a:lnTo>
                      <a:pt x="241" y="337"/>
                    </a:lnTo>
                    <a:lnTo>
                      <a:pt x="233" y="319"/>
                    </a:lnTo>
                    <a:lnTo>
                      <a:pt x="226" y="291"/>
                    </a:lnTo>
                    <a:lnTo>
                      <a:pt x="225" y="276"/>
                    </a:lnTo>
                    <a:lnTo>
                      <a:pt x="221" y="257"/>
                    </a:lnTo>
                    <a:lnTo>
                      <a:pt x="204" y="230"/>
                    </a:lnTo>
                    <a:lnTo>
                      <a:pt x="198" y="225"/>
                    </a:lnTo>
                    <a:lnTo>
                      <a:pt x="187" y="229"/>
                    </a:lnTo>
                    <a:lnTo>
                      <a:pt x="174" y="230"/>
                    </a:lnTo>
                    <a:lnTo>
                      <a:pt x="166" y="225"/>
                    </a:lnTo>
                    <a:lnTo>
                      <a:pt x="161" y="215"/>
                    </a:lnTo>
                    <a:lnTo>
                      <a:pt x="157" y="218"/>
                    </a:lnTo>
                    <a:lnTo>
                      <a:pt x="153" y="227"/>
                    </a:lnTo>
                    <a:lnTo>
                      <a:pt x="146" y="234"/>
                    </a:lnTo>
                    <a:lnTo>
                      <a:pt x="149" y="246"/>
                    </a:lnTo>
                    <a:lnTo>
                      <a:pt x="149" y="257"/>
                    </a:lnTo>
                    <a:lnTo>
                      <a:pt x="129" y="283"/>
                    </a:lnTo>
                    <a:lnTo>
                      <a:pt x="125" y="280"/>
                    </a:lnTo>
                    <a:lnTo>
                      <a:pt x="115" y="267"/>
                    </a:lnTo>
                    <a:lnTo>
                      <a:pt x="110" y="274"/>
                    </a:lnTo>
                    <a:lnTo>
                      <a:pt x="108" y="279"/>
                    </a:lnTo>
                    <a:lnTo>
                      <a:pt x="99" y="288"/>
                    </a:lnTo>
                    <a:lnTo>
                      <a:pt x="96" y="280"/>
                    </a:lnTo>
                    <a:lnTo>
                      <a:pt x="91" y="285"/>
                    </a:lnTo>
                    <a:lnTo>
                      <a:pt x="80" y="284"/>
                    </a:lnTo>
                    <a:lnTo>
                      <a:pt x="79" y="289"/>
                    </a:lnTo>
                    <a:lnTo>
                      <a:pt x="75" y="286"/>
                    </a:lnTo>
                    <a:lnTo>
                      <a:pt x="71" y="288"/>
                    </a:lnTo>
                    <a:lnTo>
                      <a:pt x="69" y="291"/>
                    </a:lnTo>
                    <a:lnTo>
                      <a:pt x="65" y="294"/>
                    </a:lnTo>
                    <a:lnTo>
                      <a:pt x="58" y="292"/>
                    </a:lnTo>
                    <a:lnTo>
                      <a:pt x="51" y="279"/>
                    </a:lnTo>
                    <a:lnTo>
                      <a:pt x="53" y="273"/>
                    </a:lnTo>
                    <a:lnTo>
                      <a:pt x="51" y="269"/>
                    </a:lnTo>
                    <a:lnTo>
                      <a:pt x="49" y="258"/>
                    </a:lnTo>
                    <a:lnTo>
                      <a:pt x="50" y="251"/>
                    </a:lnTo>
                    <a:lnTo>
                      <a:pt x="48" y="241"/>
                    </a:lnTo>
                    <a:lnTo>
                      <a:pt x="43" y="236"/>
                    </a:lnTo>
                    <a:lnTo>
                      <a:pt x="40" y="227"/>
                    </a:lnTo>
                    <a:lnTo>
                      <a:pt x="40" y="218"/>
                    </a:lnTo>
                    <a:lnTo>
                      <a:pt x="42" y="215"/>
                    </a:lnTo>
                    <a:lnTo>
                      <a:pt x="43" y="199"/>
                    </a:lnTo>
                    <a:lnTo>
                      <a:pt x="42" y="195"/>
                    </a:lnTo>
                    <a:lnTo>
                      <a:pt x="38" y="194"/>
                    </a:lnTo>
                    <a:lnTo>
                      <a:pt x="38" y="179"/>
                    </a:lnTo>
                    <a:lnTo>
                      <a:pt x="32" y="173"/>
                    </a:lnTo>
                    <a:lnTo>
                      <a:pt x="32" y="165"/>
                    </a:lnTo>
                    <a:lnTo>
                      <a:pt x="34" y="154"/>
                    </a:lnTo>
                    <a:lnTo>
                      <a:pt x="36" y="133"/>
                    </a:lnTo>
                    <a:lnTo>
                      <a:pt x="27" y="123"/>
                    </a:lnTo>
                    <a:lnTo>
                      <a:pt x="21" y="118"/>
                    </a:lnTo>
                    <a:lnTo>
                      <a:pt x="10" y="113"/>
                    </a:lnTo>
                    <a:lnTo>
                      <a:pt x="1" y="109"/>
                    </a:lnTo>
                    <a:lnTo>
                      <a:pt x="0" y="103"/>
                    </a:lnTo>
                    <a:lnTo>
                      <a:pt x="1" y="98"/>
                    </a:lnTo>
                    <a:lnTo>
                      <a:pt x="6" y="90"/>
                    </a:lnTo>
                    <a:lnTo>
                      <a:pt x="13" y="89"/>
                    </a:lnTo>
                    <a:lnTo>
                      <a:pt x="20" y="85"/>
                    </a:lnTo>
                    <a:lnTo>
                      <a:pt x="22" y="78"/>
                    </a:lnTo>
                    <a:lnTo>
                      <a:pt x="42" y="76"/>
                    </a:lnTo>
                    <a:lnTo>
                      <a:pt x="42" y="68"/>
                    </a:lnTo>
                    <a:lnTo>
                      <a:pt x="38" y="64"/>
                    </a:lnTo>
                    <a:lnTo>
                      <a:pt x="39" y="60"/>
                    </a:lnTo>
                    <a:lnTo>
                      <a:pt x="24" y="62"/>
                    </a:lnTo>
                    <a:lnTo>
                      <a:pt x="17" y="57"/>
                    </a:lnTo>
                    <a:lnTo>
                      <a:pt x="15" y="43"/>
                    </a:lnTo>
                    <a:lnTo>
                      <a:pt x="11" y="39"/>
                    </a:lnTo>
                    <a:lnTo>
                      <a:pt x="26" y="15"/>
                    </a:lnTo>
                    <a:lnTo>
                      <a:pt x="28" y="3"/>
                    </a:lnTo>
                    <a:lnTo>
                      <a:pt x="32" y="0"/>
                    </a:lnTo>
                    <a:lnTo>
                      <a:pt x="42" y="17"/>
                    </a:lnTo>
                    <a:lnTo>
                      <a:pt x="48" y="25"/>
                    </a:lnTo>
                    <a:lnTo>
                      <a:pt x="49" y="17"/>
                    </a:lnTo>
                    <a:lnTo>
                      <a:pt x="53" y="5"/>
                    </a:lnTo>
                    <a:lnTo>
                      <a:pt x="59" y="8"/>
                    </a:lnTo>
                    <a:lnTo>
                      <a:pt x="61" y="22"/>
                    </a:lnTo>
                    <a:lnTo>
                      <a:pt x="69" y="31"/>
                    </a:lnTo>
                    <a:lnTo>
                      <a:pt x="74" y="27"/>
                    </a:lnTo>
                    <a:lnTo>
                      <a:pt x="82" y="33"/>
                    </a:lnTo>
                    <a:lnTo>
                      <a:pt x="91" y="19"/>
                    </a:lnTo>
                    <a:lnTo>
                      <a:pt x="93" y="23"/>
                    </a:lnTo>
                    <a:lnTo>
                      <a:pt x="96" y="43"/>
                    </a:lnTo>
                    <a:lnTo>
                      <a:pt x="101" y="62"/>
                    </a:lnTo>
                    <a:lnTo>
                      <a:pt x="107" y="70"/>
                    </a:lnTo>
                    <a:lnTo>
                      <a:pt x="118" y="75"/>
                    </a:lnTo>
                    <a:lnTo>
                      <a:pt x="162" y="79"/>
                    </a:lnTo>
                    <a:lnTo>
                      <a:pt x="166" y="76"/>
                    </a:lnTo>
                    <a:lnTo>
                      <a:pt x="180" y="74"/>
                    </a:lnTo>
                    <a:lnTo>
                      <a:pt x="203" y="76"/>
                    </a:lnTo>
                    <a:lnTo>
                      <a:pt x="227" y="80"/>
                    </a:lnTo>
                    <a:lnTo>
                      <a:pt x="242" y="86"/>
                    </a:lnTo>
                    <a:lnTo>
                      <a:pt x="239" y="91"/>
                    </a:lnTo>
                    <a:lnTo>
                      <a:pt x="231" y="96"/>
                    </a:lnTo>
                    <a:lnTo>
                      <a:pt x="226" y="109"/>
                    </a:lnTo>
                    <a:lnTo>
                      <a:pt x="214" y="124"/>
                    </a:lnTo>
                    <a:lnTo>
                      <a:pt x="203" y="134"/>
                    </a:lnTo>
                    <a:lnTo>
                      <a:pt x="192" y="140"/>
                    </a:lnTo>
                    <a:lnTo>
                      <a:pt x="178" y="149"/>
                    </a:lnTo>
                    <a:lnTo>
                      <a:pt x="176" y="157"/>
                    </a:lnTo>
                    <a:lnTo>
                      <a:pt x="177" y="173"/>
                    </a:lnTo>
                    <a:lnTo>
                      <a:pt x="184" y="193"/>
                    </a:lnTo>
                    <a:lnTo>
                      <a:pt x="194" y="194"/>
                    </a:lnTo>
                    <a:lnTo>
                      <a:pt x="199" y="204"/>
                    </a:lnTo>
                    <a:lnTo>
                      <a:pt x="206" y="210"/>
                    </a:lnTo>
                    <a:lnTo>
                      <a:pt x="211" y="202"/>
                    </a:lnTo>
                    <a:lnTo>
                      <a:pt x="217" y="181"/>
                    </a:lnTo>
                    <a:lnTo>
                      <a:pt x="228" y="166"/>
                    </a:lnTo>
                    <a:lnTo>
                      <a:pt x="233" y="167"/>
                    </a:lnTo>
                    <a:lnTo>
                      <a:pt x="241" y="181"/>
                    </a:lnTo>
                    <a:lnTo>
                      <a:pt x="246" y="198"/>
                    </a:lnTo>
                    <a:lnTo>
                      <a:pt x="249" y="206"/>
                    </a:lnTo>
                    <a:lnTo>
                      <a:pt x="252" y="215"/>
                    </a:lnTo>
                    <a:lnTo>
                      <a:pt x="258" y="243"/>
                    </a:lnTo>
                    <a:lnTo>
                      <a:pt x="262" y="276"/>
                    </a:lnTo>
                    <a:lnTo>
                      <a:pt x="260" y="279"/>
                    </a:lnTo>
                    <a:lnTo>
                      <a:pt x="262" y="308"/>
                    </a:lnTo>
                    <a:lnTo>
                      <a:pt x="250" y="305"/>
                    </a:lnTo>
                    <a:lnTo>
                      <a:pt x="244" y="310"/>
                    </a:lnTo>
                    <a:lnTo>
                      <a:pt x="243" y="318"/>
                    </a:lnTo>
                    <a:lnTo>
                      <a:pt x="243" y="33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5" name="Sri Lanka"/>
              <p:cNvSpPr>
                <a:spLocks noChangeAspect="1"/>
              </p:cNvSpPr>
              <p:nvPr>
                <p:custDataLst>
                  <p:tags r:id="rId312"/>
                </p:custDataLst>
              </p:nvPr>
            </p:nvSpPr>
            <p:spPr bwMode="gray">
              <a:xfrm>
                <a:off x="3390" y="2379"/>
                <a:ext cx="23" cy="43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3" y="4"/>
                  </a:cxn>
                  <a:cxn ang="0">
                    <a:pos x="19" y="9"/>
                  </a:cxn>
                  <a:cxn ang="0">
                    <a:pos x="28" y="12"/>
                  </a:cxn>
                  <a:cxn ang="0">
                    <a:pos x="33" y="19"/>
                  </a:cxn>
                  <a:cxn ang="0">
                    <a:pos x="28" y="19"/>
                  </a:cxn>
                  <a:cxn ang="0">
                    <a:pos x="22" y="25"/>
                  </a:cxn>
                  <a:cxn ang="0">
                    <a:pos x="19" y="38"/>
                  </a:cxn>
                  <a:cxn ang="0">
                    <a:pos x="13" y="47"/>
                  </a:cxn>
                  <a:cxn ang="0">
                    <a:pos x="7" y="95"/>
                  </a:cxn>
                  <a:cxn ang="0">
                    <a:pos x="2" y="91"/>
                  </a:cxn>
                  <a:cxn ang="0">
                    <a:pos x="0" y="95"/>
                  </a:cxn>
                  <a:cxn ang="0">
                    <a:pos x="0" y="111"/>
                  </a:cxn>
                  <a:cxn ang="0">
                    <a:pos x="7" y="166"/>
                  </a:cxn>
                  <a:cxn ang="0">
                    <a:pos x="11" y="182"/>
                  </a:cxn>
                  <a:cxn ang="0">
                    <a:pos x="19" y="198"/>
                  </a:cxn>
                  <a:cxn ang="0">
                    <a:pos x="29" y="209"/>
                  </a:cxn>
                  <a:cxn ang="0">
                    <a:pos x="45" y="211"/>
                  </a:cxn>
                  <a:cxn ang="0">
                    <a:pos x="59" y="211"/>
                  </a:cxn>
                  <a:cxn ang="0">
                    <a:pos x="86" y="197"/>
                  </a:cxn>
                  <a:cxn ang="0">
                    <a:pos x="100" y="187"/>
                  </a:cxn>
                  <a:cxn ang="0">
                    <a:pos x="113" y="170"/>
                  </a:cxn>
                  <a:cxn ang="0">
                    <a:pos x="115" y="145"/>
                  </a:cxn>
                  <a:cxn ang="0">
                    <a:pos x="116" y="125"/>
                  </a:cxn>
                  <a:cxn ang="0">
                    <a:pos x="115" y="117"/>
                  </a:cxn>
                  <a:cxn ang="0">
                    <a:pos x="108" y="114"/>
                  </a:cxn>
                  <a:cxn ang="0">
                    <a:pos x="98" y="87"/>
                  </a:cxn>
                  <a:cxn ang="0">
                    <a:pos x="92" y="75"/>
                  </a:cxn>
                  <a:cxn ang="0">
                    <a:pos x="86" y="69"/>
                  </a:cxn>
                  <a:cxn ang="0">
                    <a:pos x="83" y="62"/>
                  </a:cxn>
                  <a:cxn ang="0">
                    <a:pos x="80" y="55"/>
                  </a:cxn>
                  <a:cxn ang="0">
                    <a:pos x="67" y="44"/>
                  </a:cxn>
                  <a:cxn ang="0">
                    <a:pos x="64" y="33"/>
                  </a:cxn>
                  <a:cxn ang="0">
                    <a:pos x="45" y="12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18" y="0"/>
                  </a:cxn>
                </a:cxnLst>
                <a:rect l="0" t="0" r="r" b="b"/>
                <a:pathLst>
                  <a:path w="116" h="211">
                    <a:moveTo>
                      <a:pt x="18" y="0"/>
                    </a:moveTo>
                    <a:lnTo>
                      <a:pt x="13" y="4"/>
                    </a:lnTo>
                    <a:lnTo>
                      <a:pt x="19" y="9"/>
                    </a:lnTo>
                    <a:lnTo>
                      <a:pt x="28" y="12"/>
                    </a:lnTo>
                    <a:lnTo>
                      <a:pt x="33" y="19"/>
                    </a:lnTo>
                    <a:lnTo>
                      <a:pt x="28" y="19"/>
                    </a:lnTo>
                    <a:lnTo>
                      <a:pt x="22" y="25"/>
                    </a:lnTo>
                    <a:lnTo>
                      <a:pt x="19" y="38"/>
                    </a:lnTo>
                    <a:lnTo>
                      <a:pt x="13" y="47"/>
                    </a:lnTo>
                    <a:lnTo>
                      <a:pt x="7" y="95"/>
                    </a:lnTo>
                    <a:lnTo>
                      <a:pt x="2" y="91"/>
                    </a:lnTo>
                    <a:lnTo>
                      <a:pt x="0" y="95"/>
                    </a:lnTo>
                    <a:lnTo>
                      <a:pt x="0" y="111"/>
                    </a:lnTo>
                    <a:lnTo>
                      <a:pt x="7" y="166"/>
                    </a:lnTo>
                    <a:lnTo>
                      <a:pt x="11" y="182"/>
                    </a:lnTo>
                    <a:lnTo>
                      <a:pt x="19" y="198"/>
                    </a:lnTo>
                    <a:lnTo>
                      <a:pt x="29" y="209"/>
                    </a:lnTo>
                    <a:lnTo>
                      <a:pt x="45" y="211"/>
                    </a:lnTo>
                    <a:lnTo>
                      <a:pt x="59" y="211"/>
                    </a:lnTo>
                    <a:lnTo>
                      <a:pt x="86" y="197"/>
                    </a:lnTo>
                    <a:lnTo>
                      <a:pt x="100" y="187"/>
                    </a:lnTo>
                    <a:lnTo>
                      <a:pt x="113" y="170"/>
                    </a:lnTo>
                    <a:lnTo>
                      <a:pt x="115" y="145"/>
                    </a:lnTo>
                    <a:lnTo>
                      <a:pt x="116" y="125"/>
                    </a:lnTo>
                    <a:lnTo>
                      <a:pt x="115" y="117"/>
                    </a:lnTo>
                    <a:lnTo>
                      <a:pt x="108" y="114"/>
                    </a:lnTo>
                    <a:lnTo>
                      <a:pt x="98" y="87"/>
                    </a:lnTo>
                    <a:lnTo>
                      <a:pt x="92" y="75"/>
                    </a:lnTo>
                    <a:lnTo>
                      <a:pt x="86" y="69"/>
                    </a:lnTo>
                    <a:lnTo>
                      <a:pt x="83" y="62"/>
                    </a:lnTo>
                    <a:lnTo>
                      <a:pt x="80" y="55"/>
                    </a:lnTo>
                    <a:lnTo>
                      <a:pt x="67" y="44"/>
                    </a:lnTo>
                    <a:lnTo>
                      <a:pt x="64" y="33"/>
                    </a:lnTo>
                    <a:lnTo>
                      <a:pt x="45" y="12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7" name="Taiwan"/>
            <p:cNvSpPr>
              <a:spLocks noChangeAspect="1"/>
            </p:cNvSpPr>
            <p:nvPr>
              <p:custDataLst>
                <p:tags r:id="rId84"/>
              </p:custDataLst>
            </p:nvPr>
          </p:nvSpPr>
          <p:spPr bwMode="gray">
            <a:xfrm>
              <a:off x="7536252" y="3962654"/>
              <a:ext cx="44471" cy="93624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82" y="4"/>
                </a:cxn>
                <a:cxn ang="0">
                  <a:pos x="87" y="9"/>
                </a:cxn>
                <a:cxn ang="0">
                  <a:pos x="92" y="9"/>
                </a:cxn>
                <a:cxn ang="0">
                  <a:pos x="94" y="10"/>
                </a:cxn>
                <a:cxn ang="0">
                  <a:pos x="97" y="15"/>
                </a:cxn>
                <a:cxn ang="0">
                  <a:pos x="97" y="18"/>
                </a:cxn>
                <a:cxn ang="0">
                  <a:pos x="93" y="26"/>
                </a:cxn>
                <a:cxn ang="0">
                  <a:pos x="93" y="32"/>
                </a:cxn>
                <a:cxn ang="0">
                  <a:pos x="94" y="41"/>
                </a:cxn>
                <a:cxn ang="0">
                  <a:pos x="92" y="50"/>
                </a:cxn>
                <a:cxn ang="0">
                  <a:pos x="83" y="69"/>
                </a:cxn>
                <a:cxn ang="0">
                  <a:pos x="79" y="95"/>
                </a:cxn>
                <a:cxn ang="0">
                  <a:pos x="76" y="114"/>
                </a:cxn>
                <a:cxn ang="0">
                  <a:pos x="68" y="131"/>
                </a:cxn>
                <a:cxn ang="0">
                  <a:pos x="57" y="150"/>
                </a:cxn>
                <a:cxn ang="0">
                  <a:pos x="51" y="159"/>
                </a:cxn>
                <a:cxn ang="0">
                  <a:pos x="48" y="168"/>
                </a:cxn>
                <a:cxn ang="0">
                  <a:pos x="40" y="199"/>
                </a:cxn>
                <a:cxn ang="0">
                  <a:pos x="36" y="195"/>
                </a:cxn>
                <a:cxn ang="0">
                  <a:pos x="33" y="182"/>
                </a:cxn>
                <a:cxn ang="0">
                  <a:pos x="25" y="170"/>
                </a:cxn>
                <a:cxn ang="0">
                  <a:pos x="16" y="163"/>
                </a:cxn>
                <a:cxn ang="0">
                  <a:pos x="6" y="147"/>
                </a:cxn>
                <a:cxn ang="0">
                  <a:pos x="1" y="122"/>
                </a:cxn>
                <a:cxn ang="0">
                  <a:pos x="0" y="102"/>
                </a:cxn>
                <a:cxn ang="0">
                  <a:pos x="2" y="92"/>
                </a:cxn>
                <a:cxn ang="0">
                  <a:pos x="9" y="76"/>
                </a:cxn>
                <a:cxn ang="0">
                  <a:pos x="48" y="17"/>
                </a:cxn>
                <a:cxn ang="0">
                  <a:pos x="65" y="7"/>
                </a:cxn>
                <a:cxn ang="0">
                  <a:pos x="68" y="3"/>
                </a:cxn>
                <a:cxn ang="0">
                  <a:pos x="75" y="0"/>
                </a:cxn>
              </a:cxnLst>
              <a:rect l="0" t="0" r="r" b="b"/>
              <a:pathLst>
                <a:path w="97" h="199">
                  <a:moveTo>
                    <a:pt x="75" y="0"/>
                  </a:moveTo>
                  <a:lnTo>
                    <a:pt x="82" y="4"/>
                  </a:lnTo>
                  <a:lnTo>
                    <a:pt x="87" y="9"/>
                  </a:lnTo>
                  <a:lnTo>
                    <a:pt x="92" y="9"/>
                  </a:lnTo>
                  <a:lnTo>
                    <a:pt x="94" y="10"/>
                  </a:lnTo>
                  <a:lnTo>
                    <a:pt x="97" y="15"/>
                  </a:lnTo>
                  <a:lnTo>
                    <a:pt x="97" y="18"/>
                  </a:lnTo>
                  <a:lnTo>
                    <a:pt x="93" y="26"/>
                  </a:lnTo>
                  <a:lnTo>
                    <a:pt x="93" y="32"/>
                  </a:lnTo>
                  <a:lnTo>
                    <a:pt x="94" y="41"/>
                  </a:lnTo>
                  <a:lnTo>
                    <a:pt x="92" y="50"/>
                  </a:lnTo>
                  <a:lnTo>
                    <a:pt x="83" y="69"/>
                  </a:lnTo>
                  <a:lnTo>
                    <a:pt x="79" y="95"/>
                  </a:lnTo>
                  <a:lnTo>
                    <a:pt x="76" y="114"/>
                  </a:lnTo>
                  <a:lnTo>
                    <a:pt x="68" y="131"/>
                  </a:lnTo>
                  <a:lnTo>
                    <a:pt x="57" y="150"/>
                  </a:lnTo>
                  <a:lnTo>
                    <a:pt x="51" y="159"/>
                  </a:lnTo>
                  <a:lnTo>
                    <a:pt x="48" y="168"/>
                  </a:lnTo>
                  <a:lnTo>
                    <a:pt x="40" y="199"/>
                  </a:lnTo>
                  <a:lnTo>
                    <a:pt x="36" y="195"/>
                  </a:lnTo>
                  <a:lnTo>
                    <a:pt x="33" y="182"/>
                  </a:lnTo>
                  <a:lnTo>
                    <a:pt x="25" y="170"/>
                  </a:lnTo>
                  <a:lnTo>
                    <a:pt x="16" y="163"/>
                  </a:lnTo>
                  <a:lnTo>
                    <a:pt x="6" y="147"/>
                  </a:lnTo>
                  <a:lnTo>
                    <a:pt x="1" y="122"/>
                  </a:lnTo>
                  <a:lnTo>
                    <a:pt x="0" y="102"/>
                  </a:lnTo>
                  <a:lnTo>
                    <a:pt x="2" y="92"/>
                  </a:lnTo>
                  <a:lnTo>
                    <a:pt x="9" y="76"/>
                  </a:lnTo>
                  <a:lnTo>
                    <a:pt x="48" y="17"/>
                  </a:lnTo>
                  <a:lnTo>
                    <a:pt x="65" y="7"/>
                  </a:lnTo>
                  <a:lnTo>
                    <a:pt x="68" y="3"/>
                  </a:lnTo>
                  <a:lnTo>
                    <a:pt x="75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grpSp>
          <p:nvGrpSpPr>
            <p:cNvPr id="88" name="Japan"/>
            <p:cNvGrpSpPr>
              <a:grpSpLocks noChangeAspect="1"/>
            </p:cNvGrpSpPr>
            <p:nvPr/>
          </p:nvGrpSpPr>
          <p:grpSpPr bwMode="gray">
            <a:xfrm>
              <a:off x="7782038" y="3323679"/>
              <a:ext cx="416628" cy="472802"/>
              <a:chOff x="3938" y="1929"/>
              <a:chExt cx="178" cy="202"/>
            </a:xfrm>
            <a:grpFill/>
          </p:grpSpPr>
          <p:sp>
            <p:nvSpPr>
              <p:cNvPr id="325" name="Japan"/>
              <p:cNvSpPr>
                <a:spLocks noChangeAspect="1"/>
              </p:cNvSpPr>
              <p:nvPr>
                <p:custDataLst>
                  <p:tags r:id="rId302"/>
                </p:custDataLst>
              </p:nvPr>
            </p:nvSpPr>
            <p:spPr bwMode="gray">
              <a:xfrm>
                <a:off x="4050" y="1929"/>
                <a:ext cx="66" cy="61"/>
              </a:xfrm>
              <a:custGeom>
                <a:avLst/>
                <a:gdLst/>
                <a:ahLst/>
                <a:cxnLst>
                  <a:cxn ang="0">
                    <a:pos x="301" y="94"/>
                  </a:cxn>
                  <a:cxn ang="0">
                    <a:pos x="299" y="113"/>
                  </a:cxn>
                  <a:cxn ang="0">
                    <a:pos x="294" y="141"/>
                  </a:cxn>
                  <a:cxn ang="0">
                    <a:pos x="304" y="164"/>
                  </a:cxn>
                  <a:cxn ang="0">
                    <a:pos x="330" y="159"/>
                  </a:cxn>
                  <a:cxn ang="0">
                    <a:pos x="308" y="177"/>
                  </a:cxn>
                  <a:cxn ang="0">
                    <a:pos x="283" y="191"/>
                  </a:cxn>
                  <a:cxn ang="0">
                    <a:pos x="271" y="195"/>
                  </a:cxn>
                  <a:cxn ang="0">
                    <a:pos x="238" y="195"/>
                  </a:cxn>
                  <a:cxn ang="0">
                    <a:pos x="208" y="223"/>
                  </a:cxn>
                  <a:cxn ang="0">
                    <a:pos x="195" y="259"/>
                  </a:cxn>
                  <a:cxn ang="0">
                    <a:pos x="162" y="248"/>
                  </a:cxn>
                  <a:cxn ang="0">
                    <a:pos x="114" y="224"/>
                  </a:cxn>
                  <a:cxn ang="0">
                    <a:pos x="84" y="227"/>
                  </a:cxn>
                  <a:cxn ang="0">
                    <a:pos x="63" y="235"/>
                  </a:cxn>
                  <a:cxn ang="0">
                    <a:pos x="36" y="226"/>
                  </a:cxn>
                  <a:cxn ang="0">
                    <a:pos x="34" y="251"/>
                  </a:cxn>
                  <a:cxn ang="0">
                    <a:pos x="74" y="277"/>
                  </a:cxn>
                  <a:cxn ang="0">
                    <a:pos x="59" y="283"/>
                  </a:cxn>
                  <a:cxn ang="0">
                    <a:pos x="40" y="289"/>
                  </a:cxn>
                  <a:cxn ang="0">
                    <a:pos x="22" y="307"/>
                  </a:cxn>
                  <a:cxn ang="0">
                    <a:pos x="11" y="295"/>
                  </a:cxn>
                  <a:cxn ang="0">
                    <a:pos x="0" y="247"/>
                  </a:cxn>
                  <a:cxn ang="0">
                    <a:pos x="11" y="214"/>
                  </a:cxn>
                  <a:cxn ang="0">
                    <a:pos x="34" y="195"/>
                  </a:cxn>
                  <a:cxn ang="0">
                    <a:pos x="31" y="176"/>
                  </a:cxn>
                  <a:cxn ang="0">
                    <a:pos x="47" y="171"/>
                  </a:cxn>
                  <a:cxn ang="0">
                    <a:pos x="81" y="175"/>
                  </a:cxn>
                  <a:cxn ang="0">
                    <a:pos x="87" y="146"/>
                  </a:cxn>
                  <a:cxn ang="0">
                    <a:pos x="94" y="127"/>
                  </a:cxn>
                  <a:cxn ang="0">
                    <a:pos x="102" y="90"/>
                  </a:cxn>
                  <a:cxn ang="0">
                    <a:pos x="99" y="25"/>
                  </a:cxn>
                  <a:cxn ang="0">
                    <a:pos x="110" y="3"/>
                  </a:cxn>
                  <a:cxn ang="0">
                    <a:pos x="122" y="8"/>
                  </a:cxn>
                  <a:cxn ang="0">
                    <a:pos x="135" y="22"/>
                  </a:cxn>
                  <a:cxn ang="0">
                    <a:pos x="179" y="75"/>
                  </a:cxn>
                  <a:cxn ang="0">
                    <a:pos x="222" y="103"/>
                  </a:cxn>
                  <a:cxn ang="0">
                    <a:pos x="250" y="116"/>
                  </a:cxn>
                  <a:cxn ang="0">
                    <a:pos x="272" y="118"/>
                  </a:cxn>
                </a:cxnLst>
                <a:rect l="0" t="0" r="r" b="b"/>
                <a:pathLst>
                  <a:path w="330" h="307">
                    <a:moveTo>
                      <a:pt x="285" y="108"/>
                    </a:moveTo>
                    <a:lnTo>
                      <a:pt x="301" y="94"/>
                    </a:lnTo>
                    <a:lnTo>
                      <a:pt x="305" y="97"/>
                    </a:lnTo>
                    <a:lnTo>
                      <a:pt x="299" y="113"/>
                    </a:lnTo>
                    <a:lnTo>
                      <a:pt x="291" y="129"/>
                    </a:lnTo>
                    <a:lnTo>
                      <a:pt x="294" y="141"/>
                    </a:lnTo>
                    <a:lnTo>
                      <a:pt x="304" y="148"/>
                    </a:lnTo>
                    <a:lnTo>
                      <a:pt x="304" y="164"/>
                    </a:lnTo>
                    <a:lnTo>
                      <a:pt x="315" y="164"/>
                    </a:lnTo>
                    <a:lnTo>
                      <a:pt x="330" y="159"/>
                    </a:lnTo>
                    <a:lnTo>
                      <a:pt x="325" y="170"/>
                    </a:lnTo>
                    <a:lnTo>
                      <a:pt x="308" y="177"/>
                    </a:lnTo>
                    <a:lnTo>
                      <a:pt x="293" y="188"/>
                    </a:lnTo>
                    <a:lnTo>
                      <a:pt x="283" y="191"/>
                    </a:lnTo>
                    <a:lnTo>
                      <a:pt x="277" y="187"/>
                    </a:lnTo>
                    <a:lnTo>
                      <a:pt x="271" y="195"/>
                    </a:lnTo>
                    <a:lnTo>
                      <a:pt x="254" y="193"/>
                    </a:lnTo>
                    <a:lnTo>
                      <a:pt x="238" y="195"/>
                    </a:lnTo>
                    <a:lnTo>
                      <a:pt x="223" y="204"/>
                    </a:lnTo>
                    <a:lnTo>
                      <a:pt x="208" y="223"/>
                    </a:lnTo>
                    <a:lnTo>
                      <a:pt x="199" y="241"/>
                    </a:lnTo>
                    <a:lnTo>
                      <a:pt x="195" y="259"/>
                    </a:lnTo>
                    <a:lnTo>
                      <a:pt x="189" y="268"/>
                    </a:lnTo>
                    <a:lnTo>
                      <a:pt x="162" y="248"/>
                    </a:lnTo>
                    <a:lnTo>
                      <a:pt x="142" y="241"/>
                    </a:lnTo>
                    <a:lnTo>
                      <a:pt x="114" y="224"/>
                    </a:lnTo>
                    <a:lnTo>
                      <a:pt x="97" y="221"/>
                    </a:lnTo>
                    <a:lnTo>
                      <a:pt x="84" y="227"/>
                    </a:lnTo>
                    <a:lnTo>
                      <a:pt x="74" y="236"/>
                    </a:lnTo>
                    <a:lnTo>
                      <a:pt x="63" y="235"/>
                    </a:lnTo>
                    <a:lnTo>
                      <a:pt x="52" y="225"/>
                    </a:lnTo>
                    <a:lnTo>
                      <a:pt x="36" y="226"/>
                    </a:lnTo>
                    <a:lnTo>
                      <a:pt x="28" y="240"/>
                    </a:lnTo>
                    <a:lnTo>
                      <a:pt x="34" y="251"/>
                    </a:lnTo>
                    <a:lnTo>
                      <a:pt x="57" y="262"/>
                    </a:lnTo>
                    <a:lnTo>
                      <a:pt x="74" y="277"/>
                    </a:lnTo>
                    <a:lnTo>
                      <a:pt x="71" y="284"/>
                    </a:lnTo>
                    <a:lnTo>
                      <a:pt x="59" y="283"/>
                    </a:lnTo>
                    <a:lnTo>
                      <a:pt x="50" y="283"/>
                    </a:lnTo>
                    <a:lnTo>
                      <a:pt x="40" y="289"/>
                    </a:lnTo>
                    <a:lnTo>
                      <a:pt x="35" y="297"/>
                    </a:lnTo>
                    <a:lnTo>
                      <a:pt x="22" y="307"/>
                    </a:lnTo>
                    <a:lnTo>
                      <a:pt x="14" y="305"/>
                    </a:lnTo>
                    <a:lnTo>
                      <a:pt x="11" y="295"/>
                    </a:lnTo>
                    <a:lnTo>
                      <a:pt x="18" y="264"/>
                    </a:lnTo>
                    <a:lnTo>
                      <a:pt x="0" y="247"/>
                    </a:lnTo>
                    <a:lnTo>
                      <a:pt x="2" y="224"/>
                    </a:lnTo>
                    <a:lnTo>
                      <a:pt x="11" y="214"/>
                    </a:lnTo>
                    <a:lnTo>
                      <a:pt x="24" y="207"/>
                    </a:lnTo>
                    <a:lnTo>
                      <a:pt x="34" y="195"/>
                    </a:lnTo>
                    <a:lnTo>
                      <a:pt x="38" y="184"/>
                    </a:lnTo>
                    <a:lnTo>
                      <a:pt x="31" y="176"/>
                    </a:lnTo>
                    <a:lnTo>
                      <a:pt x="34" y="167"/>
                    </a:lnTo>
                    <a:lnTo>
                      <a:pt x="47" y="171"/>
                    </a:lnTo>
                    <a:lnTo>
                      <a:pt x="60" y="175"/>
                    </a:lnTo>
                    <a:lnTo>
                      <a:pt x="81" y="175"/>
                    </a:lnTo>
                    <a:lnTo>
                      <a:pt x="88" y="160"/>
                    </a:lnTo>
                    <a:lnTo>
                      <a:pt x="87" y="146"/>
                    </a:lnTo>
                    <a:lnTo>
                      <a:pt x="87" y="135"/>
                    </a:lnTo>
                    <a:lnTo>
                      <a:pt x="94" y="127"/>
                    </a:lnTo>
                    <a:lnTo>
                      <a:pt x="100" y="110"/>
                    </a:lnTo>
                    <a:lnTo>
                      <a:pt x="102" y="90"/>
                    </a:lnTo>
                    <a:lnTo>
                      <a:pt x="109" y="58"/>
                    </a:lnTo>
                    <a:lnTo>
                      <a:pt x="99" y="25"/>
                    </a:lnTo>
                    <a:lnTo>
                      <a:pt x="99" y="15"/>
                    </a:lnTo>
                    <a:lnTo>
                      <a:pt x="110" y="3"/>
                    </a:lnTo>
                    <a:lnTo>
                      <a:pt x="115" y="0"/>
                    </a:lnTo>
                    <a:lnTo>
                      <a:pt x="122" y="8"/>
                    </a:lnTo>
                    <a:lnTo>
                      <a:pt x="126" y="15"/>
                    </a:lnTo>
                    <a:lnTo>
                      <a:pt x="135" y="22"/>
                    </a:lnTo>
                    <a:lnTo>
                      <a:pt x="158" y="54"/>
                    </a:lnTo>
                    <a:lnTo>
                      <a:pt x="179" y="75"/>
                    </a:lnTo>
                    <a:lnTo>
                      <a:pt x="199" y="92"/>
                    </a:lnTo>
                    <a:lnTo>
                      <a:pt x="222" y="103"/>
                    </a:lnTo>
                    <a:lnTo>
                      <a:pt x="244" y="108"/>
                    </a:lnTo>
                    <a:lnTo>
                      <a:pt x="250" y="116"/>
                    </a:lnTo>
                    <a:lnTo>
                      <a:pt x="261" y="121"/>
                    </a:lnTo>
                    <a:lnTo>
                      <a:pt x="272" y="118"/>
                    </a:lnTo>
                    <a:lnTo>
                      <a:pt x="285" y="10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6" name="Japan"/>
              <p:cNvSpPr>
                <a:spLocks noChangeAspect="1"/>
              </p:cNvSpPr>
              <p:nvPr>
                <p:custDataLst>
                  <p:tags r:id="rId303"/>
                </p:custDataLst>
              </p:nvPr>
            </p:nvSpPr>
            <p:spPr bwMode="gray">
              <a:xfrm>
                <a:off x="3952" y="1989"/>
                <a:ext cx="123" cy="110"/>
              </a:xfrm>
              <a:custGeom>
                <a:avLst/>
                <a:gdLst/>
                <a:ahLst/>
                <a:cxnLst>
                  <a:cxn ang="0">
                    <a:pos x="578" y="13"/>
                  </a:cxn>
                  <a:cxn ang="0">
                    <a:pos x="582" y="69"/>
                  </a:cxn>
                  <a:cxn ang="0">
                    <a:pos x="607" y="118"/>
                  </a:cxn>
                  <a:cxn ang="0">
                    <a:pos x="608" y="160"/>
                  </a:cxn>
                  <a:cxn ang="0">
                    <a:pos x="593" y="180"/>
                  </a:cxn>
                  <a:cxn ang="0">
                    <a:pos x="571" y="223"/>
                  </a:cxn>
                  <a:cxn ang="0">
                    <a:pos x="554" y="268"/>
                  </a:cxn>
                  <a:cxn ang="0">
                    <a:pos x="558" y="317"/>
                  </a:cxn>
                  <a:cxn ang="0">
                    <a:pos x="535" y="365"/>
                  </a:cxn>
                  <a:cxn ang="0">
                    <a:pos x="545" y="404"/>
                  </a:cxn>
                  <a:cxn ang="0">
                    <a:pos x="521" y="439"/>
                  </a:cxn>
                  <a:cxn ang="0">
                    <a:pos x="495" y="425"/>
                  </a:cxn>
                  <a:cxn ang="0">
                    <a:pos x="491" y="408"/>
                  </a:cxn>
                  <a:cxn ang="0">
                    <a:pos x="483" y="440"/>
                  </a:cxn>
                  <a:cxn ang="0">
                    <a:pos x="456" y="443"/>
                  </a:cxn>
                  <a:cxn ang="0">
                    <a:pos x="437" y="474"/>
                  </a:cxn>
                  <a:cxn ang="0">
                    <a:pos x="427" y="446"/>
                  </a:cxn>
                  <a:cxn ang="0">
                    <a:pos x="404" y="478"/>
                  </a:cxn>
                  <a:cxn ang="0">
                    <a:pos x="356" y="476"/>
                  </a:cxn>
                  <a:cxn ang="0">
                    <a:pos x="351" y="470"/>
                  </a:cxn>
                  <a:cxn ang="0">
                    <a:pos x="333" y="470"/>
                  </a:cxn>
                  <a:cxn ang="0">
                    <a:pos x="320" y="451"/>
                  </a:cxn>
                  <a:cxn ang="0">
                    <a:pos x="328" y="504"/>
                  </a:cxn>
                  <a:cxn ang="0">
                    <a:pos x="307" y="503"/>
                  </a:cxn>
                  <a:cxn ang="0">
                    <a:pos x="295" y="517"/>
                  </a:cxn>
                  <a:cxn ang="0">
                    <a:pos x="252" y="546"/>
                  </a:cxn>
                  <a:cxn ang="0">
                    <a:pos x="233" y="517"/>
                  </a:cxn>
                  <a:cxn ang="0">
                    <a:pos x="248" y="479"/>
                  </a:cxn>
                  <a:cxn ang="0">
                    <a:pos x="228" y="476"/>
                  </a:cxn>
                  <a:cxn ang="0">
                    <a:pos x="190" y="468"/>
                  </a:cxn>
                  <a:cxn ang="0">
                    <a:pos x="156" y="483"/>
                  </a:cxn>
                  <a:cxn ang="0">
                    <a:pos x="133" y="492"/>
                  </a:cxn>
                  <a:cxn ang="0">
                    <a:pos x="92" y="503"/>
                  </a:cxn>
                  <a:cxn ang="0">
                    <a:pos x="69" y="524"/>
                  </a:cxn>
                  <a:cxn ang="0">
                    <a:pos x="43" y="515"/>
                  </a:cxn>
                  <a:cxn ang="0">
                    <a:pos x="20" y="521"/>
                  </a:cxn>
                  <a:cxn ang="0">
                    <a:pos x="0" y="503"/>
                  </a:cxn>
                  <a:cxn ang="0">
                    <a:pos x="35" y="478"/>
                  </a:cxn>
                  <a:cxn ang="0">
                    <a:pos x="74" y="446"/>
                  </a:cxn>
                  <a:cxn ang="0">
                    <a:pos x="106" y="417"/>
                  </a:cxn>
                  <a:cxn ang="0">
                    <a:pos x="155" y="416"/>
                  </a:cxn>
                  <a:cxn ang="0">
                    <a:pos x="219" y="407"/>
                  </a:cxn>
                  <a:cxn ang="0">
                    <a:pos x="237" y="412"/>
                  </a:cxn>
                  <a:cxn ang="0">
                    <a:pos x="270" y="412"/>
                  </a:cxn>
                  <a:cxn ang="0">
                    <a:pos x="300" y="357"/>
                  </a:cxn>
                  <a:cxn ang="0">
                    <a:pos x="322" y="305"/>
                  </a:cxn>
                  <a:cxn ang="0">
                    <a:pos x="351" y="284"/>
                  </a:cxn>
                  <a:cxn ang="0">
                    <a:pos x="333" y="306"/>
                  </a:cxn>
                  <a:cxn ang="0">
                    <a:pos x="336" y="333"/>
                  </a:cxn>
                  <a:cxn ang="0">
                    <a:pos x="363" y="321"/>
                  </a:cxn>
                  <a:cxn ang="0">
                    <a:pos x="410" y="295"/>
                  </a:cxn>
                  <a:cxn ang="0">
                    <a:pos x="440" y="257"/>
                  </a:cxn>
                  <a:cxn ang="0">
                    <a:pos x="467" y="235"/>
                  </a:cxn>
                  <a:cxn ang="0">
                    <a:pos x="486" y="188"/>
                  </a:cxn>
                  <a:cxn ang="0">
                    <a:pos x="499" y="154"/>
                  </a:cxn>
                  <a:cxn ang="0">
                    <a:pos x="495" y="117"/>
                  </a:cxn>
                  <a:cxn ang="0">
                    <a:pos x="499" y="92"/>
                  </a:cxn>
                  <a:cxn ang="0">
                    <a:pos x="512" y="49"/>
                  </a:cxn>
                  <a:cxn ang="0">
                    <a:pos x="524" y="20"/>
                  </a:cxn>
                  <a:cxn ang="0">
                    <a:pos x="539" y="48"/>
                  </a:cxn>
                  <a:cxn ang="0">
                    <a:pos x="560" y="41"/>
                  </a:cxn>
                  <a:cxn ang="0">
                    <a:pos x="559" y="22"/>
                  </a:cxn>
                  <a:cxn ang="0">
                    <a:pos x="547" y="3"/>
                  </a:cxn>
                </a:cxnLst>
                <a:rect l="0" t="0" r="r" b="b"/>
                <a:pathLst>
                  <a:path w="613" h="552">
                    <a:moveTo>
                      <a:pt x="560" y="6"/>
                    </a:moveTo>
                    <a:lnTo>
                      <a:pt x="576" y="6"/>
                    </a:lnTo>
                    <a:lnTo>
                      <a:pt x="578" y="13"/>
                    </a:lnTo>
                    <a:lnTo>
                      <a:pt x="576" y="37"/>
                    </a:lnTo>
                    <a:lnTo>
                      <a:pt x="577" y="53"/>
                    </a:lnTo>
                    <a:lnTo>
                      <a:pt x="582" y="69"/>
                    </a:lnTo>
                    <a:lnTo>
                      <a:pt x="592" y="83"/>
                    </a:lnTo>
                    <a:lnTo>
                      <a:pt x="598" y="96"/>
                    </a:lnTo>
                    <a:lnTo>
                      <a:pt x="607" y="118"/>
                    </a:lnTo>
                    <a:lnTo>
                      <a:pt x="613" y="143"/>
                    </a:lnTo>
                    <a:lnTo>
                      <a:pt x="612" y="153"/>
                    </a:lnTo>
                    <a:lnTo>
                      <a:pt x="608" y="160"/>
                    </a:lnTo>
                    <a:lnTo>
                      <a:pt x="607" y="171"/>
                    </a:lnTo>
                    <a:lnTo>
                      <a:pt x="599" y="180"/>
                    </a:lnTo>
                    <a:lnTo>
                      <a:pt x="593" y="180"/>
                    </a:lnTo>
                    <a:lnTo>
                      <a:pt x="585" y="208"/>
                    </a:lnTo>
                    <a:lnTo>
                      <a:pt x="583" y="224"/>
                    </a:lnTo>
                    <a:lnTo>
                      <a:pt x="571" y="223"/>
                    </a:lnTo>
                    <a:lnTo>
                      <a:pt x="556" y="232"/>
                    </a:lnTo>
                    <a:lnTo>
                      <a:pt x="551" y="251"/>
                    </a:lnTo>
                    <a:lnTo>
                      <a:pt x="554" y="268"/>
                    </a:lnTo>
                    <a:lnTo>
                      <a:pt x="556" y="284"/>
                    </a:lnTo>
                    <a:lnTo>
                      <a:pt x="556" y="305"/>
                    </a:lnTo>
                    <a:lnTo>
                      <a:pt x="558" y="317"/>
                    </a:lnTo>
                    <a:lnTo>
                      <a:pt x="548" y="327"/>
                    </a:lnTo>
                    <a:lnTo>
                      <a:pt x="539" y="347"/>
                    </a:lnTo>
                    <a:lnTo>
                      <a:pt x="535" y="365"/>
                    </a:lnTo>
                    <a:lnTo>
                      <a:pt x="535" y="386"/>
                    </a:lnTo>
                    <a:lnTo>
                      <a:pt x="543" y="397"/>
                    </a:lnTo>
                    <a:lnTo>
                      <a:pt x="545" y="404"/>
                    </a:lnTo>
                    <a:lnTo>
                      <a:pt x="537" y="409"/>
                    </a:lnTo>
                    <a:lnTo>
                      <a:pt x="527" y="425"/>
                    </a:lnTo>
                    <a:lnTo>
                      <a:pt x="521" y="439"/>
                    </a:lnTo>
                    <a:lnTo>
                      <a:pt x="494" y="459"/>
                    </a:lnTo>
                    <a:lnTo>
                      <a:pt x="491" y="449"/>
                    </a:lnTo>
                    <a:lnTo>
                      <a:pt x="495" y="425"/>
                    </a:lnTo>
                    <a:lnTo>
                      <a:pt x="502" y="417"/>
                    </a:lnTo>
                    <a:lnTo>
                      <a:pt x="505" y="408"/>
                    </a:lnTo>
                    <a:lnTo>
                      <a:pt x="491" y="408"/>
                    </a:lnTo>
                    <a:lnTo>
                      <a:pt x="489" y="419"/>
                    </a:lnTo>
                    <a:lnTo>
                      <a:pt x="484" y="429"/>
                    </a:lnTo>
                    <a:lnTo>
                      <a:pt x="483" y="440"/>
                    </a:lnTo>
                    <a:lnTo>
                      <a:pt x="475" y="434"/>
                    </a:lnTo>
                    <a:lnTo>
                      <a:pt x="462" y="433"/>
                    </a:lnTo>
                    <a:lnTo>
                      <a:pt x="456" y="443"/>
                    </a:lnTo>
                    <a:lnTo>
                      <a:pt x="451" y="468"/>
                    </a:lnTo>
                    <a:lnTo>
                      <a:pt x="445" y="476"/>
                    </a:lnTo>
                    <a:lnTo>
                      <a:pt x="437" y="474"/>
                    </a:lnTo>
                    <a:lnTo>
                      <a:pt x="435" y="459"/>
                    </a:lnTo>
                    <a:lnTo>
                      <a:pt x="436" y="447"/>
                    </a:lnTo>
                    <a:lnTo>
                      <a:pt x="427" y="446"/>
                    </a:lnTo>
                    <a:lnTo>
                      <a:pt x="419" y="455"/>
                    </a:lnTo>
                    <a:lnTo>
                      <a:pt x="410" y="466"/>
                    </a:lnTo>
                    <a:lnTo>
                      <a:pt x="404" y="478"/>
                    </a:lnTo>
                    <a:lnTo>
                      <a:pt x="402" y="479"/>
                    </a:lnTo>
                    <a:lnTo>
                      <a:pt x="384" y="476"/>
                    </a:lnTo>
                    <a:lnTo>
                      <a:pt x="356" y="476"/>
                    </a:lnTo>
                    <a:lnTo>
                      <a:pt x="341" y="479"/>
                    </a:lnTo>
                    <a:lnTo>
                      <a:pt x="345" y="474"/>
                    </a:lnTo>
                    <a:lnTo>
                      <a:pt x="351" y="470"/>
                    </a:lnTo>
                    <a:lnTo>
                      <a:pt x="339" y="467"/>
                    </a:lnTo>
                    <a:lnTo>
                      <a:pt x="336" y="463"/>
                    </a:lnTo>
                    <a:lnTo>
                      <a:pt x="333" y="470"/>
                    </a:lnTo>
                    <a:lnTo>
                      <a:pt x="327" y="462"/>
                    </a:lnTo>
                    <a:lnTo>
                      <a:pt x="325" y="449"/>
                    </a:lnTo>
                    <a:lnTo>
                      <a:pt x="320" y="451"/>
                    </a:lnTo>
                    <a:lnTo>
                      <a:pt x="309" y="476"/>
                    </a:lnTo>
                    <a:lnTo>
                      <a:pt x="328" y="488"/>
                    </a:lnTo>
                    <a:lnTo>
                      <a:pt x="328" y="504"/>
                    </a:lnTo>
                    <a:lnTo>
                      <a:pt x="320" y="498"/>
                    </a:lnTo>
                    <a:lnTo>
                      <a:pt x="314" y="501"/>
                    </a:lnTo>
                    <a:lnTo>
                      <a:pt x="307" y="503"/>
                    </a:lnTo>
                    <a:lnTo>
                      <a:pt x="300" y="508"/>
                    </a:lnTo>
                    <a:lnTo>
                      <a:pt x="296" y="514"/>
                    </a:lnTo>
                    <a:lnTo>
                      <a:pt x="295" y="517"/>
                    </a:lnTo>
                    <a:lnTo>
                      <a:pt x="279" y="546"/>
                    </a:lnTo>
                    <a:lnTo>
                      <a:pt x="268" y="552"/>
                    </a:lnTo>
                    <a:lnTo>
                      <a:pt x="252" y="546"/>
                    </a:lnTo>
                    <a:lnTo>
                      <a:pt x="247" y="536"/>
                    </a:lnTo>
                    <a:lnTo>
                      <a:pt x="236" y="529"/>
                    </a:lnTo>
                    <a:lnTo>
                      <a:pt x="233" y="517"/>
                    </a:lnTo>
                    <a:lnTo>
                      <a:pt x="233" y="499"/>
                    </a:lnTo>
                    <a:lnTo>
                      <a:pt x="238" y="494"/>
                    </a:lnTo>
                    <a:lnTo>
                      <a:pt x="248" y="479"/>
                    </a:lnTo>
                    <a:lnTo>
                      <a:pt x="249" y="474"/>
                    </a:lnTo>
                    <a:lnTo>
                      <a:pt x="247" y="472"/>
                    </a:lnTo>
                    <a:lnTo>
                      <a:pt x="228" y="476"/>
                    </a:lnTo>
                    <a:lnTo>
                      <a:pt x="216" y="471"/>
                    </a:lnTo>
                    <a:lnTo>
                      <a:pt x="203" y="468"/>
                    </a:lnTo>
                    <a:lnTo>
                      <a:pt x="190" y="468"/>
                    </a:lnTo>
                    <a:lnTo>
                      <a:pt x="179" y="478"/>
                    </a:lnTo>
                    <a:lnTo>
                      <a:pt x="163" y="488"/>
                    </a:lnTo>
                    <a:lnTo>
                      <a:pt x="156" y="483"/>
                    </a:lnTo>
                    <a:lnTo>
                      <a:pt x="147" y="487"/>
                    </a:lnTo>
                    <a:lnTo>
                      <a:pt x="142" y="487"/>
                    </a:lnTo>
                    <a:lnTo>
                      <a:pt x="133" y="492"/>
                    </a:lnTo>
                    <a:lnTo>
                      <a:pt x="126" y="492"/>
                    </a:lnTo>
                    <a:lnTo>
                      <a:pt x="119" y="495"/>
                    </a:lnTo>
                    <a:lnTo>
                      <a:pt x="92" y="503"/>
                    </a:lnTo>
                    <a:lnTo>
                      <a:pt x="85" y="497"/>
                    </a:lnTo>
                    <a:lnTo>
                      <a:pt x="78" y="498"/>
                    </a:lnTo>
                    <a:lnTo>
                      <a:pt x="69" y="524"/>
                    </a:lnTo>
                    <a:lnTo>
                      <a:pt x="64" y="525"/>
                    </a:lnTo>
                    <a:lnTo>
                      <a:pt x="51" y="520"/>
                    </a:lnTo>
                    <a:lnTo>
                      <a:pt x="43" y="515"/>
                    </a:lnTo>
                    <a:lnTo>
                      <a:pt x="32" y="519"/>
                    </a:lnTo>
                    <a:lnTo>
                      <a:pt x="24" y="519"/>
                    </a:lnTo>
                    <a:lnTo>
                      <a:pt x="20" y="521"/>
                    </a:lnTo>
                    <a:lnTo>
                      <a:pt x="10" y="517"/>
                    </a:lnTo>
                    <a:lnTo>
                      <a:pt x="0" y="516"/>
                    </a:lnTo>
                    <a:lnTo>
                      <a:pt x="0" y="503"/>
                    </a:lnTo>
                    <a:lnTo>
                      <a:pt x="1" y="495"/>
                    </a:lnTo>
                    <a:lnTo>
                      <a:pt x="26" y="488"/>
                    </a:lnTo>
                    <a:lnTo>
                      <a:pt x="35" y="478"/>
                    </a:lnTo>
                    <a:lnTo>
                      <a:pt x="45" y="471"/>
                    </a:lnTo>
                    <a:lnTo>
                      <a:pt x="63" y="461"/>
                    </a:lnTo>
                    <a:lnTo>
                      <a:pt x="74" y="446"/>
                    </a:lnTo>
                    <a:lnTo>
                      <a:pt x="87" y="438"/>
                    </a:lnTo>
                    <a:lnTo>
                      <a:pt x="94" y="424"/>
                    </a:lnTo>
                    <a:lnTo>
                      <a:pt x="106" y="417"/>
                    </a:lnTo>
                    <a:lnTo>
                      <a:pt x="118" y="413"/>
                    </a:lnTo>
                    <a:lnTo>
                      <a:pt x="136" y="418"/>
                    </a:lnTo>
                    <a:lnTo>
                      <a:pt x="155" y="416"/>
                    </a:lnTo>
                    <a:lnTo>
                      <a:pt x="169" y="417"/>
                    </a:lnTo>
                    <a:lnTo>
                      <a:pt x="209" y="408"/>
                    </a:lnTo>
                    <a:lnTo>
                      <a:pt x="219" y="407"/>
                    </a:lnTo>
                    <a:lnTo>
                      <a:pt x="228" y="403"/>
                    </a:lnTo>
                    <a:lnTo>
                      <a:pt x="238" y="403"/>
                    </a:lnTo>
                    <a:lnTo>
                      <a:pt x="237" y="412"/>
                    </a:lnTo>
                    <a:lnTo>
                      <a:pt x="260" y="418"/>
                    </a:lnTo>
                    <a:lnTo>
                      <a:pt x="265" y="417"/>
                    </a:lnTo>
                    <a:lnTo>
                      <a:pt x="270" y="412"/>
                    </a:lnTo>
                    <a:lnTo>
                      <a:pt x="282" y="403"/>
                    </a:lnTo>
                    <a:lnTo>
                      <a:pt x="284" y="371"/>
                    </a:lnTo>
                    <a:lnTo>
                      <a:pt x="300" y="357"/>
                    </a:lnTo>
                    <a:lnTo>
                      <a:pt x="312" y="339"/>
                    </a:lnTo>
                    <a:lnTo>
                      <a:pt x="320" y="320"/>
                    </a:lnTo>
                    <a:lnTo>
                      <a:pt x="322" y="305"/>
                    </a:lnTo>
                    <a:lnTo>
                      <a:pt x="324" y="294"/>
                    </a:lnTo>
                    <a:lnTo>
                      <a:pt x="343" y="283"/>
                    </a:lnTo>
                    <a:lnTo>
                      <a:pt x="351" y="284"/>
                    </a:lnTo>
                    <a:lnTo>
                      <a:pt x="350" y="294"/>
                    </a:lnTo>
                    <a:lnTo>
                      <a:pt x="341" y="298"/>
                    </a:lnTo>
                    <a:lnTo>
                      <a:pt x="333" y="306"/>
                    </a:lnTo>
                    <a:lnTo>
                      <a:pt x="332" y="309"/>
                    </a:lnTo>
                    <a:lnTo>
                      <a:pt x="336" y="321"/>
                    </a:lnTo>
                    <a:lnTo>
                      <a:pt x="336" y="333"/>
                    </a:lnTo>
                    <a:lnTo>
                      <a:pt x="341" y="333"/>
                    </a:lnTo>
                    <a:lnTo>
                      <a:pt x="354" y="332"/>
                    </a:lnTo>
                    <a:lnTo>
                      <a:pt x="363" y="321"/>
                    </a:lnTo>
                    <a:lnTo>
                      <a:pt x="377" y="314"/>
                    </a:lnTo>
                    <a:lnTo>
                      <a:pt x="393" y="309"/>
                    </a:lnTo>
                    <a:lnTo>
                      <a:pt x="410" y="295"/>
                    </a:lnTo>
                    <a:lnTo>
                      <a:pt x="422" y="284"/>
                    </a:lnTo>
                    <a:lnTo>
                      <a:pt x="430" y="269"/>
                    </a:lnTo>
                    <a:lnTo>
                      <a:pt x="440" y="257"/>
                    </a:lnTo>
                    <a:lnTo>
                      <a:pt x="453" y="247"/>
                    </a:lnTo>
                    <a:lnTo>
                      <a:pt x="459" y="247"/>
                    </a:lnTo>
                    <a:lnTo>
                      <a:pt x="467" y="235"/>
                    </a:lnTo>
                    <a:lnTo>
                      <a:pt x="468" y="225"/>
                    </a:lnTo>
                    <a:lnTo>
                      <a:pt x="470" y="215"/>
                    </a:lnTo>
                    <a:lnTo>
                      <a:pt x="486" y="188"/>
                    </a:lnTo>
                    <a:lnTo>
                      <a:pt x="490" y="176"/>
                    </a:lnTo>
                    <a:lnTo>
                      <a:pt x="492" y="165"/>
                    </a:lnTo>
                    <a:lnTo>
                      <a:pt x="499" y="154"/>
                    </a:lnTo>
                    <a:lnTo>
                      <a:pt x="502" y="139"/>
                    </a:lnTo>
                    <a:lnTo>
                      <a:pt x="502" y="123"/>
                    </a:lnTo>
                    <a:lnTo>
                      <a:pt x="495" y="117"/>
                    </a:lnTo>
                    <a:lnTo>
                      <a:pt x="484" y="112"/>
                    </a:lnTo>
                    <a:lnTo>
                      <a:pt x="489" y="107"/>
                    </a:lnTo>
                    <a:lnTo>
                      <a:pt x="499" y="92"/>
                    </a:lnTo>
                    <a:lnTo>
                      <a:pt x="497" y="62"/>
                    </a:lnTo>
                    <a:lnTo>
                      <a:pt x="502" y="53"/>
                    </a:lnTo>
                    <a:lnTo>
                      <a:pt x="512" y="49"/>
                    </a:lnTo>
                    <a:lnTo>
                      <a:pt x="513" y="32"/>
                    </a:lnTo>
                    <a:lnTo>
                      <a:pt x="517" y="24"/>
                    </a:lnTo>
                    <a:lnTo>
                      <a:pt x="524" y="20"/>
                    </a:lnTo>
                    <a:lnTo>
                      <a:pt x="531" y="29"/>
                    </a:lnTo>
                    <a:lnTo>
                      <a:pt x="535" y="42"/>
                    </a:lnTo>
                    <a:lnTo>
                      <a:pt x="539" y="48"/>
                    </a:lnTo>
                    <a:lnTo>
                      <a:pt x="547" y="38"/>
                    </a:lnTo>
                    <a:lnTo>
                      <a:pt x="553" y="42"/>
                    </a:lnTo>
                    <a:lnTo>
                      <a:pt x="560" y="41"/>
                    </a:lnTo>
                    <a:lnTo>
                      <a:pt x="566" y="27"/>
                    </a:lnTo>
                    <a:lnTo>
                      <a:pt x="567" y="15"/>
                    </a:lnTo>
                    <a:lnTo>
                      <a:pt x="559" y="22"/>
                    </a:lnTo>
                    <a:lnTo>
                      <a:pt x="547" y="26"/>
                    </a:lnTo>
                    <a:lnTo>
                      <a:pt x="543" y="14"/>
                    </a:lnTo>
                    <a:lnTo>
                      <a:pt x="547" y="3"/>
                    </a:lnTo>
                    <a:lnTo>
                      <a:pt x="551" y="0"/>
                    </a:lnTo>
                    <a:lnTo>
                      <a:pt x="560" y="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7" name="Japan"/>
              <p:cNvSpPr>
                <a:spLocks noChangeAspect="1"/>
              </p:cNvSpPr>
              <p:nvPr>
                <p:custDataLst>
                  <p:tags r:id="rId304"/>
                </p:custDataLst>
              </p:nvPr>
            </p:nvSpPr>
            <p:spPr bwMode="gray">
              <a:xfrm>
                <a:off x="3966" y="2088"/>
                <a:ext cx="28" cy="21"/>
              </a:xfrm>
              <a:custGeom>
                <a:avLst/>
                <a:gdLst/>
                <a:ahLst/>
                <a:cxnLst>
                  <a:cxn ang="0">
                    <a:pos x="113" y="70"/>
                  </a:cxn>
                  <a:cxn ang="0">
                    <a:pos x="102" y="63"/>
                  </a:cxn>
                  <a:cxn ang="0">
                    <a:pos x="88" y="58"/>
                  </a:cxn>
                  <a:cxn ang="0">
                    <a:pos x="74" y="62"/>
                  </a:cxn>
                  <a:cxn ang="0">
                    <a:pos x="66" y="68"/>
                  </a:cxn>
                  <a:cxn ang="0">
                    <a:pos x="59" y="80"/>
                  </a:cxn>
                  <a:cxn ang="0">
                    <a:pos x="50" y="95"/>
                  </a:cxn>
                  <a:cxn ang="0">
                    <a:pos x="48" y="106"/>
                  </a:cxn>
                  <a:cxn ang="0">
                    <a:pos x="39" y="107"/>
                  </a:cxn>
                  <a:cxn ang="0">
                    <a:pos x="30" y="100"/>
                  </a:cxn>
                  <a:cxn ang="0">
                    <a:pos x="26" y="95"/>
                  </a:cxn>
                  <a:cxn ang="0">
                    <a:pos x="19" y="82"/>
                  </a:cxn>
                  <a:cxn ang="0">
                    <a:pos x="20" y="76"/>
                  </a:cxn>
                  <a:cxn ang="0">
                    <a:pos x="16" y="69"/>
                  </a:cxn>
                  <a:cxn ang="0">
                    <a:pos x="10" y="64"/>
                  </a:cxn>
                  <a:cxn ang="0">
                    <a:pos x="0" y="64"/>
                  </a:cxn>
                  <a:cxn ang="0">
                    <a:pos x="15" y="53"/>
                  </a:cxn>
                  <a:cxn ang="0">
                    <a:pos x="37" y="23"/>
                  </a:cxn>
                  <a:cxn ang="0">
                    <a:pos x="50" y="25"/>
                  </a:cxn>
                  <a:cxn ang="0">
                    <a:pos x="57" y="28"/>
                  </a:cxn>
                  <a:cxn ang="0">
                    <a:pos x="68" y="26"/>
                  </a:cxn>
                  <a:cxn ang="0">
                    <a:pos x="78" y="21"/>
                  </a:cxn>
                  <a:cxn ang="0">
                    <a:pos x="82" y="14"/>
                  </a:cxn>
                  <a:cxn ang="0">
                    <a:pos x="95" y="1"/>
                  </a:cxn>
                  <a:cxn ang="0">
                    <a:pos x="102" y="0"/>
                  </a:cxn>
                  <a:cxn ang="0">
                    <a:pos x="112" y="3"/>
                  </a:cxn>
                  <a:cxn ang="0">
                    <a:pos x="123" y="9"/>
                  </a:cxn>
                  <a:cxn ang="0">
                    <a:pos x="132" y="10"/>
                  </a:cxn>
                  <a:cxn ang="0">
                    <a:pos x="138" y="33"/>
                  </a:cxn>
                  <a:cxn ang="0">
                    <a:pos x="140" y="36"/>
                  </a:cxn>
                  <a:cxn ang="0">
                    <a:pos x="134" y="44"/>
                  </a:cxn>
                  <a:cxn ang="0">
                    <a:pos x="128" y="47"/>
                  </a:cxn>
                  <a:cxn ang="0">
                    <a:pos x="123" y="54"/>
                  </a:cxn>
                  <a:cxn ang="0">
                    <a:pos x="118" y="63"/>
                  </a:cxn>
                  <a:cxn ang="0">
                    <a:pos x="113" y="70"/>
                  </a:cxn>
                </a:cxnLst>
                <a:rect l="0" t="0" r="r" b="b"/>
                <a:pathLst>
                  <a:path w="140" h="107">
                    <a:moveTo>
                      <a:pt x="113" y="70"/>
                    </a:moveTo>
                    <a:lnTo>
                      <a:pt x="102" y="63"/>
                    </a:lnTo>
                    <a:lnTo>
                      <a:pt x="88" y="58"/>
                    </a:lnTo>
                    <a:lnTo>
                      <a:pt x="74" y="62"/>
                    </a:lnTo>
                    <a:lnTo>
                      <a:pt x="66" y="68"/>
                    </a:lnTo>
                    <a:lnTo>
                      <a:pt x="59" y="80"/>
                    </a:lnTo>
                    <a:lnTo>
                      <a:pt x="50" y="95"/>
                    </a:lnTo>
                    <a:lnTo>
                      <a:pt x="48" y="106"/>
                    </a:lnTo>
                    <a:lnTo>
                      <a:pt x="39" y="107"/>
                    </a:lnTo>
                    <a:lnTo>
                      <a:pt x="30" y="100"/>
                    </a:lnTo>
                    <a:lnTo>
                      <a:pt x="26" y="95"/>
                    </a:lnTo>
                    <a:lnTo>
                      <a:pt x="19" y="82"/>
                    </a:lnTo>
                    <a:lnTo>
                      <a:pt x="20" y="76"/>
                    </a:lnTo>
                    <a:lnTo>
                      <a:pt x="16" y="69"/>
                    </a:lnTo>
                    <a:lnTo>
                      <a:pt x="10" y="64"/>
                    </a:lnTo>
                    <a:lnTo>
                      <a:pt x="0" y="64"/>
                    </a:lnTo>
                    <a:lnTo>
                      <a:pt x="15" y="53"/>
                    </a:lnTo>
                    <a:lnTo>
                      <a:pt x="37" y="23"/>
                    </a:lnTo>
                    <a:lnTo>
                      <a:pt x="50" y="25"/>
                    </a:lnTo>
                    <a:lnTo>
                      <a:pt x="57" y="28"/>
                    </a:lnTo>
                    <a:lnTo>
                      <a:pt x="68" y="26"/>
                    </a:lnTo>
                    <a:lnTo>
                      <a:pt x="78" y="21"/>
                    </a:lnTo>
                    <a:lnTo>
                      <a:pt x="82" y="14"/>
                    </a:lnTo>
                    <a:lnTo>
                      <a:pt x="95" y="1"/>
                    </a:lnTo>
                    <a:lnTo>
                      <a:pt x="102" y="0"/>
                    </a:lnTo>
                    <a:lnTo>
                      <a:pt x="112" y="3"/>
                    </a:lnTo>
                    <a:lnTo>
                      <a:pt x="123" y="9"/>
                    </a:lnTo>
                    <a:lnTo>
                      <a:pt x="132" y="10"/>
                    </a:lnTo>
                    <a:lnTo>
                      <a:pt x="138" y="33"/>
                    </a:lnTo>
                    <a:lnTo>
                      <a:pt x="140" y="36"/>
                    </a:lnTo>
                    <a:lnTo>
                      <a:pt x="134" y="44"/>
                    </a:lnTo>
                    <a:lnTo>
                      <a:pt x="128" y="47"/>
                    </a:lnTo>
                    <a:lnTo>
                      <a:pt x="123" y="54"/>
                    </a:lnTo>
                    <a:lnTo>
                      <a:pt x="118" y="63"/>
                    </a:lnTo>
                    <a:lnTo>
                      <a:pt x="113" y="7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8" name="Japan"/>
              <p:cNvSpPr>
                <a:spLocks noChangeAspect="1"/>
              </p:cNvSpPr>
              <p:nvPr>
                <p:custDataLst>
                  <p:tags r:id="rId305"/>
                </p:custDataLst>
              </p:nvPr>
            </p:nvSpPr>
            <p:spPr bwMode="gray">
              <a:xfrm>
                <a:off x="3938" y="2093"/>
                <a:ext cx="26" cy="38"/>
              </a:xfrm>
              <a:custGeom>
                <a:avLst/>
                <a:gdLst/>
                <a:ahLst/>
                <a:cxnLst>
                  <a:cxn ang="0">
                    <a:pos x="69" y="2"/>
                  </a:cxn>
                  <a:cxn ang="0">
                    <a:pos x="56" y="4"/>
                  </a:cxn>
                  <a:cxn ang="0">
                    <a:pos x="42" y="22"/>
                  </a:cxn>
                  <a:cxn ang="0">
                    <a:pos x="29" y="29"/>
                  </a:cxn>
                  <a:cxn ang="0">
                    <a:pos x="18" y="29"/>
                  </a:cxn>
                  <a:cxn ang="0">
                    <a:pos x="0" y="48"/>
                  </a:cxn>
                  <a:cxn ang="0">
                    <a:pos x="16" y="64"/>
                  </a:cxn>
                  <a:cxn ang="0">
                    <a:pos x="11" y="62"/>
                  </a:cxn>
                  <a:cxn ang="0">
                    <a:pos x="9" y="88"/>
                  </a:cxn>
                  <a:cxn ang="0">
                    <a:pos x="27" y="78"/>
                  </a:cxn>
                  <a:cxn ang="0">
                    <a:pos x="41" y="75"/>
                  </a:cxn>
                  <a:cxn ang="0">
                    <a:pos x="32" y="65"/>
                  </a:cxn>
                  <a:cxn ang="0">
                    <a:pos x="37" y="50"/>
                  </a:cxn>
                  <a:cxn ang="0">
                    <a:pos x="51" y="74"/>
                  </a:cxn>
                  <a:cxn ang="0">
                    <a:pos x="53" y="86"/>
                  </a:cxn>
                  <a:cxn ang="0">
                    <a:pos x="47" y="112"/>
                  </a:cxn>
                  <a:cxn ang="0">
                    <a:pos x="36" y="128"/>
                  </a:cxn>
                  <a:cxn ang="0">
                    <a:pos x="38" y="159"/>
                  </a:cxn>
                  <a:cxn ang="0">
                    <a:pos x="41" y="174"/>
                  </a:cxn>
                  <a:cxn ang="0">
                    <a:pos x="58" y="166"/>
                  </a:cxn>
                  <a:cxn ang="0">
                    <a:pos x="57" y="145"/>
                  </a:cxn>
                  <a:cxn ang="0">
                    <a:pos x="62" y="151"/>
                  </a:cxn>
                  <a:cxn ang="0">
                    <a:pos x="63" y="172"/>
                  </a:cxn>
                  <a:cxn ang="0">
                    <a:pos x="70" y="185"/>
                  </a:cxn>
                  <a:cxn ang="0">
                    <a:pos x="79" y="169"/>
                  </a:cxn>
                  <a:cxn ang="0">
                    <a:pos x="94" y="164"/>
                  </a:cxn>
                  <a:cxn ang="0">
                    <a:pos x="107" y="117"/>
                  </a:cxn>
                  <a:cxn ang="0">
                    <a:pos x="120" y="89"/>
                  </a:cxn>
                  <a:cxn ang="0">
                    <a:pos x="131" y="69"/>
                  </a:cxn>
                  <a:cxn ang="0">
                    <a:pos x="124" y="48"/>
                  </a:cxn>
                  <a:cxn ang="0">
                    <a:pos x="110" y="40"/>
                  </a:cxn>
                  <a:cxn ang="0">
                    <a:pos x="112" y="19"/>
                  </a:cxn>
                  <a:cxn ang="0">
                    <a:pos x="86" y="22"/>
                  </a:cxn>
                  <a:cxn ang="0">
                    <a:pos x="77" y="3"/>
                  </a:cxn>
                </a:cxnLst>
                <a:rect l="0" t="0" r="r" b="b"/>
                <a:pathLst>
                  <a:path w="131" h="187">
                    <a:moveTo>
                      <a:pt x="67" y="2"/>
                    </a:moveTo>
                    <a:lnTo>
                      <a:pt x="69" y="2"/>
                    </a:lnTo>
                    <a:lnTo>
                      <a:pt x="64" y="0"/>
                    </a:lnTo>
                    <a:lnTo>
                      <a:pt x="56" y="4"/>
                    </a:lnTo>
                    <a:lnTo>
                      <a:pt x="47" y="13"/>
                    </a:lnTo>
                    <a:lnTo>
                      <a:pt x="42" y="22"/>
                    </a:lnTo>
                    <a:lnTo>
                      <a:pt x="35" y="22"/>
                    </a:lnTo>
                    <a:lnTo>
                      <a:pt x="29" y="29"/>
                    </a:lnTo>
                    <a:lnTo>
                      <a:pt x="21" y="32"/>
                    </a:lnTo>
                    <a:lnTo>
                      <a:pt x="18" y="29"/>
                    </a:lnTo>
                    <a:lnTo>
                      <a:pt x="11" y="34"/>
                    </a:lnTo>
                    <a:lnTo>
                      <a:pt x="0" y="48"/>
                    </a:lnTo>
                    <a:lnTo>
                      <a:pt x="10" y="56"/>
                    </a:lnTo>
                    <a:lnTo>
                      <a:pt x="16" y="64"/>
                    </a:lnTo>
                    <a:lnTo>
                      <a:pt x="16" y="72"/>
                    </a:lnTo>
                    <a:lnTo>
                      <a:pt x="11" y="62"/>
                    </a:lnTo>
                    <a:lnTo>
                      <a:pt x="5" y="62"/>
                    </a:lnTo>
                    <a:lnTo>
                      <a:pt x="9" y="88"/>
                    </a:lnTo>
                    <a:lnTo>
                      <a:pt x="14" y="81"/>
                    </a:lnTo>
                    <a:lnTo>
                      <a:pt x="27" y="78"/>
                    </a:lnTo>
                    <a:lnTo>
                      <a:pt x="37" y="84"/>
                    </a:lnTo>
                    <a:lnTo>
                      <a:pt x="41" y="75"/>
                    </a:lnTo>
                    <a:lnTo>
                      <a:pt x="35" y="72"/>
                    </a:lnTo>
                    <a:lnTo>
                      <a:pt x="32" y="65"/>
                    </a:lnTo>
                    <a:lnTo>
                      <a:pt x="32" y="54"/>
                    </a:lnTo>
                    <a:lnTo>
                      <a:pt x="37" y="50"/>
                    </a:lnTo>
                    <a:lnTo>
                      <a:pt x="43" y="63"/>
                    </a:lnTo>
                    <a:lnTo>
                      <a:pt x="51" y="74"/>
                    </a:lnTo>
                    <a:lnTo>
                      <a:pt x="51" y="85"/>
                    </a:lnTo>
                    <a:lnTo>
                      <a:pt x="53" y="86"/>
                    </a:lnTo>
                    <a:lnTo>
                      <a:pt x="53" y="100"/>
                    </a:lnTo>
                    <a:lnTo>
                      <a:pt x="47" y="112"/>
                    </a:lnTo>
                    <a:lnTo>
                      <a:pt x="41" y="118"/>
                    </a:lnTo>
                    <a:lnTo>
                      <a:pt x="36" y="128"/>
                    </a:lnTo>
                    <a:lnTo>
                      <a:pt x="35" y="143"/>
                    </a:lnTo>
                    <a:lnTo>
                      <a:pt x="38" y="159"/>
                    </a:lnTo>
                    <a:lnTo>
                      <a:pt x="35" y="167"/>
                    </a:lnTo>
                    <a:lnTo>
                      <a:pt x="41" y="174"/>
                    </a:lnTo>
                    <a:lnTo>
                      <a:pt x="54" y="180"/>
                    </a:lnTo>
                    <a:lnTo>
                      <a:pt x="58" y="166"/>
                    </a:lnTo>
                    <a:lnTo>
                      <a:pt x="53" y="155"/>
                    </a:lnTo>
                    <a:lnTo>
                      <a:pt x="57" y="145"/>
                    </a:lnTo>
                    <a:lnTo>
                      <a:pt x="65" y="148"/>
                    </a:lnTo>
                    <a:lnTo>
                      <a:pt x="62" y="151"/>
                    </a:lnTo>
                    <a:lnTo>
                      <a:pt x="61" y="160"/>
                    </a:lnTo>
                    <a:lnTo>
                      <a:pt x="63" y="172"/>
                    </a:lnTo>
                    <a:lnTo>
                      <a:pt x="63" y="187"/>
                    </a:lnTo>
                    <a:lnTo>
                      <a:pt x="70" y="185"/>
                    </a:lnTo>
                    <a:lnTo>
                      <a:pt x="79" y="177"/>
                    </a:lnTo>
                    <a:lnTo>
                      <a:pt x="79" y="169"/>
                    </a:lnTo>
                    <a:lnTo>
                      <a:pt x="88" y="160"/>
                    </a:lnTo>
                    <a:lnTo>
                      <a:pt x="94" y="164"/>
                    </a:lnTo>
                    <a:lnTo>
                      <a:pt x="100" y="148"/>
                    </a:lnTo>
                    <a:lnTo>
                      <a:pt x="107" y="117"/>
                    </a:lnTo>
                    <a:lnTo>
                      <a:pt x="113" y="100"/>
                    </a:lnTo>
                    <a:lnTo>
                      <a:pt x="120" y="89"/>
                    </a:lnTo>
                    <a:lnTo>
                      <a:pt x="127" y="78"/>
                    </a:lnTo>
                    <a:lnTo>
                      <a:pt x="131" y="69"/>
                    </a:lnTo>
                    <a:lnTo>
                      <a:pt x="129" y="59"/>
                    </a:lnTo>
                    <a:lnTo>
                      <a:pt x="124" y="48"/>
                    </a:lnTo>
                    <a:lnTo>
                      <a:pt x="111" y="45"/>
                    </a:lnTo>
                    <a:lnTo>
                      <a:pt x="110" y="40"/>
                    </a:lnTo>
                    <a:lnTo>
                      <a:pt x="115" y="26"/>
                    </a:lnTo>
                    <a:lnTo>
                      <a:pt x="112" y="19"/>
                    </a:lnTo>
                    <a:lnTo>
                      <a:pt x="104" y="21"/>
                    </a:lnTo>
                    <a:lnTo>
                      <a:pt x="86" y="22"/>
                    </a:lnTo>
                    <a:lnTo>
                      <a:pt x="77" y="9"/>
                    </a:lnTo>
                    <a:lnTo>
                      <a:pt x="77" y="3"/>
                    </a:lnTo>
                    <a:lnTo>
                      <a:pt x="67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9" name="South Korea"/>
            <p:cNvSpPr>
              <a:spLocks noChangeAspect="1"/>
            </p:cNvSpPr>
            <p:nvPr>
              <p:custDataLst>
                <p:tags r:id="rId85"/>
              </p:custDataLst>
            </p:nvPr>
          </p:nvSpPr>
          <p:spPr bwMode="gray">
            <a:xfrm>
              <a:off x="7690731" y="3562412"/>
              <a:ext cx="88943" cy="133414"/>
            </a:xfrm>
            <a:custGeom>
              <a:avLst/>
              <a:gdLst/>
              <a:ahLst/>
              <a:cxnLst>
                <a:cxn ang="0">
                  <a:pos x="130" y="5"/>
                </a:cxn>
                <a:cxn ang="0">
                  <a:pos x="156" y="46"/>
                </a:cxn>
                <a:cxn ang="0">
                  <a:pos x="173" y="73"/>
                </a:cxn>
                <a:cxn ang="0">
                  <a:pos x="184" y="113"/>
                </a:cxn>
                <a:cxn ang="0">
                  <a:pos x="184" y="170"/>
                </a:cxn>
                <a:cxn ang="0">
                  <a:pos x="181" y="201"/>
                </a:cxn>
                <a:cxn ang="0">
                  <a:pos x="163" y="228"/>
                </a:cxn>
                <a:cxn ang="0">
                  <a:pos x="142" y="233"/>
                </a:cxn>
                <a:cxn ang="0">
                  <a:pos x="131" y="235"/>
                </a:cxn>
                <a:cxn ang="0">
                  <a:pos x="120" y="252"/>
                </a:cxn>
                <a:cxn ang="0">
                  <a:pos x="111" y="245"/>
                </a:cxn>
                <a:cxn ang="0">
                  <a:pos x="95" y="241"/>
                </a:cxn>
                <a:cxn ang="0">
                  <a:pos x="88" y="252"/>
                </a:cxn>
                <a:cxn ang="0">
                  <a:pos x="79" y="263"/>
                </a:cxn>
                <a:cxn ang="0">
                  <a:pos x="72" y="252"/>
                </a:cxn>
                <a:cxn ang="0">
                  <a:pos x="66" y="272"/>
                </a:cxn>
                <a:cxn ang="0">
                  <a:pos x="57" y="269"/>
                </a:cxn>
                <a:cxn ang="0">
                  <a:pos x="66" y="257"/>
                </a:cxn>
                <a:cxn ang="0">
                  <a:pos x="51" y="264"/>
                </a:cxn>
                <a:cxn ang="0">
                  <a:pos x="38" y="276"/>
                </a:cxn>
                <a:cxn ang="0">
                  <a:pos x="31" y="274"/>
                </a:cxn>
                <a:cxn ang="0">
                  <a:pos x="20" y="274"/>
                </a:cxn>
                <a:cxn ang="0">
                  <a:pos x="8" y="285"/>
                </a:cxn>
                <a:cxn ang="0">
                  <a:pos x="9" y="273"/>
                </a:cxn>
                <a:cxn ang="0">
                  <a:pos x="22" y="267"/>
                </a:cxn>
                <a:cxn ang="0">
                  <a:pos x="24" y="253"/>
                </a:cxn>
                <a:cxn ang="0">
                  <a:pos x="13" y="256"/>
                </a:cxn>
                <a:cxn ang="0">
                  <a:pos x="15" y="235"/>
                </a:cxn>
                <a:cxn ang="0">
                  <a:pos x="20" y="212"/>
                </a:cxn>
                <a:cxn ang="0">
                  <a:pos x="23" y="199"/>
                </a:cxn>
                <a:cxn ang="0">
                  <a:pos x="34" y="186"/>
                </a:cxn>
                <a:cxn ang="0">
                  <a:pos x="30" y="174"/>
                </a:cxn>
                <a:cxn ang="0">
                  <a:pos x="23" y="155"/>
                </a:cxn>
                <a:cxn ang="0">
                  <a:pos x="19" y="129"/>
                </a:cxn>
                <a:cxn ang="0">
                  <a:pos x="15" y="139"/>
                </a:cxn>
                <a:cxn ang="0">
                  <a:pos x="4" y="132"/>
                </a:cxn>
                <a:cxn ang="0">
                  <a:pos x="1" y="123"/>
                </a:cxn>
                <a:cxn ang="0">
                  <a:pos x="17" y="115"/>
                </a:cxn>
                <a:cxn ang="0">
                  <a:pos x="39" y="117"/>
                </a:cxn>
                <a:cxn ang="0">
                  <a:pos x="38" y="108"/>
                </a:cxn>
                <a:cxn ang="0">
                  <a:pos x="34" y="95"/>
                </a:cxn>
                <a:cxn ang="0">
                  <a:pos x="38" y="86"/>
                </a:cxn>
                <a:cxn ang="0">
                  <a:pos x="29" y="83"/>
                </a:cxn>
                <a:cxn ang="0">
                  <a:pos x="24" y="72"/>
                </a:cxn>
                <a:cxn ang="0">
                  <a:pos x="22" y="64"/>
                </a:cxn>
                <a:cxn ang="0">
                  <a:pos x="19" y="53"/>
                </a:cxn>
                <a:cxn ang="0">
                  <a:pos x="36" y="45"/>
                </a:cxn>
                <a:cxn ang="0">
                  <a:pos x="76" y="21"/>
                </a:cxn>
                <a:cxn ang="0">
                  <a:pos x="108" y="16"/>
                </a:cxn>
              </a:cxnLst>
              <a:rect l="0" t="0" r="r" b="b"/>
              <a:pathLst>
                <a:path w="190" h="285">
                  <a:moveTo>
                    <a:pt x="125" y="0"/>
                  </a:moveTo>
                  <a:lnTo>
                    <a:pt x="130" y="5"/>
                  </a:lnTo>
                  <a:lnTo>
                    <a:pt x="146" y="36"/>
                  </a:lnTo>
                  <a:lnTo>
                    <a:pt x="156" y="46"/>
                  </a:lnTo>
                  <a:lnTo>
                    <a:pt x="165" y="58"/>
                  </a:lnTo>
                  <a:lnTo>
                    <a:pt x="173" y="73"/>
                  </a:lnTo>
                  <a:lnTo>
                    <a:pt x="180" y="91"/>
                  </a:lnTo>
                  <a:lnTo>
                    <a:pt x="184" y="113"/>
                  </a:lnTo>
                  <a:lnTo>
                    <a:pt x="183" y="150"/>
                  </a:lnTo>
                  <a:lnTo>
                    <a:pt x="184" y="170"/>
                  </a:lnTo>
                  <a:lnTo>
                    <a:pt x="190" y="171"/>
                  </a:lnTo>
                  <a:lnTo>
                    <a:pt x="181" y="201"/>
                  </a:lnTo>
                  <a:lnTo>
                    <a:pt x="174" y="217"/>
                  </a:lnTo>
                  <a:lnTo>
                    <a:pt x="163" y="228"/>
                  </a:lnTo>
                  <a:lnTo>
                    <a:pt x="154" y="230"/>
                  </a:lnTo>
                  <a:lnTo>
                    <a:pt x="142" y="233"/>
                  </a:lnTo>
                  <a:lnTo>
                    <a:pt x="135" y="230"/>
                  </a:lnTo>
                  <a:lnTo>
                    <a:pt x="131" y="235"/>
                  </a:lnTo>
                  <a:lnTo>
                    <a:pt x="127" y="242"/>
                  </a:lnTo>
                  <a:lnTo>
                    <a:pt x="120" y="252"/>
                  </a:lnTo>
                  <a:lnTo>
                    <a:pt x="116" y="245"/>
                  </a:lnTo>
                  <a:lnTo>
                    <a:pt x="111" y="245"/>
                  </a:lnTo>
                  <a:lnTo>
                    <a:pt x="101" y="240"/>
                  </a:lnTo>
                  <a:lnTo>
                    <a:pt x="95" y="241"/>
                  </a:lnTo>
                  <a:lnTo>
                    <a:pt x="83" y="246"/>
                  </a:lnTo>
                  <a:lnTo>
                    <a:pt x="88" y="252"/>
                  </a:lnTo>
                  <a:lnTo>
                    <a:pt x="86" y="260"/>
                  </a:lnTo>
                  <a:lnTo>
                    <a:pt x="79" y="263"/>
                  </a:lnTo>
                  <a:lnTo>
                    <a:pt x="76" y="256"/>
                  </a:lnTo>
                  <a:lnTo>
                    <a:pt x="72" y="252"/>
                  </a:lnTo>
                  <a:lnTo>
                    <a:pt x="71" y="268"/>
                  </a:lnTo>
                  <a:lnTo>
                    <a:pt x="66" y="272"/>
                  </a:lnTo>
                  <a:lnTo>
                    <a:pt x="61" y="273"/>
                  </a:lnTo>
                  <a:lnTo>
                    <a:pt x="57" y="269"/>
                  </a:lnTo>
                  <a:lnTo>
                    <a:pt x="65" y="263"/>
                  </a:lnTo>
                  <a:lnTo>
                    <a:pt x="66" y="257"/>
                  </a:lnTo>
                  <a:lnTo>
                    <a:pt x="60" y="260"/>
                  </a:lnTo>
                  <a:lnTo>
                    <a:pt x="51" y="264"/>
                  </a:lnTo>
                  <a:lnTo>
                    <a:pt x="41" y="276"/>
                  </a:lnTo>
                  <a:lnTo>
                    <a:pt x="38" y="276"/>
                  </a:lnTo>
                  <a:lnTo>
                    <a:pt x="35" y="269"/>
                  </a:lnTo>
                  <a:lnTo>
                    <a:pt x="31" y="274"/>
                  </a:lnTo>
                  <a:lnTo>
                    <a:pt x="22" y="283"/>
                  </a:lnTo>
                  <a:lnTo>
                    <a:pt x="20" y="274"/>
                  </a:lnTo>
                  <a:lnTo>
                    <a:pt x="12" y="277"/>
                  </a:lnTo>
                  <a:lnTo>
                    <a:pt x="8" y="285"/>
                  </a:lnTo>
                  <a:lnTo>
                    <a:pt x="4" y="282"/>
                  </a:lnTo>
                  <a:lnTo>
                    <a:pt x="9" y="273"/>
                  </a:lnTo>
                  <a:lnTo>
                    <a:pt x="11" y="263"/>
                  </a:lnTo>
                  <a:lnTo>
                    <a:pt x="22" y="267"/>
                  </a:lnTo>
                  <a:lnTo>
                    <a:pt x="20" y="261"/>
                  </a:lnTo>
                  <a:lnTo>
                    <a:pt x="24" y="253"/>
                  </a:lnTo>
                  <a:lnTo>
                    <a:pt x="19" y="250"/>
                  </a:lnTo>
                  <a:lnTo>
                    <a:pt x="13" y="256"/>
                  </a:lnTo>
                  <a:lnTo>
                    <a:pt x="11" y="247"/>
                  </a:lnTo>
                  <a:lnTo>
                    <a:pt x="15" y="235"/>
                  </a:lnTo>
                  <a:lnTo>
                    <a:pt x="15" y="225"/>
                  </a:lnTo>
                  <a:lnTo>
                    <a:pt x="20" y="212"/>
                  </a:lnTo>
                  <a:lnTo>
                    <a:pt x="27" y="203"/>
                  </a:lnTo>
                  <a:lnTo>
                    <a:pt x="23" y="199"/>
                  </a:lnTo>
                  <a:lnTo>
                    <a:pt x="31" y="193"/>
                  </a:lnTo>
                  <a:lnTo>
                    <a:pt x="34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24" y="167"/>
                  </a:lnTo>
                  <a:lnTo>
                    <a:pt x="23" y="155"/>
                  </a:lnTo>
                  <a:lnTo>
                    <a:pt x="20" y="143"/>
                  </a:lnTo>
                  <a:lnTo>
                    <a:pt x="19" y="129"/>
                  </a:lnTo>
                  <a:lnTo>
                    <a:pt x="13" y="127"/>
                  </a:lnTo>
                  <a:lnTo>
                    <a:pt x="15" y="139"/>
                  </a:lnTo>
                  <a:lnTo>
                    <a:pt x="11" y="14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1" y="123"/>
                  </a:lnTo>
                  <a:lnTo>
                    <a:pt x="8" y="115"/>
                  </a:lnTo>
                  <a:lnTo>
                    <a:pt x="17" y="115"/>
                  </a:lnTo>
                  <a:lnTo>
                    <a:pt x="29" y="110"/>
                  </a:lnTo>
                  <a:lnTo>
                    <a:pt x="39" y="117"/>
                  </a:lnTo>
                  <a:lnTo>
                    <a:pt x="43" y="118"/>
                  </a:lnTo>
                  <a:lnTo>
                    <a:pt x="38" y="108"/>
                  </a:lnTo>
                  <a:lnTo>
                    <a:pt x="38" y="100"/>
                  </a:lnTo>
                  <a:lnTo>
                    <a:pt x="34" y="95"/>
                  </a:lnTo>
                  <a:lnTo>
                    <a:pt x="35" y="89"/>
                  </a:lnTo>
                  <a:lnTo>
                    <a:pt x="38" y="86"/>
                  </a:lnTo>
                  <a:lnTo>
                    <a:pt x="31" y="81"/>
                  </a:lnTo>
                  <a:lnTo>
                    <a:pt x="29" y="83"/>
                  </a:lnTo>
                  <a:lnTo>
                    <a:pt x="25" y="77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22" y="64"/>
                  </a:lnTo>
                  <a:lnTo>
                    <a:pt x="19" y="58"/>
                  </a:lnTo>
                  <a:lnTo>
                    <a:pt x="19" y="53"/>
                  </a:lnTo>
                  <a:lnTo>
                    <a:pt x="23" y="56"/>
                  </a:lnTo>
                  <a:lnTo>
                    <a:pt x="36" y="45"/>
                  </a:lnTo>
                  <a:lnTo>
                    <a:pt x="58" y="22"/>
                  </a:lnTo>
                  <a:lnTo>
                    <a:pt x="76" y="21"/>
                  </a:lnTo>
                  <a:lnTo>
                    <a:pt x="93" y="22"/>
                  </a:lnTo>
                  <a:lnTo>
                    <a:pt x="108" y="16"/>
                  </a:lnTo>
                  <a:lnTo>
                    <a:pt x="125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90" name="Mongolia"/>
            <p:cNvSpPr>
              <a:spLocks noChangeAspect="1"/>
            </p:cNvSpPr>
            <p:nvPr>
              <p:custDataLst>
                <p:tags r:id="rId86"/>
              </p:custDataLst>
            </p:nvPr>
          </p:nvSpPr>
          <p:spPr bwMode="gray">
            <a:xfrm>
              <a:off x="6707679" y="3061523"/>
              <a:ext cx="812188" cy="397902"/>
            </a:xfrm>
            <a:custGeom>
              <a:avLst/>
              <a:gdLst/>
              <a:ahLst/>
              <a:cxnLst>
                <a:cxn ang="0">
                  <a:pos x="46" y="227"/>
                </a:cxn>
                <a:cxn ang="0">
                  <a:pos x="129" y="180"/>
                </a:cxn>
                <a:cxn ang="0">
                  <a:pos x="243" y="132"/>
                </a:cxn>
                <a:cxn ang="0">
                  <a:pos x="313" y="149"/>
                </a:cxn>
                <a:cxn ang="0">
                  <a:pos x="387" y="187"/>
                </a:cxn>
                <a:cxn ang="0">
                  <a:pos x="508" y="190"/>
                </a:cxn>
                <a:cxn ang="0">
                  <a:pos x="552" y="160"/>
                </a:cxn>
                <a:cxn ang="0">
                  <a:pos x="554" y="99"/>
                </a:cxn>
                <a:cxn ang="0">
                  <a:pos x="582" y="33"/>
                </a:cxn>
                <a:cxn ang="0">
                  <a:pos x="645" y="6"/>
                </a:cxn>
                <a:cxn ang="0">
                  <a:pos x="731" y="47"/>
                </a:cxn>
                <a:cxn ang="0">
                  <a:pos x="787" y="103"/>
                </a:cxn>
                <a:cxn ang="0">
                  <a:pos x="830" y="154"/>
                </a:cxn>
                <a:cxn ang="0">
                  <a:pos x="944" y="132"/>
                </a:cxn>
                <a:cxn ang="0">
                  <a:pos x="1034" y="169"/>
                </a:cxn>
                <a:cxn ang="0">
                  <a:pos x="1104" y="201"/>
                </a:cxn>
                <a:cxn ang="0">
                  <a:pos x="1200" y="249"/>
                </a:cxn>
                <a:cxn ang="0">
                  <a:pos x="1317" y="237"/>
                </a:cxn>
                <a:cxn ang="0">
                  <a:pos x="1439" y="179"/>
                </a:cxn>
                <a:cxn ang="0">
                  <a:pos x="1528" y="199"/>
                </a:cxn>
                <a:cxn ang="0">
                  <a:pos x="1565" y="195"/>
                </a:cxn>
                <a:cxn ang="0">
                  <a:pos x="1525" y="255"/>
                </a:cxn>
                <a:cxn ang="0">
                  <a:pos x="1517" y="325"/>
                </a:cxn>
                <a:cxn ang="0">
                  <a:pos x="1570" y="391"/>
                </a:cxn>
                <a:cxn ang="0">
                  <a:pos x="1667" y="348"/>
                </a:cxn>
                <a:cxn ang="0">
                  <a:pos x="1721" y="415"/>
                </a:cxn>
                <a:cxn ang="0">
                  <a:pos x="1734" y="458"/>
                </a:cxn>
                <a:cxn ang="0">
                  <a:pos x="1663" y="461"/>
                </a:cxn>
                <a:cxn ang="0">
                  <a:pos x="1576" y="482"/>
                </a:cxn>
                <a:cxn ang="0">
                  <a:pos x="1489" y="551"/>
                </a:cxn>
                <a:cxn ang="0">
                  <a:pos x="1411" y="611"/>
                </a:cxn>
                <a:cxn ang="0">
                  <a:pos x="1344" y="588"/>
                </a:cxn>
                <a:cxn ang="0">
                  <a:pos x="1298" y="646"/>
                </a:cxn>
                <a:cxn ang="0">
                  <a:pos x="1255" y="752"/>
                </a:cxn>
                <a:cxn ang="0">
                  <a:pos x="1163" y="789"/>
                </a:cxn>
                <a:cxn ang="0">
                  <a:pos x="1088" y="788"/>
                </a:cxn>
                <a:cxn ang="0">
                  <a:pos x="1014" y="815"/>
                </a:cxn>
                <a:cxn ang="0">
                  <a:pos x="942" y="847"/>
                </a:cxn>
                <a:cxn ang="0">
                  <a:pos x="903" y="834"/>
                </a:cxn>
                <a:cxn ang="0">
                  <a:pos x="801" y="805"/>
                </a:cxn>
                <a:cxn ang="0">
                  <a:pos x="744" y="767"/>
                </a:cxn>
                <a:cxn ang="0">
                  <a:pos x="527" y="766"/>
                </a:cxn>
                <a:cxn ang="0">
                  <a:pos x="463" y="730"/>
                </a:cxn>
                <a:cxn ang="0">
                  <a:pos x="421" y="659"/>
                </a:cxn>
                <a:cxn ang="0">
                  <a:pos x="353" y="625"/>
                </a:cxn>
                <a:cxn ang="0">
                  <a:pos x="280" y="590"/>
                </a:cxn>
                <a:cxn ang="0">
                  <a:pos x="211" y="584"/>
                </a:cxn>
                <a:cxn ang="0">
                  <a:pos x="158" y="552"/>
                </a:cxn>
                <a:cxn ang="0">
                  <a:pos x="163" y="470"/>
                </a:cxn>
                <a:cxn ang="0">
                  <a:pos x="124" y="372"/>
                </a:cxn>
                <a:cxn ang="0">
                  <a:pos x="70" y="369"/>
                </a:cxn>
                <a:cxn ang="0">
                  <a:pos x="3" y="288"/>
                </a:cxn>
              </a:cxnLst>
              <a:rect l="0" t="0" r="r" b="b"/>
              <a:pathLst>
                <a:path w="1734" h="848">
                  <a:moveTo>
                    <a:pt x="0" y="273"/>
                  </a:moveTo>
                  <a:lnTo>
                    <a:pt x="12" y="251"/>
                  </a:lnTo>
                  <a:lnTo>
                    <a:pt x="28" y="234"/>
                  </a:lnTo>
                  <a:lnTo>
                    <a:pt x="46" y="227"/>
                  </a:lnTo>
                  <a:lnTo>
                    <a:pt x="65" y="221"/>
                  </a:lnTo>
                  <a:lnTo>
                    <a:pt x="84" y="208"/>
                  </a:lnTo>
                  <a:lnTo>
                    <a:pt x="104" y="192"/>
                  </a:lnTo>
                  <a:lnTo>
                    <a:pt x="129" y="180"/>
                  </a:lnTo>
                  <a:lnTo>
                    <a:pt x="154" y="158"/>
                  </a:lnTo>
                  <a:lnTo>
                    <a:pt x="195" y="146"/>
                  </a:lnTo>
                  <a:lnTo>
                    <a:pt x="220" y="135"/>
                  </a:lnTo>
                  <a:lnTo>
                    <a:pt x="243" y="132"/>
                  </a:lnTo>
                  <a:lnTo>
                    <a:pt x="265" y="136"/>
                  </a:lnTo>
                  <a:lnTo>
                    <a:pt x="281" y="142"/>
                  </a:lnTo>
                  <a:lnTo>
                    <a:pt x="294" y="153"/>
                  </a:lnTo>
                  <a:lnTo>
                    <a:pt x="313" y="149"/>
                  </a:lnTo>
                  <a:lnTo>
                    <a:pt x="334" y="148"/>
                  </a:lnTo>
                  <a:lnTo>
                    <a:pt x="351" y="151"/>
                  </a:lnTo>
                  <a:lnTo>
                    <a:pt x="382" y="180"/>
                  </a:lnTo>
                  <a:lnTo>
                    <a:pt x="387" y="187"/>
                  </a:lnTo>
                  <a:lnTo>
                    <a:pt x="404" y="190"/>
                  </a:lnTo>
                  <a:lnTo>
                    <a:pt x="451" y="183"/>
                  </a:lnTo>
                  <a:lnTo>
                    <a:pt x="464" y="189"/>
                  </a:lnTo>
                  <a:lnTo>
                    <a:pt x="508" y="190"/>
                  </a:lnTo>
                  <a:lnTo>
                    <a:pt x="546" y="185"/>
                  </a:lnTo>
                  <a:lnTo>
                    <a:pt x="556" y="180"/>
                  </a:lnTo>
                  <a:lnTo>
                    <a:pt x="556" y="172"/>
                  </a:lnTo>
                  <a:lnTo>
                    <a:pt x="552" y="160"/>
                  </a:lnTo>
                  <a:lnTo>
                    <a:pt x="555" y="146"/>
                  </a:lnTo>
                  <a:lnTo>
                    <a:pt x="565" y="130"/>
                  </a:lnTo>
                  <a:lnTo>
                    <a:pt x="565" y="114"/>
                  </a:lnTo>
                  <a:lnTo>
                    <a:pt x="554" y="99"/>
                  </a:lnTo>
                  <a:lnTo>
                    <a:pt x="550" y="81"/>
                  </a:lnTo>
                  <a:lnTo>
                    <a:pt x="552" y="63"/>
                  </a:lnTo>
                  <a:lnTo>
                    <a:pt x="568" y="49"/>
                  </a:lnTo>
                  <a:lnTo>
                    <a:pt x="582" y="33"/>
                  </a:lnTo>
                  <a:lnTo>
                    <a:pt x="600" y="18"/>
                  </a:lnTo>
                  <a:lnTo>
                    <a:pt x="611" y="1"/>
                  </a:lnTo>
                  <a:lnTo>
                    <a:pt x="625" y="0"/>
                  </a:lnTo>
                  <a:lnTo>
                    <a:pt x="645" y="6"/>
                  </a:lnTo>
                  <a:lnTo>
                    <a:pt x="659" y="17"/>
                  </a:lnTo>
                  <a:lnTo>
                    <a:pt x="696" y="27"/>
                  </a:lnTo>
                  <a:lnTo>
                    <a:pt x="707" y="41"/>
                  </a:lnTo>
                  <a:lnTo>
                    <a:pt x="731" y="47"/>
                  </a:lnTo>
                  <a:lnTo>
                    <a:pt x="755" y="50"/>
                  </a:lnTo>
                  <a:lnTo>
                    <a:pt x="772" y="57"/>
                  </a:lnTo>
                  <a:lnTo>
                    <a:pt x="782" y="73"/>
                  </a:lnTo>
                  <a:lnTo>
                    <a:pt x="787" y="103"/>
                  </a:lnTo>
                  <a:lnTo>
                    <a:pt x="787" y="124"/>
                  </a:lnTo>
                  <a:lnTo>
                    <a:pt x="792" y="124"/>
                  </a:lnTo>
                  <a:lnTo>
                    <a:pt x="807" y="138"/>
                  </a:lnTo>
                  <a:lnTo>
                    <a:pt x="830" y="154"/>
                  </a:lnTo>
                  <a:lnTo>
                    <a:pt x="864" y="165"/>
                  </a:lnTo>
                  <a:lnTo>
                    <a:pt x="892" y="159"/>
                  </a:lnTo>
                  <a:lnTo>
                    <a:pt x="919" y="144"/>
                  </a:lnTo>
                  <a:lnTo>
                    <a:pt x="944" y="132"/>
                  </a:lnTo>
                  <a:lnTo>
                    <a:pt x="975" y="140"/>
                  </a:lnTo>
                  <a:lnTo>
                    <a:pt x="1023" y="157"/>
                  </a:lnTo>
                  <a:lnTo>
                    <a:pt x="1033" y="169"/>
                  </a:lnTo>
                  <a:lnTo>
                    <a:pt x="1034" y="169"/>
                  </a:lnTo>
                  <a:lnTo>
                    <a:pt x="1040" y="174"/>
                  </a:lnTo>
                  <a:lnTo>
                    <a:pt x="1062" y="186"/>
                  </a:lnTo>
                  <a:lnTo>
                    <a:pt x="1083" y="192"/>
                  </a:lnTo>
                  <a:lnTo>
                    <a:pt x="1104" y="201"/>
                  </a:lnTo>
                  <a:lnTo>
                    <a:pt x="1118" y="221"/>
                  </a:lnTo>
                  <a:lnTo>
                    <a:pt x="1145" y="237"/>
                  </a:lnTo>
                  <a:lnTo>
                    <a:pt x="1177" y="242"/>
                  </a:lnTo>
                  <a:lnTo>
                    <a:pt x="1200" y="249"/>
                  </a:lnTo>
                  <a:lnTo>
                    <a:pt x="1218" y="250"/>
                  </a:lnTo>
                  <a:lnTo>
                    <a:pt x="1243" y="248"/>
                  </a:lnTo>
                  <a:lnTo>
                    <a:pt x="1261" y="256"/>
                  </a:lnTo>
                  <a:lnTo>
                    <a:pt x="1317" y="237"/>
                  </a:lnTo>
                  <a:lnTo>
                    <a:pt x="1351" y="229"/>
                  </a:lnTo>
                  <a:lnTo>
                    <a:pt x="1378" y="224"/>
                  </a:lnTo>
                  <a:lnTo>
                    <a:pt x="1415" y="195"/>
                  </a:lnTo>
                  <a:lnTo>
                    <a:pt x="1439" y="179"/>
                  </a:lnTo>
                  <a:lnTo>
                    <a:pt x="1464" y="170"/>
                  </a:lnTo>
                  <a:lnTo>
                    <a:pt x="1489" y="180"/>
                  </a:lnTo>
                  <a:lnTo>
                    <a:pt x="1507" y="195"/>
                  </a:lnTo>
                  <a:lnTo>
                    <a:pt x="1528" y="199"/>
                  </a:lnTo>
                  <a:lnTo>
                    <a:pt x="1545" y="195"/>
                  </a:lnTo>
                  <a:lnTo>
                    <a:pt x="1559" y="187"/>
                  </a:lnTo>
                  <a:lnTo>
                    <a:pt x="1565" y="190"/>
                  </a:lnTo>
                  <a:lnTo>
                    <a:pt x="1565" y="195"/>
                  </a:lnTo>
                  <a:lnTo>
                    <a:pt x="1556" y="203"/>
                  </a:lnTo>
                  <a:lnTo>
                    <a:pt x="1540" y="232"/>
                  </a:lnTo>
                  <a:lnTo>
                    <a:pt x="1529" y="246"/>
                  </a:lnTo>
                  <a:lnTo>
                    <a:pt x="1525" y="255"/>
                  </a:lnTo>
                  <a:lnTo>
                    <a:pt x="1525" y="271"/>
                  </a:lnTo>
                  <a:lnTo>
                    <a:pt x="1528" y="288"/>
                  </a:lnTo>
                  <a:lnTo>
                    <a:pt x="1525" y="308"/>
                  </a:lnTo>
                  <a:lnTo>
                    <a:pt x="1517" y="325"/>
                  </a:lnTo>
                  <a:lnTo>
                    <a:pt x="1517" y="347"/>
                  </a:lnTo>
                  <a:lnTo>
                    <a:pt x="1520" y="367"/>
                  </a:lnTo>
                  <a:lnTo>
                    <a:pt x="1529" y="382"/>
                  </a:lnTo>
                  <a:lnTo>
                    <a:pt x="1570" y="391"/>
                  </a:lnTo>
                  <a:lnTo>
                    <a:pt x="1595" y="389"/>
                  </a:lnTo>
                  <a:lnTo>
                    <a:pt x="1620" y="382"/>
                  </a:lnTo>
                  <a:lnTo>
                    <a:pt x="1638" y="369"/>
                  </a:lnTo>
                  <a:lnTo>
                    <a:pt x="1667" y="348"/>
                  </a:lnTo>
                  <a:lnTo>
                    <a:pt x="1673" y="362"/>
                  </a:lnTo>
                  <a:lnTo>
                    <a:pt x="1686" y="377"/>
                  </a:lnTo>
                  <a:lnTo>
                    <a:pt x="1715" y="401"/>
                  </a:lnTo>
                  <a:lnTo>
                    <a:pt x="1721" y="415"/>
                  </a:lnTo>
                  <a:lnTo>
                    <a:pt x="1719" y="428"/>
                  </a:lnTo>
                  <a:lnTo>
                    <a:pt x="1719" y="437"/>
                  </a:lnTo>
                  <a:lnTo>
                    <a:pt x="1733" y="445"/>
                  </a:lnTo>
                  <a:lnTo>
                    <a:pt x="1734" y="458"/>
                  </a:lnTo>
                  <a:lnTo>
                    <a:pt x="1724" y="464"/>
                  </a:lnTo>
                  <a:lnTo>
                    <a:pt x="1707" y="461"/>
                  </a:lnTo>
                  <a:lnTo>
                    <a:pt x="1688" y="456"/>
                  </a:lnTo>
                  <a:lnTo>
                    <a:pt x="1663" y="461"/>
                  </a:lnTo>
                  <a:lnTo>
                    <a:pt x="1638" y="465"/>
                  </a:lnTo>
                  <a:lnTo>
                    <a:pt x="1613" y="464"/>
                  </a:lnTo>
                  <a:lnTo>
                    <a:pt x="1592" y="468"/>
                  </a:lnTo>
                  <a:lnTo>
                    <a:pt x="1576" y="482"/>
                  </a:lnTo>
                  <a:lnTo>
                    <a:pt x="1525" y="538"/>
                  </a:lnTo>
                  <a:lnTo>
                    <a:pt x="1507" y="550"/>
                  </a:lnTo>
                  <a:lnTo>
                    <a:pt x="1500" y="552"/>
                  </a:lnTo>
                  <a:lnTo>
                    <a:pt x="1489" y="551"/>
                  </a:lnTo>
                  <a:lnTo>
                    <a:pt x="1477" y="551"/>
                  </a:lnTo>
                  <a:lnTo>
                    <a:pt x="1457" y="573"/>
                  </a:lnTo>
                  <a:lnTo>
                    <a:pt x="1438" y="594"/>
                  </a:lnTo>
                  <a:lnTo>
                    <a:pt x="1411" y="611"/>
                  </a:lnTo>
                  <a:lnTo>
                    <a:pt x="1393" y="611"/>
                  </a:lnTo>
                  <a:lnTo>
                    <a:pt x="1372" y="606"/>
                  </a:lnTo>
                  <a:lnTo>
                    <a:pt x="1360" y="593"/>
                  </a:lnTo>
                  <a:lnTo>
                    <a:pt x="1344" y="588"/>
                  </a:lnTo>
                  <a:lnTo>
                    <a:pt x="1323" y="594"/>
                  </a:lnTo>
                  <a:lnTo>
                    <a:pt x="1314" y="611"/>
                  </a:lnTo>
                  <a:lnTo>
                    <a:pt x="1301" y="631"/>
                  </a:lnTo>
                  <a:lnTo>
                    <a:pt x="1298" y="646"/>
                  </a:lnTo>
                  <a:lnTo>
                    <a:pt x="1320" y="675"/>
                  </a:lnTo>
                  <a:lnTo>
                    <a:pt x="1323" y="689"/>
                  </a:lnTo>
                  <a:lnTo>
                    <a:pt x="1265" y="738"/>
                  </a:lnTo>
                  <a:lnTo>
                    <a:pt x="1255" y="752"/>
                  </a:lnTo>
                  <a:lnTo>
                    <a:pt x="1235" y="767"/>
                  </a:lnTo>
                  <a:lnTo>
                    <a:pt x="1221" y="776"/>
                  </a:lnTo>
                  <a:lnTo>
                    <a:pt x="1191" y="787"/>
                  </a:lnTo>
                  <a:lnTo>
                    <a:pt x="1163" y="789"/>
                  </a:lnTo>
                  <a:lnTo>
                    <a:pt x="1158" y="792"/>
                  </a:lnTo>
                  <a:lnTo>
                    <a:pt x="1130" y="783"/>
                  </a:lnTo>
                  <a:lnTo>
                    <a:pt x="1114" y="789"/>
                  </a:lnTo>
                  <a:lnTo>
                    <a:pt x="1088" y="788"/>
                  </a:lnTo>
                  <a:lnTo>
                    <a:pt x="1070" y="795"/>
                  </a:lnTo>
                  <a:lnTo>
                    <a:pt x="1033" y="802"/>
                  </a:lnTo>
                  <a:lnTo>
                    <a:pt x="1022" y="805"/>
                  </a:lnTo>
                  <a:lnTo>
                    <a:pt x="1014" y="815"/>
                  </a:lnTo>
                  <a:lnTo>
                    <a:pt x="1003" y="819"/>
                  </a:lnTo>
                  <a:lnTo>
                    <a:pt x="990" y="821"/>
                  </a:lnTo>
                  <a:lnTo>
                    <a:pt x="960" y="832"/>
                  </a:lnTo>
                  <a:lnTo>
                    <a:pt x="942" y="847"/>
                  </a:lnTo>
                  <a:lnTo>
                    <a:pt x="932" y="848"/>
                  </a:lnTo>
                  <a:lnTo>
                    <a:pt x="920" y="845"/>
                  </a:lnTo>
                  <a:lnTo>
                    <a:pt x="909" y="836"/>
                  </a:lnTo>
                  <a:lnTo>
                    <a:pt x="903" y="834"/>
                  </a:lnTo>
                  <a:lnTo>
                    <a:pt x="874" y="832"/>
                  </a:lnTo>
                  <a:lnTo>
                    <a:pt x="852" y="825"/>
                  </a:lnTo>
                  <a:lnTo>
                    <a:pt x="834" y="815"/>
                  </a:lnTo>
                  <a:lnTo>
                    <a:pt x="801" y="805"/>
                  </a:lnTo>
                  <a:lnTo>
                    <a:pt x="778" y="795"/>
                  </a:lnTo>
                  <a:lnTo>
                    <a:pt x="763" y="782"/>
                  </a:lnTo>
                  <a:lnTo>
                    <a:pt x="754" y="771"/>
                  </a:lnTo>
                  <a:lnTo>
                    <a:pt x="744" y="767"/>
                  </a:lnTo>
                  <a:lnTo>
                    <a:pt x="710" y="756"/>
                  </a:lnTo>
                  <a:lnTo>
                    <a:pt x="693" y="754"/>
                  </a:lnTo>
                  <a:lnTo>
                    <a:pt x="675" y="756"/>
                  </a:lnTo>
                  <a:lnTo>
                    <a:pt x="527" y="766"/>
                  </a:lnTo>
                  <a:lnTo>
                    <a:pt x="506" y="766"/>
                  </a:lnTo>
                  <a:lnTo>
                    <a:pt x="492" y="760"/>
                  </a:lnTo>
                  <a:lnTo>
                    <a:pt x="476" y="746"/>
                  </a:lnTo>
                  <a:lnTo>
                    <a:pt x="463" y="730"/>
                  </a:lnTo>
                  <a:lnTo>
                    <a:pt x="451" y="716"/>
                  </a:lnTo>
                  <a:lnTo>
                    <a:pt x="439" y="696"/>
                  </a:lnTo>
                  <a:lnTo>
                    <a:pt x="432" y="676"/>
                  </a:lnTo>
                  <a:lnTo>
                    <a:pt x="421" y="659"/>
                  </a:lnTo>
                  <a:lnTo>
                    <a:pt x="410" y="644"/>
                  </a:lnTo>
                  <a:lnTo>
                    <a:pt x="398" y="643"/>
                  </a:lnTo>
                  <a:lnTo>
                    <a:pt x="385" y="633"/>
                  </a:lnTo>
                  <a:lnTo>
                    <a:pt x="353" y="625"/>
                  </a:lnTo>
                  <a:lnTo>
                    <a:pt x="337" y="616"/>
                  </a:lnTo>
                  <a:lnTo>
                    <a:pt x="322" y="606"/>
                  </a:lnTo>
                  <a:lnTo>
                    <a:pt x="292" y="596"/>
                  </a:lnTo>
                  <a:lnTo>
                    <a:pt x="280" y="590"/>
                  </a:lnTo>
                  <a:lnTo>
                    <a:pt x="267" y="590"/>
                  </a:lnTo>
                  <a:lnTo>
                    <a:pt x="254" y="595"/>
                  </a:lnTo>
                  <a:lnTo>
                    <a:pt x="245" y="595"/>
                  </a:lnTo>
                  <a:lnTo>
                    <a:pt x="211" y="584"/>
                  </a:lnTo>
                  <a:lnTo>
                    <a:pt x="180" y="581"/>
                  </a:lnTo>
                  <a:lnTo>
                    <a:pt x="164" y="574"/>
                  </a:lnTo>
                  <a:lnTo>
                    <a:pt x="157" y="567"/>
                  </a:lnTo>
                  <a:lnTo>
                    <a:pt x="158" y="552"/>
                  </a:lnTo>
                  <a:lnTo>
                    <a:pt x="166" y="536"/>
                  </a:lnTo>
                  <a:lnTo>
                    <a:pt x="167" y="517"/>
                  </a:lnTo>
                  <a:lnTo>
                    <a:pt x="163" y="498"/>
                  </a:lnTo>
                  <a:lnTo>
                    <a:pt x="163" y="470"/>
                  </a:lnTo>
                  <a:lnTo>
                    <a:pt x="151" y="427"/>
                  </a:lnTo>
                  <a:lnTo>
                    <a:pt x="141" y="410"/>
                  </a:lnTo>
                  <a:lnTo>
                    <a:pt x="134" y="388"/>
                  </a:lnTo>
                  <a:lnTo>
                    <a:pt x="124" y="372"/>
                  </a:lnTo>
                  <a:lnTo>
                    <a:pt x="108" y="369"/>
                  </a:lnTo>
                  <a:lnTo>
                    <a:pt x="93" y="361"/>
                  </a:lnTo>
                  <a:lnTo>
                    <a:pt x="77" y="358"/>
                  </a:lnTo>
                  <a:lnTo>
                    <a:pt x="70" y="369"/>
                  </a:lnTo>
                  <a:lnTo>
                    <a:pt x="55" y="358"/>
                  </a:lnTo>
                  <a:lnTo>
                    <a:pt x="44" y="337"/>
                  </a:lnTo>
                  <a:lnTo>
                    <a:pt x="14" y="314"/>
                  </a:lnTo>
                  <a:lnTo>
                    <a:pt x="3" y="288"/>
                  </a:lnTo>
                  <a:lnTo>
                    <a:pt x="0" y="277"/>
                  </a:lnTo>
                  <a:lnTo>
                    <a:pt x="0" y="2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91" name="China"/>
            <p:cNvSpPr>
              <a:spLocks noChangeAspect="1"/>
            </p:cNvSpPr>
            <p:nvPr>
              <p:custDataLst>
                <p:tags r:id="rId87"/>
              </p:custDataLst>
            </p:nvPr>
          </p:nvSpPr>
          <p:spPr bwMode="gray">
            <a:xfrm>
              <a:off x="7241336" y="4103090"/>
              <a:ext cx="60856" cy="53834"/>
            </a:xfrm>
            <a:custGeom>
              <a:avLst/>
              <a:gdLst/>
              <a:ahLst/>
              <a:cxnLst>
                <a:cxn ang="0">
                  <a:pos x="102" y="5"/>
                </a:cxn>
                <a:cxn ang="0">
                  <a:pos x="100" y="5"/>
                </a:cxn>
                <a:cxn ang="0">
                  <a:pos x="105" y="0"/>
                </a:cxn>
                <a:cxn ang="0">
                  <a:pos x="112" y="5"/>
                </a:cxn>
                <a:cxn ang="0">
                  <a:pos x="123" y="8"/>
                </a:cxn>
                <a:cxn ang="0">
                  <a:pos x="127" y="20"/>
                </a:cxn>
                <a:cxn ang="0">
                  <a:pos x="127" y="27"/>
                </a:cxn>
                <a:cxn ang="0">
                  <a:pos x="117" y="37"/>
                </a:cxn>
                <a:cxn ang="0">
                  <a:pos x="105" y="61"/>
                </a:cxn>
                <a:cxn ang="0">
                  <a:pos x="100" y="79"/>
                </a:cxn>
                <a:cxn ang="0">
                  <a:pos x="91" y="85"/>
                </a:cxn>
                <a:cxn ang="0">
                  <a:pos x="78" y="99"/>
                </a:cxn>
                <a:cxn ang="0">
                  <a:pos x="66" y="101"/>
                </a:cxn>
                <a:cxn ang="0">
                  <a:pos x="59" y="113"/>
                </a:cxn>
                <a:cxn ang="0">
                  <a:pos x="53" y="112"/>
                </a:cxn>
                <a:cxn ang="0">
                  <a:pos x="48" y="109"/>
                </a:cxn>
                <a:cxn ang="0">
                  <a:pos x="11" y="97"/>
                </a:cxn>
                <a:cxn ang="0">
                  <a:pos x="3" y="86"/>
                </a:cxn>
                <a:cxn ang="0">
                  <a:pos x="0" y="50"/>
                </a:cxn>
                <a:cxn ang="0">
                  <a:pos x="6" y="45"/>
                </a:cxn>
                <a:cxn ang="0">
                  <a:pos x="19" y="31"/>
                </a:cxn>
                <a:cxn ang="0">
                  <a:pos x="28" y="24"/>
                </a:cxn>
                <a:cxn ang="0">
                  <a:pos x="30" y="20"/>
                </a:cxn>
                <a:cxn ang="0">
                  <a:pos x="37" y="15"/>
                </a:cxn>
                <a:cxn ang="0">
                  <a:pos x="49" y="10"/>
                </a:cxn>
                <a:cxn ang="0">
                  <a:pos x="78" y="9"/>
                </a:cxn>
                <a:cxn ang="0">
                  <a:pos x="85" y="4"/>
                </a:cxn>
                <a:cxn ang="0">
                  <a:pos x="92" y="5"/>
                </a:cxn>
                <a:cxn ang="0">
                  <a:pos x="97" y="4"/>
                </a:cxn>
                <a:cxn ang="0">
                  <a:pos x="102" y="5"/>
                </a:cxn>
              </a:cxnLst>
              <a:rect l="0" t="0" r="r" b="b"/>
              <a:pathLst>
                <a:path w="127" h="113">
                  <a:moveTo>
                    <a:pt x="102" y="5"/>
                  </a:moveTo>
                  <a:lnTo>
                    <a:pt x="100" y="5"/>
                  </a:lnTo>
                  <a:lnTo>
                    <a:pt x="105" y="0"/>
                  </a:lnTo>
                  <a:lnTo>
                    <a:pt x="112" y="5"/>
                  </a:lnTo>
                  <a:lnTo>
                    <a:pt x="123" y="8"/>
                  </a:lnTo>
                  <a:lnTo>
                    <a:pt x="127" y="20"/>
                  </a:lnTo>
                  <a:lnTo>
                    <a:pt x="127" y="27"/>
                  </a:lnTo>
                  <a:lnTo>
                    <a:pt x="117" y="37"/>
                  </a:lnTo>
                  <a:lnTo>
                    <a:pt x="105" y="61"/>
                  </a:lnTo>
                  <a:lnTo>
                    <a:pt x="100" y="79"/>
                  </a:lnTo>
                  <a:lnTo>
                    <a:pt x="91" y="85"/>
                  </a:lnTo>
                  <a:lnTo>
                    <a:pt x="78" y="99"/>
                  </a:lnTo>
                  <a:lnTo>
                    <a:pt x="66" y="101"/>
                  </a:lnTo>
                  <a:lnTo>
                    <a:pt x="59" y="113"/>
                  </a:lnTo>
                  <a:lnTo>
                    <a:pt x="53" y="112"/>
                  </a:lnTo>
                  <a:lnTo>
                    <a:pt x="48" y="109"/>
                  </a:lnTo>
                  <a:lnTo>
                    <a:pt x="11" y="97"/>
                  </a:lnTo>
                  <a:lnTo>
                    <a:pt x="3" y="86"/>
                  </a:lnTo>
                  <a:lnTo>
                    <a:pt x="0" y="50"/>
                  </a:lnTo>
                  <a:lnTo>
                    <a:pt x="6" y="45"/>
                  </a:lnTo>
                  <a:lnTo>
                    <a:pt x="19" y="31"/>
                  </a:lnTo>
                  <a:lnTo>
                    <a:pt x="28" y="24"/>
                  </a:lnTo>
                  <a:lnTo>
                    <a:pt x="30" y="20"/>
                  </a:lnTo>
                  <a:lnTo>
                    <a:pt x="37" y="15"/>
                  </a:lnTo>
                  <a:lnTo>
                    <a:pt x="49" y="10"/>
                  </a:lnTo>
                  <a:lnTo>
                    <a:pt x="78" y="9"/>
                  </a:lnTo>
                  <a:lnTo>
                    <a:pt x="85" y="4"/>
                  </a:lnTo>
                  <a:lnTo>
                    <a:pt x="92" y="5"/>
                  </a:lnTo>
                  <a:lnTo>
                    <a:pt x="97" y="4"/>
                  </a:lnTo>
                  <a:lnTo>
                    <a:pt x="102" y="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92" name="China"/>
            <p:cNvSpPr>
              <a:spLocks noChangeAspect="1"/>
            </p:cNvSpPr>
            <p:nvPr>
              <p:custDataLst>
                <p:tags r:id="rId88"/>
              </p:custDataLst>
            </p:nvPr>
          </p:nvSpPr>
          <p:spPr bwMode="gray">
            <a:xfrm>
              <a:off x="6342546" y="3007689"/>
              <a:ext cx="1572883" cy="1093060"/>
            </a:xfrm>
            <a:custGeom>
              <a:avLst/>
              <a:gdLst/>
              <a:ahLst/>
              <a:cxnLst>
                <a:cxn ang="0">
                  <a:pos x="2191" y="2191"/>
                </a:cxn>
                <a:cxn ang="0">
                  <a:pos x="2134" y="2244"/>
                </a:cxn>
                <a:cxn ang="0">
                  <a:pos x="2015" y="2329"/>
                </a:cxn>
                <a:cxn ang="0">
                  <a:pos x="1898" y="2261"/>
                </a:cxn>
                <a:cxn ang="0">
                  <a:pos x="1746" y="2168"/>
                </a:cxn>
                <a:cxn ang="0">
                  <a:pos x="1585" y="2194"/>
                </a:cxn>
                <a:cxn ang="0">
                  <a:pos x="1509" y="2247"/>
                </a:cxn>
                <a:cxn ang="0">
                  <a:pos x="1333" y="2120"/>
                </a:cxn>
                <a:cxn ang="0">
                  <a:pos x="1352" y="1901"/>
                </a:cxn>
                <a:cxn ang="0">
                  <a:pos x="1237" y="1793"/>
                </a:cxn>
                <a:cxn ang="0">
                  <a:pos x="1036" y="1874"/>
                </a:cxn>
                <a:cxn ang="0">
                  <a:pos x="881" y="1862"/>
                </a:cxn>
                <a:cxn ang="0">
                  <a:pos x="793" y="1879"/>
                </a:cxn>
                <a:cxn ang="0">
                  <a:pos x="691" y="1881"/>
                </a:cxn>
                <a:cxn ang="0">
                  <a:pos x="603" y="1834"/>
                </a:cxn>
                <a:cxn ang="0">
                  <a:pos x="556" y="1803"/>
                </a:cxn>
                <a:cxn ang="0">
                  <a:pos x="423" y="1731"/>
                </a:cxn>
                <a:cxn ang="0">
                  <a:pos x="348" y="1701"/>
                </a:cxn>
                <a:cxn ang="0">
                  <a:pos x="291" y="1675"/>
                </a:cxn>
                <a:cxn ang="0">
                  <a:pos x="278" y="1580"/>
                </a:cxn>
                <a:cxn ang="0">
                  <a:pos x="322" y="1567"/>
                </a:cxn>
                <a:cxn ang="0">
                  <a:pos x="300" y="1492"/>
                </a:cxn>
                <a:cxn ang="0">
                  <a:pos x="360" y="1411"/>
                </a:cxn>
                <a:cxn ang="0">
                  <a:pos x="326" y="1368"/>
                </a:cxn>
                <a:cxn ang="0">
                  <a:pos x="230" y="1391"/>
                </a:cxn>
                <a:cxn ang="0">
                  <a:pos x="126" y="1355"/>
                </a:cxn>
                <a:cxn ang="0">
                  <a:pos x="88" y="1295"/>
                </a:cxn>
                <a:cxn ang="0">
                  <a:pos x="63" y="1212"/>
                </a:cxn>
                <a:cxn ang="0">
                  <a:pos x="105" y="1043"/>
                </a:cxn>
                <a:cxn ang="0">
                  <a:pos x="364" y="920"/>
                </a:cxn>
                <a:cxn ang="0">
                  <a:pos x="471" y="693"/>
                </a:cxn>
                <a:cxn ang="0">
                  <a:pos x="656" y="507"/>
                </a:cxn>
                <a:cxn ang="0">
                  <a:pos x="854" y="474"/>
                </a:cxn>
                <a:cxn ang="0">
                  <a:pos x="1031" y="711"/>
                </a:cxn>
                <a:cxn ang="0">
                  <a:pos x="1283" y="882"/>
                </a:cxn>
                <a:cxn ang="0">
                  <a:pos x="1719" y="963"/>
                </a:cxn>
                <a:cxn ang="0">
                  <a:pos x="2042" y="854"/>
                </a:cxn>
                <a:cxn ang="0">
                  <a:pos x="2284" y="666"/>
                </a:cxn>
                <a:cxn ang="0">
                  <a:pos x="2450" y="478"/>
                </a:cxn>
                <a:cxn ang="0">
                  <a:pos x="2342" y="311"/>
                </a:cxn>
                <a:cxn ang="0">
                  <a:pos x="2557" y="161"/>
                </a:cxn>
                <a:cxn ang="0">
                  <a:pos x="2738" y="0"/>
                </a:cxn>
                <a:cxn ang="0">
                  <a:pos x="2901" y="155"/>
                </a:cxn>
                <a:cxn ang="0">
                  <a:pos x="3109" y="394"/>
                </a:cxn>
                <a:cxn ang="0">
                  <a:pos x="3323" y="441"/>
                </a:cxn>
                <a:cxn ang="0">
                  <a:pos x="3195" y="693"/>
                </a:cxn>
                <a:cxn ang="0">
                  <a:pos x="2994" y="941"/>
                </a:cxn>
                <a:cxn ang="0">
                  <a:pos x="2729" y="1097"/>
                </a:cxn>
                <a:cxn ang="0">
                  <a:pos x="2616" y="1118"/>
                </a:cxn>
                <a:cxn ang="0">
                  <a:pos x="2542" y="1082"/>
                </a:cxn>
                <a:cxn ang="0">
                  <a:pos x="2444" y="1221"/>
                </a:cxn>
                <a:cxn ang="0">
                  <a:pos x="2611" y="1254"/>
                </a:cxn>
                <a:cxn ang="0">
                  <a:pos x="2643" y="1301"/>
                </a:cxn>
                <a:cxn ang="0">
                  <a:pos x="2521" y="1404"/>
                </a:cxn>
                <a:cxn ang="0">
                  <a:pos x="2646" y="1642"/>
                </a:cxn>
                <a:cxn ang="0">
                  <a:pos x="2640" y="1677"/>
                </a:cxn>
                <a:cxn ang="0">
                  <a:pos x="2624" y="1743"/>
                </a:cxn>
                <a:cxn ang="0">
                  <a:pos x="2628" y="1814"/>
                </a:cxn>
                <a:cxn ang="0">
                  <a:pos x="2555" y="1933"/>
                </a:cxn>
                <a:cxn ang="0">
                  <a:pos x="2512" y="2028"/>
                </a:cxn>
                <a:cxn ang="0">
                  <a:pos x="2435" y="2097"/>
                </a:cxn>
                <a:cxn ang="0">
                  <a:pos x="2344" y="2177"/>
                </a:cxn>
                <a:cxn ang="0">
                  <a:pos x="2245" y="2202"/>
                </a:cxn>
              </a:cxnLst>
              <a:rect l="0" t="0" r="r" b="b"/>
              <a:pathLst>
                <a:path w="3356" h="2335">
                  <a:moveTo>
                    <a:pt x="2243" y="2202"/>
                  </a:moveTo>
                  <a:lnTo>
                    <a:pt x="2240" y="2209"/>
                  </a:lnTo>
                  <a:lnTo>
                    <a:pt x="2239" y="2206"/>
                  </a:lnTo>
                  <a:lnTo>
                    <a:pt x="2239" y="2202"/>
                  </a:lnTo>
                  <a:lnTo>
                    <a:pt x="2235" y="2199"/>
                  </a:lnTo>
                  <a:lnTo>
                    <a:pt x="2226" y="2201"/>
                  </a:lnTo>
                  <a:lnTo>
                    <a:pt x="2225" y="2202"/>
                  </a:lnTo>
                  <a:lnTo>
                    <a:pt x="2224" y="2202"/>
                  </a:lnTo>
                  <a:lnTo>
                    <a:pt x="2224" y="2205"/>
                  </a:lnTo>
                  <a:lnTo>
                    <a:pt x="2229" y="2211"/>
                  </a:lnTo>
                  <a:lnTo>
                    <a:pt x="2224" y="2212"/>
                  </a:lnTo>
                  <a:lnTo>
                    <a:pt x="2211" y="2213"/>
                  </a:lnTo>
                  <a:lnTo>
                    <a:pt x="2210" y="2209"/>
                  </a:lnTo>
                  <a:lnTo>
                    <a:pt x="2211" y="2206"/>
                  </a:lnTo>
                  <a:lnTo>
                    <a:pt x="2209" y="2202"/>
                  </a:lnTo>
                  <a:lnTo>
                    <a:pt x="2199" y="2194"/>
                  </a:lnTo>
                  <a:lnTo>
                    <a:pt x="2191" y="2191"/>
                  </a:lnTo>
                  <a:lnTo>
                    <a:pt x="2188" y="2185"/>
                  </a:lnTo>
                  <a:lnTo>
                    <a:pt x="2186" y="2198"/>
                  </a:lnTo>
                  <a:lnTo>
                    <a:pt x="2186" y="2209"/>
                  </a:lnTo>
                  <a:lnTo>
                    <a:pt x="2187" y="2216"/>
                  </a:lnTo>
                  <a:lnTo>
                    <a:pt x="2187" y="2218"/>
                  </a:lnTo>
                  <a:lnTo>
                    <a:pt x="2183" y="2220"/>
                  </a:lnTo>
                  <a:lnTo>
                    <a:pt x="2180" y="2220"/>
                  </a:lnTo>
                  <a:lnTo>
                    <a:pt x="2171" y="2209"/>
                  </a:lnTo>
                  <a:lnTo>
                    <a:pt x="2164" y="2204"/>
                  </a:lnTo>
                  <a:lnTo>
                    <a:pt x="2161" y="2198"/>
                  </a:lnTo>
                  <a:lnTo>
                    <a:pt x="2155" y="2215"/>
                  </a:lnTo>
                  <a:lnTo>
                    <a:pt x="2155" y="2222"/>
                  </a:lnTo>
                  <a:lnTo>
                    <a:pt x="2156" y="2227"/>
                  </a:lnTo>
                  <a:lnTo>
                    <a:pt x="2156" y="2236"/>
                  </a:lnTo>
                  <a:lnTo>
                    <a:pt x="2153" y="2239"/>
                  </a:lnTo>
                  <a:lnTo>
                    <a:pt x="2149" y="2237"/>
                  </a:lnTo>
                  <a:lnTo>
                    <a:pt x="2134" y="2244"/>
                  </a:lnTo>
                  <a:lnTo>
                    <a:pt x="2123" y="2245"/>
                  </a:lnTo>
                  <a:lnTo>
                    <a:pt x="2116" y="2249"/>
                  </a:lnTo>
                  <a:lnTo>
                    <a:pt x="2107" y="2249"/>
                  </a:lnTo>
                  <a:lnTo>
                    <a:pt x="2105" y="2247"/>
                  </a:lnTo>
                  <a:lnTo>
                    <a:pt x="2094" y="2249"/>
                  </a:lnTo>
                  <a:lnTo>
                    <a:pt x="2084" y="2258"/>
                  </a:lnTo>
                  <a:lnTo>
                    <a:pt x="2073" y="2261"/>
                  </a:lnTo>
                  <a:lnTo>
                    <a:pt x="2059" y="2263"/>
                  </a:lnTo>
                  <a:lnTo>
                    <a:pt x="2051" y="2261"/>
                  </a:lnTo>
                  <a:lnTo>
                    <a:pt x="2048" y="2265"/>
                  </a:lnTo>
                  <a:lnTo>
                    <a:pt x="2038" y="2270"/>
                  </a:lnTo>
                  <a:lnTo>
                    <a:pt x="2024" y="2274"/>
                  </a:lnTo>
                  <a:lnTo>
                    <a:pt x="2015" y="2271"/>
                  </a:lnTo>
                  <a:lnTo>
                    <a:pt x="2004" y="2297"/>
                  </a:lnTo>
                  <a:lnTo>
                    <a:pt x="2011" y="2309"/>
                  </a:lnTo>
                  <a:lnTo>
                    <a:pt x="2015" y="2317"/>
                  </a:lnTo>
                  <a:lnTo>
                    <a:pt x="2015" y="2329"/>
                  </a:lnTo>
                  <a:lnTo>
                    <a:pt x="1999" y="2335"/>
                  </a:lnTo>
                  <a:lnTo>
                    <a:pt x="1988" y="2329"/>
                  </a:lnTo>
                  <a:lnTo>
                    <a:pt x="1973" y="2298"/>
                  </a:lnTo>
                  <a:lnTo>
                    <a:pt x="1971" y="2291"/>
                  </a:lnTo>
                  <a:lnTo>
                    <a:pt x="1972" y="2288"/>
                  </a:lnTo>
                  <a:lnTo>
                    <a:pt x="1978" y="2266"/>
                  </a:lnTo>
                  <a:lnTo>
                    <a:pt x="1974" y="2259"/>
                  </a:lnTo>
                  <a:lnTo>
                    <a:pt x="1968" y="2261"/>
                  </a:lnTo>
                  <a:lnTo>
                    <a:pt x="1958" y="2269"/>
                  </a:lnTo>
                  <a:lnTo>
                    <a:pt x="1947" y="2269"/>
                  </a:lnTo>
                  <a:lnTo>
                    <a:pt x="1942" y="2264"/>
                  </a:lnTo>
                  <a:lnTo>
                    <a:pt x="1941" y="2259"/>
                  </a:lnTo>
                  <a:lnTo>
                    <a:pt x="1923" y="2254"/>
                  </a:lnTo>
                  <a:lnTo>
                    <a:pt x="1915" y="2252"/>
                  </a:lnTo>
                  <a:lnTo>
                    <a:pt x="1911" y="2252"/>
                  </a:lnTo>
                  <a:lnTo>
                    <a:pt x="1907" y="2260"/>
                  </a:lnTo>
                  <a:lnTo>
                    <a:pt x="1898" y="2261"/>
                  </a:lnTo>
                  <a:lnTo>
                    <a:pt x="1898" y="2269"/>
                  </a:lnTo>
                  <a:lnTo>
                    <a:pt x="1895" y="2258"/>
                  </a:lnTo>
                  <a:lnTo>
                    <a:pt x="1890" y="2261"/>
                  </a:lnTo>
                  <a:lnTo>
                    <a:pt x="1881" y="2265"/>
                  </a:lnTo>
                  <a:lnTo>
                    <a:pt x="1874" y="2260"/>
                  </a:lnTo>
                  <a:lnTo>
                    <a:pt x="1855" y="2261"/>
                  </a:lnTo>
                  <a:lnTo>
                    <a:pt x="1845" y="2259"/>
                  </a:lnTo>
                  <a:lnTo>
                    <a:pt x="1840" y="2254"/>
                  </a:lnTo>
                  <a:lnTo>
                    <a:pt x="1817" y="2240"/>
                  </a:lnTo>
                  <a:lnTo>
                    <a:pt x="1810" y="2228"/>
                  </a:lnTo>
                  <a:lnTo>
                    <a:pt x="1805" y="2213"/>
                  </a:lnTo>
                  <a:lnTo>
                    <a:pt x="1810" y="2198"/>
                  </a:lnTo>
                  <a:lnTo>
                    <a:pt x="1806" y="2189"/>
                  </a:lnTo>
                  <a:lnTo>
                    <a:pt x="1786" y="2188"/>
                  </a:lnTo>
                  <a:lnTo>
                    <a:pt x="1773" y="2184"/>
                  </a:lnTo>
                  <a:lnTo>
                    <a:pt x="1758" y="2178"/>
                  </a:lnTo>
                  <a:lnTo>
                    <a:pt x="1746" y="2168"/>
                  </a:lnTo>
                  <a:lnTo>
                    <a:pt x="1731" y="2163"/>
                  </a:lnTo>
                  <a:lnTo>
                    <a:pt x="1724" y="2164"/>
                  </a:lnTo>
                  <a:lnTo>
                    <a:pt x="1714" y="2175"/>
                  </a:lnTo>
                  <a:lnTo>
                    <a:pt x="1704" y="2182"/>
                  </a:lnTo>
                  <a:lnTo>
                    <a:pt x="1689" y="2190"/>
                  </a:lnTo>
                  <a:lnTo>
                    <a:pt x="1683" y="2191"/>
                  </a:lnTo>
                  <a:lnTo>
                    <a:pt x="1675" y="2189"/>
                  </a:lnTo>
                  <a:lnTo>
                    <a:pt x="1666" y="2196"/>
                  </a:lnTo>
                  <a:lnTo>
                    <a:pt x="1656" y="2201"/>
                  </a:lnTo>
                  <a:lnTo>
                    <a:pt x="1653" y="2195"/>
                  </a:lnTo>
                  <a:lnTo>
                    <a:pt x="1639" y="2199"/>
                  </a:lnTo>
                  <a:lnTo>
                    <a:pt x="1633" y="2194"/>
                  </a:lnTo>
                  <a:lnTo>
                    <a:pt x="1627" y="2195"/>
                  </a:lnTo>
                  <a:lnTo>
                    <a:pt x="1612" y="2205"/>
                  </a:lnTo>
                  <a:lnTo>
                    <a:pt x="1606" y="2204"/>
                  </a:lnTo>
                  <a:lnTo>
                    <a:pt x="1598" y="2196"/>
                  </a:lnTo>
                  <a:lnTo>
                    <a:pt x="1585" y="2194"/>
                  </a:lnTo>
                  <a:lnTo>
                    <a:pt x="1583" y="2191"/>
                  </a:lnTo>
                  <a:lnTo>
                    <a:pt x="1579" y="2194"/>
                  </a:lnTo>
                  <a:lnTo>
                    <a:pt x="1575" y="2200"/>
                  </a:lnTo>
                  <a:lnTo>
                    <a:pt x="1569" y="2207"/>
                  </a:lnTo>
                  <a:lnTo>
                    <a:pt x="1569" y="2211"/>
                  </a:lnTo>
                  <a:lnTo>
                    <a:pt x="1562" y="2207"/>
                  </a:lnTo>
                  <a:lnTo>
                    <a:pt x="1562" y="2205"/>
                  </a:lnTo>
                  <a:lnTo>
                    <a:pt x="1542" y="2204"/>
                  </a:lnTo>
                  <a:lnTo>
                    <a:pt x="1533" y="2211"/>
                  </a:lnTo>
                  <a:lnTo>
                    <a:pt x="1532" y="2223"/>
                  </a:lnTo>
                  <a:lnTo>
                    <a:pt x="1535" y="2240"/>
                  </a:lnTo>
                  <a:lnTo>
                    <a:pt x="1541" y="2256"/>
                  </a:lnTo>
                  <a:lnTo>
                    <a:pt x="1540" y="2271"/>
                  </a:lnTo>
                  <a:lnTo>
                    <a:pt x="1536" y="2275"/>
                  </a:lnTo>
                  <a:lnTo>
                    <a:pt x="1515" y="2280"/>
                  </a:lnTo>
                  <a:lnTo>
                    <a:pt x="1510" y="2253"/>
                  </a:lnTo>
                  <a:lnTo>
                    <a:pt x="1509" y="2247"/>
                  </a:lnTo>
                  <a:lnTo>
                    <a:pt x="1497" y="2245"/>
                  </a:lnTo>
                  <a:lnTo>
                    <a:pt x="1482" y="2258"/>
                  </a:lnTo>
                  <a:lnTo>
                    <a:pt x="1462" y="2260"/>
                  </a:lnTo>
                  <a:lnTo>
                    <a:pt x="1444" y="2243"/>
                  </a:lnTo>
                  <a:lnTo>
                    <a:pt x="1441" y="2231"/>
                  </a:lnTo>
                  <a:lnTo>
                    <a:pt x="1423" y="2225"/>
                  </a:lnTo>
                  <a:lnTo>
                    <a:pt x="1408" y="2222"/>
                  </a:lnTo>
                  <a:lnTo>
                    <a:pt x="1412" y="2202"/>
                  </a:lnTo>
                  <a:lnTo>
                    <a:pt x="1418" y="2175"/>
                  </a:lnTo>
                  <a:lnTo>
                    <a:pt x="1402" y="2167"/>
                  </a:lnTo>
                  <a:lnTo>
                    <a:pt x="1388" y="2157"/>
                  </a:lnTo>
                  <a:lnTo>
                    <a:pt x="1387" y="2137"/>
                  </a:lnTo>
                  <a:lnTo>
                    <a:pt x="1382" y="2123"/>
                  </a:lnTo>
                  <a:lnTo>
                    <a:pt x="1382" y="2112"/>
                  </a:lnTo>
                  <a:lnTo>
                    <a:pt x="1363" y="2113"/>
                  </a:lnTo>
                  <a:lnTo>
                    <a:pt x="1344" y="2114"/>
                  </a:lnTo>
                  <a:lnTo>
                    <a:pt x="1333" y="2120"/>
                  </a:lnTo>
                  <a:lnTo>
                    <a:pt x="1320" y="2134"/>
                  </a:lnTo>
                  <a:lnTo>
                    <a:pt x="1315" y="2129"/>
                  </a:lnTo>
                  <a:lnTo>
                    <a:pt x="1325" y="2112"/>
                  </a:lnTo>
                  <a:lnTo>
                    <a:pt x="1326" y="2103"/>
                  </a:lnTo>
                  <a:lnTo>
                    <a:pt x="1322" y="2087"/>
                  </a:lnTo>
                  <a:lnTo>
                    <a:pt x="1328" y="2073"/>
                  </a:lnTo>
                  <a:lnTo>
                    <a:pt x="1332" y="2054"/>
                  </a:lnTo>
                  <a:lnTo>
                    <a:pt x="1343" y="2043"/>
                  </a:lnTo>
                  <a:lnTo>
                    <a:pt x="1347" y="2033"/>
                  </a:lnTo>
                  <a:lnTo>
                    <a:pt x="1354" y="2030"/>
                  </a:lnTo>
                  <a:lnTo>
                    <a:pt x="1363" y="2019"/>
                  </a:lnTo>
                  <a:lnTo>
                    <a:pt x="1372" y="1992"/>
                  </a:lnTo>
                  <a:lnTo>
                    <a:pt x="1372" y="1984"/>
                  </a:lnTo>
                  <a:lnTo>
                    <a:pt x="1376" y="1956"/>
                  </a:lnTo>
                  <a:lnTo>
                    <a:pt x="1375" y="1935"/>
                  </a:lnTo>
                  <a:lnTo>
                    <a:pt x="1368" y="1903"/>
                  </a:lnTo>
                  <a:lnTo>
                    <a:pt x="1352" y="1901"/>
                  </a:lnTo>
                  <a:lnTo>
                    <a:pt x="1347" y="1893"/>
                  </a:lnTo>
                  <a:lnTo>
                    <a:pt x="1343" y="1876"/>
                  </a:lnTo>
                  <a:lnTo>
                    <a:pt x="1331" y="1862"/>
                  </a:lnTo>
                  <a:lnTo>
                    <a:pt x="1318" y="1856"/>
                  </a:lnTo>
                  <a:lnTo>
                    <a:pt x="1315" y="1856"/>
                  </a:lnTo>
                  <a:lnTo>
                    <a:pt x="1311" y="1861"/>
                  </a:lnTo>
                  <a:lnTo>
                    <a:pt x="1302" y="1865"/>
                  </a:lnTo>
                  <a:lnTo>
                    <a:pt x="1298" y="1852"/>
                  </a:lnTo>
                  <a:lnTo>
                    <a:pt x="1288" y="1849"/>
                  </a:lnTo>
                  <a:lnTo>
                    <a:pt x="1274" y="1849"/>
                  </a:lnTo>
                  <a:lnTo>
                    <a:pt x="1264" y="1845"/>
                  </a:lnTo>
                  <a:lnTo>
                    <a:pt x="1246" y="1845"/>
                  </a:lnTo>
                  <a:lnTo>
                    <a:pt x="1248" y="1829"/>
                  </a:lnTo>
                  <a:lnTo>
                    <a:pt x="1250" y="1814"/>
                  </a:lnTo>
                  <a:lnTo>
                    <a:pt x="1237" y="1812"/>
                  </a:lnTo>
                  <a:lnTo>
                    <a:pt x="1235" y="1801"/>
                  </a:lnTo>
                  <a:lnTo>
                    <a:pt x="1237" y="1793"/>
                  </a:lnTo>
                  <a:lnTo>
                    <a:pt x="1226" y="1781"/>
                  </a:lnTo>
                  <a:lnTo>
                    <a:pt x="1214" y="1785"/>
                  </a:lnTo>
                  <a:lnTo>
                    <a:pt x="1199" y="1795"/>
                  </a:lnTo>
                  <a:lnTo>
                    <a:pt x="1186" y="1798"/>
                  </a:lnTo>
                  <a:lnTo>
                    <a:pt x="1166" y="1800"/>
                  </a:lnTo>
                  <a:lnTo>
                    <a:pt x="1157" y="1798"/>
                  </a:lnTo>
                  <a:lnTo>
                    <a:pt x="1151" y="1793"/>
                  </a:lnTo>
                  <a:lnTo>
                    <a:pt x="1146" y="1792"/>
                  </a:lnTo>
                  <a:lnTo>
                    <a:pt x="1137" y="1797"/>
                  </a:lnTo>
                  <a:lnTo>
                    <a:pt x="1128" y="1803"/>
                  </a:lnTo>
                  <a:lnTo>
                    <a:pt x="1122" y="1814"/>
                  </a:lnTo>
                  <a:lnTo>
                    <a:pt x="1102" y="1831"/>
                  </a:lnTo>
                  <a:lnTo>
                    <a:pt x="1087" y="1835"/>
                  </a:lnTo>
                  <a:lnTo>
                    <a:pt x="1073" y="1851"/>
                  </a:lnTo>
                  <a:lnTo>
                    <a:pt x="1063" y="1858"/>
                  </a:lnTo>
                  <a:lnTo>
                    <a:pt x="1048" y="1866"/>
                  </a:lnTo>
                  <a:lnTo>
                    <a:pt x="1036" y="1874"/>
                  </a:lnTo>
                  <a:lnTo>
                    <a:pt x="1008" y="1881"/>
                  </a:lnTo>
                  <a:lnTo>
                    <a:pt x="990" y="1886"/>
                  </a:lnTo>
                  <a:lnTo>
                    <a:pt x="992" y="1888"/>
                  </a:lnTo>
                  <a:lnTo>
                    <a:pt x="992" y="1886"/>
                  </a:lnTo>
                  <a:lnTo>
                    <a:pt x="978" y="1878"/>
                  </a:lnTo>
                  <a:lnTo>
                    <a:pt x="976" y="1874"/>
                  </a:lnTo>
                  <a:lnTo>
                    <a:pt x="973" y="1873"/>
                  </a:lnTo>
                  <a:lnTo>
                    <a:pt x="958" y="1877"/>
                  </a:lnTo>
                  <a:lnTo>
                    <a:pt x="954" y="1877"/>
                  </a:lnTo>
                  <a:lnTo>
                    <a:pt x="940" y="1872"/>
                  </a:lnTo>
                  <a:lnTo>
                    <a:pt x="924" y="1871"/>
                  </a:lnTo>
                  <a:lnTo>
                    <a:pt x="917" y="1866"/>
                  </a:lnTo>
                  <a:lnTo>
                    <a:pt x="917" y="1863"/>
                  </a:lnTo>
                  <a:lnTo>
                    <a:pt x="913" y="1857"/>
                  </a:lnTo>
                  <a:lnTo>
                    <a:pt x="907" y="1856"/>
                  </a:lnTo>
                  <a:lnTo>
                    <a:pt x="893" y="1857"/>
                  </a:lnTo>
                  <a:lnTo>
                    <a:pt x="881" y="1862"/>
                  </a:lnTo>
                  <a:lnTo>
                    <a:pt x="870" y="1873"/>
                  </a:lnTo>
                  <a:lnTo>
                    <a:pt x="860" y="1889"/>
                  </a:lnTo>
                  <a:lnTo>
                    <a:pt x="839" y="1909"/>
                  </a:lnTo>
                  <a:lnTo>
                    <a:pt x="838" y="1915"/>
                  </a:lnTo>
                  <a:lnTo>
                    <a:pt x="833" y="1915"/>
                  </a:lnTo>
                  <a:lnTo>
                    <a:pt x="829" y="1913"/>
                  </a:lnTo>
                  <a:lnTo>
                    <a:pt x="827" y="1910"/>
                  </a:lnTo>
                  <a:lnTo>
                    <a:pt x="827" y="1903"/>
                  </a:lnTo>
                  <a:lnTo>
                    <a:pt x="831" y="1890"/>
                  </a:lnTo>
                  <a:lnTo>
                    <a:pt x="831" y="1884"/>
                  </a:lnTo>
                  <a:lnTo>
                    <a:pt x="828" y="1874"/>
                  </a:lnTo>
                  <a:lnTo>
                    <a:pt x="827" y="1871"/>
                  </a:lnTo>
                  <a:lnTo>
                    <a:pt x="822" y="1868"/>
                  </a:lnTo>
                  <a:lnTo>
                    <a:pt x="817" y="1870"/>
                  </a:lnTo>
                  <a:lnTo>
                    <a:pt x="809" y="1876"/>
                  </a:lnTo>
                  <a:lnTo>
                    <a:pt x="801" y="1876"/>
                  </a:lnTo>
                  <a:lnTo>
                    <a:pt x="793" y="1879"/>
                  </a:lnTo>
                  <a:lnTo>
                    <a:pt x="791" y="1881"/>
                  </a:lnTo>
                  <a:lnTo>
                    <a:pt x="788" y="1879"/>
                  </a:lnTo>
                  <a:lnTo>
                    <a:pt x="780" y="1881"/>
                  </a:lnTo>
                  <a:lnTo>
                    <a:pt x="774" y="1889"/>
                  </a:lnTo>
                  <a:lnTo>
                    <a:pt x="771" y="1889"/>
                  </a:lnTo>
                  <a:lnTo>
                    <a:pt x="757" y="1886"/>
                  </a:lnTo>
                  <a:lnTo>
                    <a:pt x="750" y="1888"/>
                  </a:lnTo>
                  <a:lnTo>
                    <a:pt x="746" y="1887"/>
                  </a:lnTo>
                  <a:lnTo>
                    <a:pt x="739" y="1883"/>
                  </a:lnTo>
                  <a:lnTo>
                    <a:pt x="729" y="1881"/>
                  </a:lnTo>
                  <a:lnTo>
                    <a:pt x="723" y="1873"/>
                  </a:lnTo>
                  <a:lnTo>
                    <a:pt x="713" y="1873"/>
                  </a:lnTo>
                  <a:lnTo>
                    <a:pt x="708" y="1874"/>
                  </a:lnTo>
                  <a:lnTo>
                    <a:pt x="704" y="1881"/>
                  </a:lnTo>
                  <a:lnTo>
                    <a:pt x="702" y="1882"/>
                  </a:lnTo>
                  <a:lnTo>
                    <a:pt x="696" y="1879"/>
                  </a:lnTo>
                  <a:lnTo>
                    <a:pt x="691" y="1881"/>
                  </a:lnTo>
                  <a:lnTo>
                    <a:pt x="685" y="1877"/>
                  </a:lnTo>
                  <a:lnTo>
                    <a:pt x="681" y="1879"/>
                  </a:lnTo>
                  <a:lnTo>
                    <a:pt x="675" y="1881"/>
                  </a:lnTo>
                  <a:lnTo>
                    <a:pt x="671" y="1878"/>
                  </a:lnTo>
                  <a:lnTo>
                    <a:pt x="667" y="1872"/>
                  </a:lnTo>
                  <a:lnTo>
                    <a:pt x="666" y="1868"/>
                  </a:lnTo>
                  <a:lnTo>
                    <a:pt x="661" y="1862"/>
                  </a:lnTo>
                  <a:lnTo>
                    <a:pt x="653" y="1861"/>
                  </a:lnTo>
                  <a:lnTo>
                    <a:pt x="645" y="1863"/>
                  </a:lnTo>
                  <a:lnTo>
                    <a:pt x="630" y="1854"/>
                  </a:lnTo>
                  <a:lnTo>
                    <a:pt x="629" y="1847"/>
                  </a:lnTo>
                  <a:lnTo>
                    <a:pt x="632" y="1834"/>
                  </a:lnTo>
                  <a:lnTo>
                    <a:pt x="629" y="1833"/>
                  </a:lnTo>
                  <a:lnTo>
                    <a:pt x="624" y="1836"/>
                  </a:lnTo>
                  <a:lnTo>
                    <a:pt x="619" y="1838"/>
                  </a:lnTo>
                  <a:lnTo>
                    <a:pt x="611" y="1836"/>
                  </a:lnTo>
                  <a:lnTo>
                    <a:pt x="603" y="1834"/>
                  </a:lnTo>
                  <a:lnTo>
                    <a:pt x="599" y="1835"/>
                  </a:lnTo>
                  <a:lnTo>
                    <a:pt x="592" y="1831"/>
                  </a:lnTo>
                  <a:lnTo>
                    <a:pt x="589" y="1831"/>
                  </a:lnTo>
                  <a:lnTo>
                    <a:pt x="585" y="1828"/>
                  </a:lnTo>
                  <a:lnTo>
                    <a:pt x="583" y="1823"/>
                  </a:lnTo>
                  <a:lnTo>
                    <a:pt x="578" y="1825"/>
                  </a:lnTo>
                  <a:lnTo>
                    <a:pt x="576" y="1822"/>
                  </a:lnTo>
                  <a:lnTo>
                    <a:pt x="579" y="1809"/>
                  </a:lnTo>
                  <a:lnTo>
                    <a:pt x="578" y="1803"/>
                  </a:lnTo>
                  <a:lnTo>
                    <a:pt x="581" y="1797"/>
                  </a:lnTo>
                  <a:lnTo>
                    <a:pt x="579" y="1795"/>
                  </a:lnTo>
                  <a:lnTo>
                    <a:pt x="573" y="1793"/>
                  </a:lnTo>
                  <a:lnTo>
                    <a:pt x="567" y="1795"/>
                  </a:lnTo>
                  <a:lnTo>
                    <a:pt x="563" y="1793"/>
                  </a:lnTo>
                  <a:lnTo>
                    <a:pt x="560" y="1797"/>
                  </a:lnTo>
                  <a:lnTo>
                    <a:pt x="559" y="1800"/>
                  </a:lnTo>
                  <a:lnTo>
                    <a:pt x="556" y="1803"/>
                  </a:lnTo>
                  <a:lnTo>
                    <a:pt x="553" y="1804"/>
                  </a:lnTo>
                  <a:lnTo>
                    <a:pt x="548" y="1809"/>
                  </a:lnTo>
                  <a:lnTo>
                    <a:pt x="544" y="1808"/>
                  </a:lnTo>
                  <a:lnTo>
                    <a:pt x="538" y="1807"/>
                  </a:lnTo>
                  <a:lnTo>
                    <a:pt x="536" y="1802"/>
                  </a:lnTo>
                  <a:lnTo>
                    <a:pt x="533" y="1785"/>
                  </a:lnTo>
                  <a:lnTo>
                    <a:pt x="527" y="1776"/>
                  </a:lnTo>
                  <a:lnTo>
                    <a:pt x="515" y="1766"/>
                  </a:lnTo>
                  <a:lnTo>
                    <a:pt x="503" y="1763"/>
                  </a:lnTo>
                  <a:lnTo>
                    <a:pt x="493" y="1754"/>
                  </a:lnTo>
                  <a:lnTo>
                    <a:pt x="487" y="1745"/>
                  </a:lnTo>
                  <a:lnTo>
                    <a:pt x="482" y="1743"/>
                  </a:lnTo>
                  <a:lnTo>
                    <a:pt x="462" y="1737"/>
                  </a:lnTo>
                  <a:lnTo>
                    <a:pt x="444" y="1733"/>
                  </a:lnTo>
                  <a:lnTo>
                    <a:pt x="441" y="1732"/>
                  </a:lnTo>
                  <a:lnTo>
                    <a:pt x="425" y="1730"/>
                  </a:lnTo>
                  <a:lnTo>
                    <a:pt x="423" y="1731"/>
                  </a:lnTo>
                  <a:lnTo>
                    <a:pt x="423" y="1732"/>
                  </a:lnTo>
                  <a:lnTo>
                    <a:pt x="423" y="1737"/>
                  </a:lnTo>
                  <a:lnTo>
                    <a:pt x="419" y="1742"/>
                  </a:lnTo>
                  <a:lnTo>
                    <a:pt x="420" y="1744"/>
                  </a:lnTo>
                  <a:lnTo>
                    <a:pt x="419" y="1748"/>
                  </a:lnTo>
                  <a:lnTo>
                    <a:pt x="411" y="1741"/>
                  </a:lnTo>
                  <a:lnTo>
                    <a:pt x="408" y="1736"/>
                  </a:lnTo>
                  <a:lnTo>
                    <a:pt x="406" y="1734"/>
                  </a:lnTo>
                  <a:lnTo>
                    <a:pt x="403" y="1733"/>
                  </a:lnTo>
                  <a:lnTo>
                    <a:pt x="386" y="1728"/>
                  </a:lnTo>
                  <a:lnTo>
                    <a:pt x="384" y="1726"/>
                  </a:lnTo>
                  <a:lnTo>
                    <a:pt x="380" y="1720"/>
                  </a:lnTo>
                  <a:lnTo>
                    <a:pt x="375" y="1718"/>
                  </a:lnTo>
                  <a:lnTo>
                    <a:pt x="363" y="1709"/>
                  </a:lnTo>
                  <a:lnTo>
                    <a:pt x="357" y="1709"/>
                  </a:lnTo>
                  <a:lnTo>
                    <a:pt x="350" y="1705"/>
                  </a:lnTo>
                  <a:lnTo>
                    <a:pt x="348" y="1701"/>
                  </a:lnTo>
                  <a:lnTo>
                    <a:pt x="348" y="1698"/>
                  </a:lnTo>
                  <a:lnTo>
                    <a:pt x="345" y="1694"/>
                  </a:lnTo>
                  <a:lnTo>
                    <a:pt x="341" y="1694"/>
                  </a:lnTo>
                  <a:lnTo>
                    <a:pt x="339" y="1691"/>
                  </a:lnTo>
                  <a:lnTo>
                    <a:pt x="334" y="1689"/>
                  </a:lnTo>
                  <a:lnTo>
                    <a:pt x="326" y="1693"/>
                  </a:lnTo>
                  <a:lnTo>
                    <a:pt x="325" y="1691"/>
                  </a:lnTo>
                  <a:lnTo>
                    <a:pt x="323" y="1685"/>
                  </a:lnTo>
                  <a:lnTo>
                    <a:pt x="322" y="1684"/>
                  </a:lnTo>
                  <a:lnTo>
                    <a:pt x="318" y="1683"/>
                  </a:lnTo>
                  <a:lnTo>
                    <a:pt x="315" y="1684"/>
                  </a:lnTo>
                  <a:lnTo>
                    <a:pt x="306" y="1683"/>
                  </a:lnTo>
                  <a:lnTo>
                    <a:pt x="302" y="1684"/>
                  </a:lnTo>
                  <a:lnTo>
                    <a:pt x="296" y="1688"/>
                  </a:lnTo>
                  <a:lnTo>
                    <a:pt x="293" y="1688"/>
                  </a:lnTo>
                  <a:lnTo>
                    <a:pt x="290" y="1685"/>
                  </a:lnTo>
                  <a:lnTo>
                    <a:pt x="291" y="1675"/>
                  </a:lnTo>
                  <a:lnTo>
                    <a:pt x="287" y="1672"/>
                  </a:lnTo>
                  <a:lnTo>
                    <a:pt x="283" y="1666"/>
                  </a:lnTo>
                  <a:lnTo>
                    <a:pt x="283" y="1663"/>
                  </a:lnTo>
                  <a:lnTo>
                    <a:pt x="278" y="1658"/>
                  </a:lnTo>
                  <a:lnTo>
                    <a:pt x="278" y="1653"/>
                  </a:lnTo>
                  <a:lnTo>
                    <a:pt x="280" y="1646"/>
                  </a:lnTo>
                  <a:lnTo>
                    <a:pt x="277" y="1640"/>
                  </a:lnTo>
                  <a:lnTo>
                    <a:pt x="277" y="1636"/>
                  </a:lnTo>
                  <a:lnTo>
                    <a:pt x="278" y="1629"/>
                  </a:lnTo>
                  <a:lnTo>
                    <a:pt x="280" y="1623"/>
                  </a:lnTo>
                  <a:lnTo>
                    <a:pt x="273" y="1613"/>
                  </a:lnTo>
                  <a:lnTo>
                    <a:pt x="266" y="1605"/>
                  </a:lnTo>
                  <a:lnTo>
                    <a:pt x="266" y="1596"/>
                  </a:lnTo>
                  <a:lnTo>
                    <a:pt x="263" y="1588"/>
                  </a:lnTo>
                  <a:lnTo>
                    <a:pt x="264" y="1585"/>
                  </a:lnTo>
                  <a:lnTo>
                    <a:pt x="275" y="1583"/>
                  </a:lnTo>
                  <a:lnTo>
                    <a:pt x="278" y="1580"/>
                  </a:lnTo>
                  <a:lnTo>
                    <a:pt x="279" y="1581"/>
                  </a:lnTo>
                  <a:lnTo>
                    <a:pt x="280" y="1588"/>
                  </a:lnTo>
                  <a:lnTo>
                    <a:pt x="283" y="1593"/>
                  </a:lnTo>
                  <a:lnTo>
                    <a:pt x="285" y="1596"/>
                  </a:lnTo>
                  <a:lnTo>
                    <a:pt x="293" y="1598"/>
                  </a:lnTo>
                  <a:lnTo>
                    <a:pt x="295" y="1597"/>
                  </a:lnTo>
                  <a:lnTo>
                    <a:pt x="298" y="1596"/>
                  </a:lnTo>
                  <a:lnTo>
                    <a:pt x="301" y="1597"/>
                  </a:lnTo>
                  <a:lnTo>
                    <a:pt x="302" y="1591"/>
                  </a:lnTo>
                  <a:lnTo>
                    <a:pt x="306" y="1588"/>
                  </a:lnTo>
                  <a:lnTo>
                    <a:pt x="310" y="1582"/>
                  </a:lnTo>
                  <a:lnTo>
                    <a:pt x="311" y="1582"/>
                  </a:lnTo>
                  <a:lnTo>
                    <a:pt x="315" y="1587"/>
                  </a:lnTo>
                  <a:lnTo>
                    <a:pt x="317" y="1587"/>
                  </a:lnTo>
                  <a:lnTo>
                    <a:pt x="326" y="1576"/>
                  </a:lnTo>
                  <a:lnTo>
                    <a:pt x="326" y="1574"/>
                  </a:lnTo>
                  <a:lnTo>
                    <a:pt x="322" y="1567"/>
                  </a:lnTo>
                  <a:lnTo>
                    <a:pt x="316" y="1559"/>
                  </a:lnTo>
                  <a:lnTo>
                    <a:pt x="315" y="1554"/>
                  </a:lnTo>
                  <a:lnTo>
                    <a:pt x="316" y="1551"/>
                  </a:lnTo>
                  <a:lnTo>
                    <a:pt x="316" y="1548"/>
                  </a:lnTo>
                  <a:lnTo>
                    <a:pt x="306" y="1543"/>
                  </a:lnTo>
                  <a:lnTo>
                    <a:pt x="301" y="1544"/>
                  </a:lnTo>
                  <a:lnTo>
                    <a:pt x="300" y="1540"/>
                  </a:lnTo>
                  <a:lnTo>
                    <a:pt x="291" y="1533"/>
                  </a:lnTo>
                  <a:lnTo>
                    <a:pt x="291" y="1518"/>
                  </a:lnTo>
                  <a:lnTo>
                    <a:pt x="296" y="1517"/>
                  </a:lnTo>
                  <a:lnTo>
                    <a:pt x="294" y="1511"/>
                  </a:lnTo>
                  <a:lnTo>
                    <a:pt x="295" y="1508"/>
                  </a:lnTo>
                  <a:lnTo>
                    <a:pt x="296" y="1507"/>
                  </a:lnTo>
                  <a:lnTo>
                    <a:pt x="289" y="1500"/>
                  </a:lnTo>
                  <a:lnTo>
                    <a:pt x="290" y="1494"/>
                  </a:lnTo>
                  <a:lnTo>
                    <a:pt x="290" y="1492"/>
                  </a:lnTo>
                  <a:lnTo>
                    <a:pt x="300" y="1492"/>
                  </a:lnTo>
                  <a:lnTo>
                    <a:pt x="304" y="1489"/>
                  </a:lnTo>
                  <a:lnTo>
                    <a:pt x="315" y="1492"/>
                  </a:lnTo>
                  <a:lnTo>
                    <a:pt x="317" y="1490"/>
                  </a:lnTo>
                  <a:lnTo>
                    <a:pt x="322" y="1485"/>
                  </a:lnTo>
                  <a:lnTo>
                    <a:pt x="327" y="1475"/>
                  </a:lnTo>
                  <a:lnTo>
                    <a:pt x="327" y="1464"/>
                  </a:lnTo>
                  <a:lnTo>
                    <a:pt x="337" y="1463"/>
                  </a:lnTo>
                  <a:lnTo>
                    <a:pt x="338" y="1462"/>
                  </a:lnTo>
                  <a:lnTo>
                    <a:pt x="336" y="1459"/>
                  </a:lnTo>
                  <a:lnTo>
                    <a:pt x="337" y="1456"/>
                  </a:lnTo>
                  <a:lnTo>
                    <a:pt x="341" y="1453"/>
                  </a:lnTo>
                  <a:lnTo>
                    <a:pt x="342" y="1451"/>
                  </a:lnTo>
                  <a:lnTo>
                    <a:pt x="345" y="1447"/>
                  </a:lnTo>
                  <a:lnTo>
                    <a:pt x="352" y="1442"/>
                  </a:lnTo>
                  <a:lnTo>
                    <a:pt x="352" y="1436"/>
                  </a:lnTo>
                  <a:lnTo>
                    <a:pt x="358" y="1430"/>
                  </a:lnTo>
                  <a:lnTo>
                    <a:pt x="360" y="1411"/>
                  </a:lnTo>
                  <a:lnTo>
                    <a:pt x="363" y="1409"/>
                  </a:lnTo>
                  <a:lnTo>
                    <a:pt x="363" y="1402"/>
                  </a:lnTo>
                  <a:lnTo>
                    <a:pt x="369" y="1394"/>
                  </a:lnTo>
                  <a:lnTo>
                    <a:pt x="369" y="1391"/>
                  </a:lnTo>
                  <a:lnTo>
                    <a:pt x="365" y="1388"/>
                  </a:lnTo>
                  <a:lnTo>
                    <a:pt x="361" y="1388"/>
                  </a:lnTo>
                  <a:lnTo>
                    <a:pt x="354" y="1397"/>
                  </a:lnTo>
                  <a:lnTo>
                    <a:pt x="352" y="1397"/>
                  </a:lnTo>
                  <a:lnTo>
                    <a:pt x="349" y="1393"/>
                  </a:lnTo>
                  <a:lnTo>
                    <a:pt x="347" y="1382"/>
                  </a:lnTo>
                  <a:lnTo>
                    <a:pt x="342" y="1386"/>
                  </a:lnTo>
                  <a:lnTo>
                    <a:pt x="338" y="1386"/>
                  </a:lnTo>
                  <a:lnTo>
                    <a:pt x="336" y="1381"/>
                  </a:lnTo>
                  <a:lnTo>
                    <a:pt x="333" y="1381"/>
                  </a:lnTo>
                  <a:lnTo>
                    <a:pt x="331" y="1379"/>
                  </a:lnTo>
                  <a:lnTo>
                    <a:pt x="330" y="1370"/>
                  </a:lnTo>
                  <a:lnTo>
                    <a:pt x="326" y="1368"/>
                  </a:lnTo>
                  <a:lnTo>
                    <a:pt x="325" y="1366"/>
                  </a:lnTo>
                  <a:lnTo>
                    <a:pt x="322" y="1365"/>
                  </a:lnTo>
                  <a:lnTo>
                    <a:pt x="318" y="1365"/>
                  </a:lnTo>
                  <a:lnTo>
                    <a:pt x="315" y="1360"/>
                  </a:lnTo>
                  <a:lnTo>
                    <a:pt x="312" y="1359"/>
                  </a:lnTo>
                  <a:lnTo>
                    <a:pt x="309" y="1359"/>
                  </a:lnTo>
                  <a:lnTo>
                    <a:pt x="304" y="1361"/>
                  </a:lnTo>
                  <a:lnTo>
                    <a:pt x="298" y="1361"/>
                  </a:lnTo>
                  <a:lnTo>
                    <a:pt x="293" y="1365"/>
                  </a:lnTo>
                  <a:lnTo>
                    <a:pt x="279" y="1365"/>
                  </a:lnTo>
                  <a:lnTo>
                    <a:pt x="269" y="1372"/>
                  </a:lnTo>
                  <a:lnTo>
                    <a:pt x="258" y="1378"/>
                  </a:lnTo>
                  <a:lnTo>
                    <a:pt x="251" y="1383"/>
                  </a:lnTo>
                  <a:lnTo>
                    <a:pt x="246" y="1388"/>
                  </a:lnTo>
                  <a:lnTo>
                    <a:pt x="241" y="1389"/>
                  </a:lnTo>
                  <a:lnTo>
                    <a:pt x="237" y="1394"/>
                  </a:lnTo>
                  <a:lnTo>
                    <a:pt x="230" y="1391"/>
                  </a:lnTo>
                  <a:lnTo>
                    <a:pt x="225" y="1394"/>
                  </a:lnTo>
                  <a:lnTo>
                    <a:pt x="220" y="1394"/>
                  </a:lnTo>
                  <a:lnTo>
                    <a:pt x="209" y="1393"/>
                  </a:lnTo>
                  <a:lnTo>
                    <a:pt x="202" y="1388"/>
                  </a:lnTo>
                  <a:lnTo>
                    <a:pt x="196" y="1389"/>
                  </a:lnTo>
                  <a:lnTo>
                    <a:pt x="188" y="1384"/>
                  </a:lnTo>
                  <a:lnTo>
                    <a:pt x="171" y="1378"/>
                  </a:lnTo>
                  <a:lnTo>
                    <a:pt x="161" y="1372"/>
                  </a:lnTo>
                  <a:lnTo>
                    <a:pt x="161" y="1366"/>
                  </a:lnTo>
                  <a:lnTo>
                    <a:pt x="160" y="1362"/>
                  </a:lnTo>
                  <a:lnTo>
                    <a:pt x="156" y="1363"/>
                  </a:lnTo>
                  <a:lnTo>
                    <a:pt x="151" y="1367"/>
                  </a:lnTo>
                  <a:lnTo>
                    <a:pt x="148" y="1367"/>
                  </a:lnTo>
                  <a:lnTo>
                    <a:pt x="143" y="1368"/>
                  </a:lnTo>
                  <a:lnTo>
                    <a:pt x="139" y="1367"/>
                  </a:lnTo>
                  <a:lnTo>
                    <a:pt x="133" y="1356"/>
                  </a:lnTo>
                  <a:lnTo>
                    <a:pt x="126" y="1355"/>
                  </a:lnTo>
                  <a:lnTo>
                    <a:pt x="124" y="1351"/>
                  </a:lnTo>
                  <a:lnTo>
                    <a:pt x="124" y="1349"/>
                  </a:lnTo>
                  <a:lnTo>
                    <a:pt x="129" y="1348"/>
                  </a:lnTo>
                  <a:lnTo>
                    <a:pt x="131" y="1344"/>
                  </a:lnTo>
                  <a:lnTo>
                    <a:pt x="129" y="1339"/>
                  </a:lnTo>
                  <a:lnTo>
                    <a:pt x="127" y="1336"/>
                  </a:lnTo>
                  <a:lnTo>
                    <a:pt x="129" y="1330"/>
                  </a:lnTo>
                  <a:lnTo>
                    <a:pt x="129" y="1324"/>
                  </a:lnTo>
                  <a:lnTo>
                    <a:pt x="127" y="1318"/>
                  </a:lnTo>
                  <a:lnTo>
                    <a:pt x="121" y="1312"/>
                  </a:lnTo>
                  <a:lnTo>
                    <a:pt x="110" y="1305"/>
                  </a:lnTo>
                  <a:lnTo>
                    <a:pt x="105" y="1305"/>
                  </a:lnTo>
                  <a:lnTo>
                    <a:pt x="99" y="1309"/>
                  </a:lnTo>
                  <a:lnTo>
                    <a:pt x="97" y="1308"/>
                  </a:lnTo>
                  <a:lnTo>
                    <a:pt x="97" y="1296"/>
                  </a:lnTo>
                  <a:lnTo>
                    <a:pt x="95" y="1293"/>
                  </a:lnTo>
                  <a:lnTo>
                    <a:pt x="88" y="1295"/>
                  </a:lnTo>
                  <a:lnTo>
                    <a:pt x="83" y="1292"/>
                  </a:lnTo>
                  <a:lnTo>
                    <a:pt x="79" y="1291"/>
                  </a:lnTo>
                  <a:lnTo>
                    <a:pt x="65" y="1293"/>
                  </a:lnTo>
                  <a:lnTo>
                    <a:pt x="54" y="1290"/>
                  </a:lnTo>
                  <a:lnTo>
                    <a:pt x="56" y="1289"/>
                  </a:lnTo>
                  <a:lnTo>
                    <a:pt x="53" y="1284"/>
                  </a:lnTo>
                  <a:lnTo>
                    <a:pt x="47" y="1281"/>
                  </a:lnTo>
                  <a:lnTo>
                    <a:pt x="46" y="1278"/>
                  </a:lnTo>
                  <a:lnTo>
                    <a:pt x="53" y="1270"/>
                  </a:lnTo>
                  <a:lnTo>
                    <a:pt x="57" y="1269"/>
                  </a:lnTo>
                  <a:lnTo>
                    <a:pt x="62" y="1271"/>
                  </a:lnTo>
                  <a:lnTo>
                    <a:pt x="65" y="1271"/>
                  </a:lnTo>
                  <a:lnTo>
                    <a:pt x="62" y="1271"/>
                  </a:lnTo>
                  <a:lnTo>
                    <a:pt x="70" y="1274"/>
                  </a:lnTo>
                  <a:lnTo>
                    <a:pt x="73" y="1273"/>
                  </a:lnTo>
                  <a:lnTo>
                    <a:pt x="73" y="1237"/>
                  </a:lnTo>
                  <a:lnTo>
                    <a:pt x="63" y="1212"/>
                  </a:lnTo>
                  <a:lnTo>
                    <a:pt x="63" y="1193"/>
                  </a:lnTo>
                  <a:lnTo>
                    <a:pt x="56" y="1182"/>
                  </a:lnTo>
                  <a:lnTo>
                    <a:pt x="37" y="1180"/>
                  </a:lnTo>
                  <a:lnTo>
                    <a:pt x="17" y="1187"/>
                  </a:lnTo>
                  <a:lnTo>
                    <a:pt x="6" y="1179"/>
                  </a:lnTo>
                  <a:lnTo>
                    <a:pt x="2" y="1162"/>
                  </a:lnTo>
                  <a:lnTo>
                    <a:pt x="0" y="1142"/>
                  </a:lnTo>
                  <a:lnTo>
                    <a:pt x="11" y="1108"/>
                  </a:lnTo>
                  <a:lnTo>
                    <a:pt x="10" y="1097"/>
                  </a:lnTo>
                  <a:lnTo>
                    <a:pt x="19" y="1079"/>
                  </a:lnTo>
                  <a:lnTo>
                    <a:pt x="51" y="1064"/>
                  </a:lnTo>
                  <a:lnTo>
                    <a:pt x="56" y="1059"/>
                  </a:lnTo>
                  <a:lnTo>
                    <a:pt x="63" y="1059"/>
                  </a:lnTo>
                  <a:lnTo>
                    <a:pt x="69" y="1044"/>
                  </a:lnTo>
                  <a:lnTo>
                    <a:pt x="79" y="1048"/>
                  </a:lnTo>
                  <a:lnTo>
                    <a:pt x="94" y="1042"/>
                  </a:lnTo>
                  <a:lnTo>
                    <a:pt x="105" y="1043"/>
                  </a:lnTo>
                  <a:lnTo>
                    <a:pt x="111" y="1056"/>
                  </a:lnTo>
                  <a:lnTo>
                    <a:pt x="122" y="1058"/>
                  </a:lnTo>
                  <a:lnTo>
                    <a:pt x="138" y="1054"/>
                  </a:lnTo>
                  <a:lnTo>
                    <a:pt x="148" y="1055"/>
                  </a:lnTo>
                  <a:lnTo>
                    <a:pt x="161" y="1045"/>
                  </a:lnTo>
                  <a:lnTo>
                    <a:pt x="167" y="1027"/>
                  </a:lnTo>
                  <a:lnTo>
                    <a:pt x="176" y="1016"/>
                  </a:lnTo>
                  <a:lnTo>
                    <a:pt x="193" y="1011"/>
                  </a:lnTo>
                  <a:lnTo>
                    <a:pt x="212" y="1010"/>
                  </a:lnTo>
                  <a:lnTo>
                    <a:pt x="239" y="1005"/>
                  </a:lnTo>
                  <a:lnTo>
                    <a:pt x="251" y="1000"/>
                  </a:lnTo>
                  <a:lnTo>
                    <a:pt x="259" y="986"/>
                  </a:lnTo>
                  <a:lnTo>
                    <a:pt x="274" y="973"/>
                  </a:lnTo>
                  <a:lnTo>
                    <a:pt x="310" y="953"/>
                  </a:lnTo>
                  <a:lnTo>
                    <a:pt x="348" y="941"/>
                  </a:lnTo>
                  <a:lnTo>
                    <a:pt x="358" y="934"/>
                  </a:lnTo>
                  <a:lnTo>
                    <a:pt x="364" y="920"/>
                  </a:lnTo>
                  <a:lnTo>
                    <a:pt x="364" y="892"/>
                  </a:lnTo>
                  <a:lnTo>
                    <a:pt x="366" y="881"/>
                  </a:lnTo>
                  <a:lnTo>
                    <a:pt x="374" y="871"/>
                  </a:lnTo>
                  <a:lnTo>
                    <a:pt x="373" y="859"/>
                  </a:lnTo>
                  <a:lnTo>
                    <a:pt x="386" y="849"/>
                  </a:lnTo>
                  <a:lnTo>
                    <a:pt x="386" y="834"/>
                  </a:lnTo>
                  <a:lnTo>
                    <a:pt x="377" y="807"/>
                  </a:lnTo>
                  <a:lnTo>
                    <a:pt x="370" y="795"/>
                  </a:lnTo>
                  <a:lnTo>
                    <a:pt x="366" y="780"/>
                  </a:lnTo>
                  <a:lnTo>
                    <a:pt x="361" y="742"/>
                  </a:lnTo>
                  <a:lnTo>
                    <a:pt x="354" y="727"/>
                  </a:lnTo>
                  <a:lnTo>
                    <a:pt x="347" y="720"/>
                  </a:lnTo>
                  <a:lnTo>
                    <a:pt x="355" y="712"/>
                  </a:lnTo>
                  <a:lnTo>
                    <a:pt x="375" y="705"/>
                  </a:lnTo>
                  <a:lnTo>
                    <a:pt x="393" y="703"/>
                  </a:lnTo>
                  <a:lnTo>
                    <a:pt x="416" y="695"/>
                  </a:lnTo>
                  <a:lnTo>
                    <a:pt x="471" y="693"/>
                  </a:lnTo>
                  <a:lnTo>
                    <a:pt x="478" y="688"/>
                  </a:lnTo>
                  <a:lnTo>
                    <a:pt x="472" y="670"/>
                  </a:lnTo>
                  <a:lnTo>
                    <a:pt x="470" y="655"/>
                  </a:lnTo>
                  <a:lnTo>
                    <a:pt x="473" y="635"/>
                  </a:lnTo>
                  <a:lnTo>
                    <a:pt x="479" y="611"/>
                  </a:lnTo>
                  <a:lnTo>
                    <a:pt x="492" y="584"/>
                  </a:lnTo>
                  <a:lnTo>
                    <a:pt x="500" y="558"/>
                  </a:lnTo>
                  <a:lnTo>
                    <a:pt x="511" y="537"/>
                  </a:lnTo>
                  <a:lnTo>
                    <a:pt x="535" y="537"/>
                  </a:lnTo>
                  <a:lnTo>
                    <a:pt x="544" y="544"/>
                  </a:lnTo>
                  <a:lnTo>
                    <a:pt x="563" y="550"/>
                  </a:lnTo>
                  <a:lnTo>
                    <a:pt x="597" y="547"/>
                  </a:lnTo>
                  <a:lnTo>
                    <a:pt x="606" y="556"/>
                  </a:lnTo>
                  <a:lnTo>
                    <a:pt x="616" y="563"/>
                  </a:lnTo>
                  <a:lnTo>
                    <a:pt x="630" y="552"/>
                  </a:lnTo>
                  <a:lnTo>
                    <a:pt x="653" y="544"/>
                  </a:lnTo>
                  <a:lnTo>
                    <a:pt x="656" y="507"/>
                  </a:lnTo>
                  <a:lnTo>
                    <a:pt x="654" y="484"/>
                  </a:lnTo>
                  <a:lnTo>
                    <a:pt x="659" y="459"/>
                  </a:lnTo>
                  <a:lnTo>
                    <a:pt x="670" y="439"/>
                  </a:lnTo>
                  <a:lnTo>
                    <a:pt x="686" y="440"/>
                  </a:lnTo>
                  <a:lnTo>
                    <a:pt x="705" y="434"/>
                  </a:lnTo>
                  <a:lnTo>
                    <a:pt x="721" y="418"/>
                  </a:lnTo>
                  <a:lnTo>
                    <a:pt x="731" y="398"/>
                  </a:lnTo>
                  <a:lnTo>
                    <a:pt x="756" y="405"/>
                  </a:lnTo>
                  <a:lnTo>
                    <a:pt x="772" y="389"/>
                  </a:lnTo>
                  <a:lnTo>
                    <a:pt x="777" y="389"/>
                  </a:lnTo>
                  <a:lnTo>
                    <a:pt x="777" y="393"/>
                  </a:lnTo>
                  <a:lnTo>
                    <a:pt x="780" y="404"/>
                  </a:lnTo>
                  <a:lnTo>
                    <a:pt x="791" y="430"/>
                  </a:lnTo>
                  <a:lnTo>
                    <a:pt x="821" y="453"/>
                  </a:lnTo>
                  <a:lnTo>
                    <a:pt x="832" y="474"/>
                  </a:lnTo>
                  <a:lnTo>
                    <a:pt x="847" y="485"/>
                  </a:lnTo>
                  <a:lnTo>
                    <a:pt x="854" y="474"/>
                  </a:lnTo>
                  <a:lnTo>
                    <a:pt x="870" y="477"/>
                  </a:lnTo>
                  <a:lnTo>
                    <a:pt x="885" y="485"/>
                  </a:lnTo>
                  <a:lnTo>
                    <a:pt x="901" y="488"/>
                  </a:lnTo>
                  <a:lnTo>
                    <a:pt x="911" y="504"/>
                  </a:lnTo>
                  <a:lnTo>
                    <a:pt x="918" y="526"/>
                  </a:lnTo>
                  <a:lnTo>
                    <a:pt x="928" y="543"/>
                  </a:lnTo>
                  <a:lnTo>
                    <a:pt x="940" y="586"/>
                  </a:lnTo>
                  <a:lnTo>
                    <a:pt x="940" y="614"/>
                  </a:lnTo>
                  <a:lnTo>
                    <a:pt x="944" y="633"/>
                  </a:lnTo>
                  <a:lnTo>
                    <a:pt x="943" y="652"/>
                  </a:lnTo>
                  <a:lnTo>
                    <a:pt x="935" y="668"/>
                  </a:lnTo>
                  <a:lnTo>
                    <a:pt x="934" y="683"/>
                  </a:lnTo>
                  <a:lnTo>
                    <a:pt x="941" y="690"/>
                  </a:lnTo>
                  <a:lnTo>
                    <a:pt x="957" y="697"/>
                  </a:lnTo>
                  <a:lnTo>
                    <a:pt x="988" y="700"/>
                  </a:lnTo>
                  <a:lnTo>
                    <a:pt x="1022" y="711"/>
                  </a:lnTo>
                  <a:lnTo>
                    <a:pt x="1031" y="711"/>
                  </a:lnTo>
                  <a:lnTo>
                    <a:pt x="1044" y="706"/>
                  </a:lnTo>
                  <a:lnTo>
                    <a:pt x="1057" y="706"/>
                  </a:lnTo>
                  <a:lnTo>
                    <a:pt x="1069" y="712"/>
                  </a:lnTo>
                  <a:lnTo>
                    <a:pt x="1099" y="722"/>
                  </a:lnTo>
                  <a:lnTo>
                    <a:pt x="1114" y="732"/>
                  </a:lnTo>
                  <a:lnTo>
                    <a:pt x="1130" y="741"/>
                  </a:lnTo>
                  <a:lnTo>
                    <a:pt x="1162" y="749"/>
                  </a:lnTo>
                  <a:lnTo>
                    <a:pt x="1175" y="759"/>
                  </a:lnTo>
                  <a:lnTo>
                    <a:pt x="1187" y="760"/>
                  </a:lnTo>
                  <a:lnTo>
                    <a:pt x="1198" y="775"/>
                  </a:lnTo>
                  <a:lnTo>
                    <a:pt x="1209" y="792"/>
                  </a:lnTo>
                  <a:lnTo>
                    <a:pt x="1216" y="812"/>
                  </a:lnTo>
                  <a:lnTo>
                    <a:pt x="1228" y="832"/>
                  </a:lnTo>
                  <a:lnTo>
                    <a:pt x="1240" y="846"/>
                  </a:lnTo>
                  <a:lnTo>
                    <a:pt x="1253" y="862"/>
                  </a:lnTo>
                  <a:lnTo>
                    <a:pt x="1269" y="876"/>
                  </a:lnTo>
                  <a:lnTo>
                    <a:pt x="1283" y="882"/>
                  </a:lnTo>
                  <a:lnTo>
                    <a:pt x="1304" y="882"/>
                  </a:lnTo>
                  <a:lnTo>
                    <a:pt x="1452" y="872"/>
                  </a:lnTo>
                  <a:lnTo>
                    <a:pt x="1470" y="870"/>
                  </a:lnTo>
                  <a:lnTo>
                    <a:pt x="1487" y="872"/>
                  </a:lnTo>
                  <a:lnTo>
                    <a:pt x="1521" y="883"/>
                  </a:lnTo>
                  <a:lnTo>
                    <a:pt x="1531" y="887"/>
                  </a:lnTo>
                  <a:lnTo>
                    <a:pt x="1540" y="898"/>
                  </a:lnTo>
                  <a:lnTo>
                    <a:pt x="1555" y="911"/>
                  </a:lnTo>
                  <a:lnTo>
                    <a:pt x="1578" y="921"/>
                  </a:lnTo>
                  <a:lnTo>
                    <a:pt x="1611" y="931"/>
                  </a:lnTo>
                  <a:lnTo>
                    <a:pt x="1629" y="941"/>
                  </a:lnTo>
                  <a:lnTo>
                    <a:pt x="1651" y="948"/>
                  </a:lnTo>
                  <a:lnTo>
                    <a:pt x="1680" y="950"/>
                  </a:lnTo>
                  <a:lnTo>
                    <a:pt x="1686" y="952"/>
                  </a:lnTo>
                  <a:lnTo>
                    <a:pt x="1697" y="961"/>
                  </a:lnTo>
                  <a:lnTo>
                    <a:pt x="1709" y="964"/>
                  </a:lnTo>
                  <a:lnTo>
                    <a:pt x="1719" y="963"/>
                  </a:lnTo>
                  <a:lnTo>
                    <a:pt x="1737" y="948"/>
                  </a:lnTo>
                  <a:lnTo>
                    <a:pt x="1767" y="937"/>
                  </a:lnTo>
                  <a:lnTo>
                    <a:pt x="1780" y="935"/>
                  </a:lnTo>
                  <a:lnTo>
                    <a:pt x="1791" y="931"/>
                  </a:lnTo>
                  <a:lnTo>
                    <a:pt x="1799" y="921"/>
                  </a:lnTo>
                  <a:lnTo>
                    <a:pt x="1810" y="918"/>
                  </a:lnTo>
                  <a:lnTo>
                    <a:pt x="1847" y="911"/>
                  </a:lnTo>
                  <a:lnTo>
                    <a:pt x="1865" y="904"/>
                  </a:lnTo>
                  <a:lnTo>
                    <a:pt x="1891" y="905"/>
                  </a:lnTo>
                  <a:lnTo>
                    <a:pt x="1907" y="899"/>
                  </a:lnTo>
                  <a:lnTo>
                    <a:pt x="1935" y="908"/>
                  </a:lnTo>
                  <a:lnTo>
                    <a:pt x="1940" y="905"/>
                  </a:lnTo>
                  <a:lnTo>
                    <a:pt x="1968" y="903"/>
                  </a:lnTo>
                  <a:lnTo>
                    <a:pt x="1998" y="892"/>
                  </a:lnTo>
                  <a:lnTo>
                    <a:pt x="2012" y="883"/>
                  </a:lnTo>
                  <a:lnTo>
                    <a:pt x="2032" y="868"/>
                  </a:lnTo>
                  <a:lnTo>
                    <a:pt x="2042" y="854"/>
                  </a:lnTo>
                  <a:lnTo>
                    <a:pt x="2100" y="805"/>
                  </a:lnTo>
                  <a:lnTo>
                    <a:pt x="2097" y="791"/>
                  </a:lnTo>
                  <a:lnTo>
                    <a:pt x="2075" y="762"/>
                  </a:lnTo>
                  <a:lnTo>
                    <a:pt x="2078" y="747"/>
                  </a:lnTo>
                  <a:lnTo>
                    <a:pt x="2091" y="727"/>
                  </a:lnTo>
                  <a:lnTo>
                    <a:pt x="2100" y="710"/>
                  </a:lnTo>
                  <a:lnTo>
                    <a:pt x="2121" y="704"/>
                  </a:lnTo>
                  <a:lnTo>
                    <a:pt x="2137" y="709"/>
                  </a:lnTo>
                  <a:lnTo>
                    <a:pt x="2149" y="722"/>
                  </a:lnTo>
                  <a:lnTo>
                    <a:pt x="2170" y="727"/>
                  </a:lnTo>
                  <a:lnTo>
                    <a:pt x="2188" y="727"/>
                  </a:lnTo>
                  <a:lnTo>
                    <a:pt x="2215" y="710"/>
                  </a:lnTo>
                  <a:lnTo>
                    <a:pt x="2234" y="689"/>
                  </a:lnTo>
                  <a:lnTo>
                    <a:pt x="2254" y="667"/>
                  </a:lnTo>
                  <a:lnTo>
                    <a:pt x="2266" y="667"/>
                  </a:lnTo>
                  <a:lnTo>
                    <a:pt x="2277" y="668"/>
                  </a:lnTo>
                  <a:lnTo>
                    <a:pt x="2284" y="666"/>
                  </a:lnTo>
                  <a:lnTo>
                    <a:pt x="2302" y="654"/>
                  </a:lnTo>
                  <a:lnTo>
                    <a:pt x="2353" y="598"/>
                  </a:lnTo>
                  <a:lnTo>
                    <a:pt x="2369" y="584"/>
                  </a:lnTo>
                  <a:lnTo>
                    <a:pt x="2390" y="580"/>
                  </a:lnTo>
                  <a:lnTo>
                    <a:pt x="2415" y="581"/>
                  </a:lnTo>
                  <a:lnTo>
                    <a:pt x="2440" y="577"/>
                  </a:lnTo>
                  <a:lnTo>
                    <a:pt x="2465" y="572"/>
                  </a:lnTo>
                  <a:lnTo>
                    <a:pt x="2484" y="577"/>
                  </a:lnTo>
                  <a:lnTo>
                    <a:pt x="2501" y="580"/>
                  </a:lnTo>
                  <a:lnTo>
                    <a:pt x="2511" y="574"/>
                  </a:lnTo>
                  <a:lnTo>
                    <a:pt x="2510" y="561"/>
                  </a:lnTo>
                  <a:lnTo>
                    <a:pt x="2496" y="553"/>
                  </a:lnTo>
                  <a:lnTo>
                    <a:pt x="2496" y="544"/>
                  </a:lnTo>
                  <a:lnTo>
                    <a:pt x="2498" y="531"/>
                  </a:lnTo>
                  <a:lnTo>
                    <a:pt x="2492" y="517"/>
                  </a:lnTo>
                  <a:lnTo>
                    <a:pt x="2463" y="493"/>
                  </a:lnTo>
                  <a:lnTo>
                    <a:pt x="2450" y="478"/>
                  </a:lnTo>
                  <a:lnTo>
                    <a:pt x="2444" y="464"/>
                  </a:lnTo>
                  <a:lnTo>
                    <a:pt x="2415" y="485"/>
                  </a:lnTo>
                  <a:lnTo>
                    <a:pt x="2397" y="498"/>
                  </a:lnTo>
                  <a:lnTo>
                    <a:pt x="2372" y="505"/>
                  </a:lnTo>
                  <a:lnTo>
                    <a:pt x="2347" y="507"/>
                  </a:lnTo>
                  <a:lnTo>
                    <a:pt x="2306" y="498"/>
                  </a:lnTo>
                  <a:lnTo>
                    <a:pt x="2297" y="483"/>
                  </a:lnTo>
                  <a:lnTo>
                    <a:pt x="2294" y="463"/>
                  </a:lnTo>
                  <a:lnTo>
                    <a:pt x="2294" y="441"/>
                  </a:lnTo>
                  <a:lnTo>
                    <a:pt x="2302" y="424"/>
                  </a:lnTo>
                  <a:lnTo>
                    <a:pt x="2305" y="404"/>
                  </a:lnTo>
                  <a:lnTo>
                    <a:pt x="2302" y="387"/>
                  </a:lnTo>
                  <a:lnTo>
                    <a:pt x="2302" y="371"/>
                  </a:lnTo>
                  <a:lnTo>
                    <a:pt x="2306" y="362"/>
                  </a:lnTo>
                  <a:lnTo>
                    <a:pt x="2317" y="348"/>
                  </a:lnTo>
                  <a:lnTo>
                    <a:pt x="2333" y="319"/>
                  </a:lnTo>
                  <a:lnTo>
                    <a:pt x="2342" y="311"/>
                  </a:lnTo>
                  <a:lnTo>
                    <a:pt x="2342" y="306"/>
                  </a:lnTo>
                  <a:lnTo>
                    <a:pt x="2353" y="308"/>
                  </a:lnTo>
                  <a:lnTo>
                    <a:pt x="2366" y="318"/>
                  </a:lnTo>
                  <a:lnTo>
                    <a:pt x="2398" y="328"/>
                  </a:lnTo>
                  <a:lnTo>
                    <a:pt x="2423" y="340"/>
                  </a:lnTo>
                  <a:lnTo>
                    <a:pt x="2434" y="338"/>
                  </a:lnTo>
                  <a:lnTo>
                    <a:pt x="2449" y="327"/>
                  </a:lnTo>
                  <a:lnTo>
                    <a:pt x="2499" y="296"/>
                  </a:lnTo>
                  <a:lnTo>
                    <a:pt x="2500" y="289"/>
                  </a:lnTo>
                  <a:lnTo>
                    <a:pt x="2498" y="276"/>
                  </a:lnTo>
                  <a:lnTo>
                    <a:pt x="2501" y="264"/>
                  </a:lnTo>
                  <a:lnTo>
                    <a:pt x="2512" y="251"/>
                  </a:lnTo>
                  <a:lnTo>
                    <a:pt x="2519" y="240"/>
                  </a:lnTo>
                  <a:lnTo>
                    <a:pt x="2526" y="210"/>
                  </a:lnTo>
                  <a:lnTo>
                    <a:pt x="2531" y="188"/>
                  </a:lnTo>
                  <a:lnTo>
                    <a:pt x="2538" y="171"/>
                  </a:lnTo>
                  <a:lnTo>
                    <a:pt x="2557" y="161"/>
                  </a:lnTo>
                  <a:lnTo>
                    <a:pt x="2581" y="134"/>
                  </a:lnTo>
                  <a:lnTo>
                    <a:pt x="2581" y="129"/>
                  </a:lnTo>
                  <a:lnTo>
                    <a:pt x="2576" y="118"/>
                  </a:lnTo>
                  <a:lnTo>
                    <a:pt x="2578" y="91"/>
                  </a:lnTo>
                  <a:lnTo>
                    <a:pt x="2571" y="87"/>
                  </a:lnTo>
                  <a:lnTo>
                    <a:pt x="2560" y="87"/>
                  </a:lnTo>
                  <a:lnTo>
                    <a:pt x="2542" y="92"/>
                  </a:lnTo>
                  <a:lnTo>
                    <a:pt x="2538" y="87"/>
                  </a:lnTo>
                  <a:lnTo>
                    <a:pt x="2543" y="74"/>
                  </a:lnTo>
                  <a:lnTo>
                    <a:pt x="2567" y="50"/>
                  </a:lnTo>
                  <a:lnTo>
                    <a:pt x="2575" y="38"/>
                  </a:lnTo>
                  <a:lnTo>
                    <a:pt x="2591" y="26"/>
                  </a:lnTo>
                  <a:lnTo>
                    <a:pt x="2625" y="20"/>
                  </a:lnTo>
                  <a:lnTo>
                    <a:pt x="2666" y="5"/>
                  </a:lnTo>
                  <a:lnTo>
                    <a:pt x="2691" y="6"/>
                  </a:lnTo>
                  <a:lnTo>
                    <a:pt x="2726" y="0"/>
                  </a:lnTo>
                  <a:lnTo>
                    <a:pt x="2738" y="0"/>
                  </a:lnTo>
                  <a:lnTo>
                    <a:pt x="2757" y="9"/>
                  </a:lnTo>
                  <a:lnTo>
                    <a:pt x="2774" y="21"/>
                  </a:lnTo>
                  <a:lnTo>
                    <a:pt x="2785" y="33"/>
                  </a:lnTo>
                  <a:lnTo>
                    <a:pt x="2801" y="37"/>
                  </a:lnTo>
                  <a:lnTo>
                    <a:pt x="2820" y="34"/>
                  </a:lnTo>
                  <a:lnTo>
                    <a:pt x="2836" y="38"/>
                  </a:lnTo>
                  <a:lnTo>
                    <a:pt x="2850" y="44"/>
                  </a:lnTo>
                  <a:lnTo>
                    <a:pt x="2858" y="58"/>
                  </a:lnTo>
                  <a:lnTo>
                    <a:pt x="2870" y="76"/>
                  </a:lnTo>
                  <a:lnTo>
                    <a:pt x="2871" y="89"/>
                  </a:lnTo>
                  <a:lnTo>
                    <a:pt x="2879" y="96"/>
                  </a:lnTo>
                  <a:lnTo>
                    <a:pt x="2888" y="102"/>
                  </a:lnTo>
                  <a:lnTo>
                    <a:pt x="2890" y="111"/>
                  </a:lnTo>
                  <a:lnTo>
                    <a:pt x="2891" y="106"/>
                  </a:lnTo>
                  <a:lnTo>
                    <a:pt x="2893" y="119"/>
                  </a:lnTo>
                  <a:lnTo>
                    <a:pt x="2898" y="134"/>
                  </a:lnTo>
                  <a:lnTo>
                    <a:pt x="2901" y="155"/>
                  </a:lnTo>
                  <a:lnTo>
                    <a:pt x="2909" y="172"/>
                  </a:lnTo>
                  <a:lnTo>
                    <a:pt x="2914" y="189"/>
                  </a:lnTo>
                  <a:lnTo>
                    <a:pt x="2935" y="229"/>
                  </a:lnTo>
                  <a:lnTo>
                    <a:pt x="2941" y="270"/>
                  </a:lnTo>
                  <a:lnTo>
                    <a:pt x="2950" y="289"/>
                  </a:lnTo>
                  <a:lnTo>
                    <a:pt x="2949" y="294"/>
                  </a:lnTo>
                  <a:lnTo>
                    <a:pt x="2950" y="295"/>
                  </a:lnTo>
                  <a:lnTo>
                    <a:pt x="2952" y="313"/>
                  </a:lnTo>
                  <a:lnTo>
                    <a:pt x="2952" y="334"/>
                  </a:lnTo>
                  <a:lnTo>
                    <a:pt x="2965" y="345"/>
                  </a:lnTo>
                  <a:lnTo>
                    <a:pt x="2988" y="348"/>
                  </a:lnTo>
                  <a:lnTo>
                    <a:pt x="3009" y="340"/>
                  </a:lnTo>
                  <a:lnTo>
                    <a:pt x="3025" y="348"/>
                  </a:lnTo>
                  <a:lnTo>
                    <a:pt x="3044" y="350"/>
                  </a:lnTo>
                  <a:lnTo>
                    <a:pt x="3062" y="359"/>
                  </a:lnTo>
                  <a:lnTo>
                    <a:pt x="3094" y="387"/>
                  </a:lnTo>
                  <a:lnTo>
                    <a:pt x="3109" y="394"/>
                  </a:lnTo>
                  <a:lnTo>
                    <a:pt x="3121" y="396"/>
                  </a:lnTo>
                  <a:lnTo>
                    <a:pt x="3125" y="403"/>
                  </a:lnTo>
                  <a:lnTo>
                    <a:pt x="3125" y="408"/>
                  </a:lnTo>
                  <a:lnTo>
                    <a:pt x="3127" y="407"/>
                  </a:lnTo>
                  <a:lnTo>
                    <a:pt x="3128" y="423"/>
                  </a:lnTo>
                  <a:lnTo>
                    <a:pt x="3135" y="432"/>
                  </a:lnTo>
                  <a:lnTo>
                    <a:pt x="3134" y="448"/>
                  </a:lnTo>
                  <a:lnTo>
                    <a:pt x="3135" y="466"/>
                  </a:lnTo>
                  <a:lnTo>
                    <a:pt x="3145" y="482"/>
                  </a:lnTo>
                  <a:lnTo>
                    <a:pt x="3151" y="495"/>
                  </a:lnTo>
                  <a:lnTo>
                    <a:pt x="3170" y="494"/>
                  </a:lnTo>
                  <a:lnTo>
                    <a:pt x="3189" y="500"/>
                  </a:lnTo>
                  <a:lnTo>
                    <a:pt x="3207" y="498"/>
                  </a:lnTo>
                  <a:lnTo>
                    <a:pt x="3238" y="483"/>
                  </a:lnTo>
                  <a:lnTo>
                    <a:pt x="3272" y="461"/>
                  </a:lnTo>
                  <a:lnTo>
                    <a:pt x="3290" y="459"/>
                  </a:lnTo>
                  <a:lnTo>
                    <a:pt x="3323" y="441"/>
                  </a:lnTo>
                  <a:lnTo>
                    <a:pt x="3355" y="432"/>
                  </a:lnTo>
                  <a:lnTo>
                    <a:pt x="3356" y="435"/>
                  </a:lnTo>
                  <a:lnTo>
                    <a:pt x="3348" y="448"/>
                  </a:lnTo>
                  <a:lnTo>
                    <a:pt x="3348" y="468"/>
                  </a:lnTo>
                  <a:lnTo>
                    <a:pt x="3353" y="484"/>
                  </a:lnTo>
                  <a:lnTo>
                    <a:pt x="3350" y="504"/>
                  </a:lnTo>
                  <a:lnTo>
                    <a:pt x="3338" y="514"/>
                  </a:lnTo>
                  <a:lnTo>
                    <a:pt x="3324" y="527"/>
                  </a:lnTo>
                  <a:lnTo>
                    <a:pt x="3322" y="548"/>
                  </a:lnTo>
                  <a:lnTo>
                    <a:pt x="3308" y="581"/>
                  </a:lnTo>
                  <a:lnTo>
                    <a:pt x="3300" y="623"/>
                  </a:lnTo>
                  <a:lnTo>
                    <a:pt x="3281" y="661"/>
                  </a:lnTo>
                  <a:lnTo>
                    <a:pt x="3268" y="679"/>
                  </a:lnTo>
                  <a:lnTo>
                    <a:pt x="3263" y="699"/>
                  </a:lnTo>
                  <a:lnTo>
                    <a:pt x="3251" y="709"/>
                  </a:lnTo>
                  <a:lnTo>
                    <a:pt x="3246" y="705"/>
                  </a:lnTo>
                  <a:lnTo>
                    <a:pt x="3195" y="693"/>
                  </a:lnTo>
                  <a:lnTo>
                    <a:pt x="3182" y="700"/>
                  </a:lnTo>
                  <a:lnTo>
                    <a:pt x="3146" y="735"/>
                  </a:lnTo>
                  <a:lnTo>
                    <a:pt x="3154" y="748"/>
                  </a:lnTo>
                  <a:lnTo>
                    <a:pt x="3160" y="775"/>
                  </a:lnTo>
                  <a:lnTo>
                    <a:pt x="3160" y="834"/>
                  </a:lnTo>
                  <a:lnTo>
                    <a:pt x="3144" y="859"/>
                  </a:lnTo>
                  <a:lnTo>
                    <a:pt x="3124" y="876"/>
                  </a:lnTo>
                  <a:lnTo>
                    <a:pt x="3124" y="894"/>
                  </a:lnTo>
                  <a:lnTo>
                    <a:pt x="3116" y="893"/>
                  </a:lnTo>
                  <a:lnTo>
                    <a:pt x="3108" y="878"/>
                  </a:lnTo>
                  <a:lnTo>
                    <a:pt x="3097" y="867"/>
                  </a:lnTo>
                  <a:lnTo>
                    <a:pt x="3086" y="876"/>
                  </a:lnTo>
                  <a:lnTo>
                    <a:pt x="3079" y="896"/>
                  </a:lnTo>
                  <a:lnTo>
                    <a:pt x="3069" y="911"/>
                  </a:lnTo>
                  <a:lnTo>
                    <a:pt x="3038" y="935"/>
                  </a:lnTo>
                  <a:lnTo>
                    <a:pt x="3014" y="941"/>
                  </a:lnTo>
                  <a:lnTo>
                    <a:pt x="2994" y="941"/>
                  </a:lnTo>
                  <a:lnTo>
                    <a:pt x="2989" y="950"/>
                  </a:lnTo>
                  <a:lnTo>
                    <a:pt x="2995" y="981"/>
                  </a:lnTo>
                  <a:lnTo>
                    <a:pt x="2953" y="985"/>
                  </a:lnTo>
                  <a:lnTo>
                    <a:pt x="2939" y="975"/>
                  </a:lnTo>
                  <a:lnTo>
                    <a:pt x="2920" y="970"/>
                  </a:lnTo>
                  <a:lnTo>
                    <a:pt x="2908" y="980"/>
                  </a:lnTo>
                  <a:lnTo>
                    <a:pt x="2883" y="1009"/>
                  </a:lnTo>
                  <a:lnTo>
                    <a:pt x="2865" y="1024"/>
                  </a:lnTo>
                  <a:lnTo>
                    <a:pt x="2826" y="1045"/>
                  </a:lnTo>
                  <a:lnTo>
                    <a:pt x="2811" y="1052"/>
                  </a:lnTo>
                  <a:lnTo>
                    <a:pt x="2783" y="1087"/>
                  </a:lnTo>
                  <a:lnTo>
                    <a:pt x="2781" y="1091"/>
                  </a:lnTo>
                  <a:lnTo>
                    <a:pt x="2774" y="1094"/>
                  </a:lnTo>
                  <a:lnTo>
                    <a:pt x="2767" y="1097"/>
                  </a:lnTo>
                  <a:lnTo>
                    <a:pt x="2756" y="1097"/>
                  </a:lnTo>
                  <a:lnTo>
                    <a:pt x="2734" y="1104"/>
                  </a:lnTo>
                  <a:lnTo>
                    <a:pt x="2729" y="1097"/>
                  </a:lnTo>
                  <a:lnTo>
                    <a:pt x="2724" y="1102"/>
                  </a:lnTo>
                  <a:lnTo>
                    <a:pt x="2709" y="1113"/>
                  </a:lnTo>
                  <a:lnTo>
                    <a:pt x="2673" y="1128"/>
                  </a:lnTo>
                  <a:lnTo>
                    <a:pt x="2665" y="1136"/>
                  </a:lnTo>
                  <a:lnTo>
                    <a:pt x="2657" y="1149"/>
                  </a:lnTo>
                  <a:lnTo>
                    <a:pt x="2646" y="1157"/>
                  </a:lnTo>
                  <a:lnTo>
                    <a:pt x="2638" y="1157"/>
                  </a:lnTo>
                  <a:lnTo>
                    <a:pt x="2632" y="1163"/>
                  </a:lnTo>
                  <a:lnTo>
                    <a:pt x="2613" y="1172"/>
                  </a:lnTo>
                  <a:lnTo>
                    <a:pt x="2607" y="1168"/>
                  </a:lnTo>
                  <a:lnTo>
                    <a:pt x="2616" y="1156"/>
                  </a:lnTo>
                  <a:lnTo>
                    <a:pt x="2630" y="1151"/>
                  </a:lnTo>
                  <a:lnTo>
                    <a:pt x="2635" y="1140"/>
                  </a:lnTo>
                  <a:lnTo>
                    <a:pt x="2638" y="1129"/>
                  </a:lnTo>
                  <a:lnTo>
                    <a:pt x="2630" y="1126"/>
                  </a:lnTo>
                  <a:lnTo>
                    <a:pt x="2622" y="1119"/>
                  </a:lnTo>
                  <a:lnTo>
                    <a:pt x="2616" y="1118"/>
                  </a:lnTo>
                  <a:lnTo>
                    <a:pt x="2625" y="1112"/>
                  </a:lnTo>
                  <a:lnTo>
                    <a:pt x="2627" y="1101"/>
                  </a:lnTo>
                  <a:lnTo>
                    <a:pt x="2638" y="1093"/>
                  </a:lnTo>
                  <a:lnTo>
                    <a:pt x="2660" y="1063"/>
                  </a:lnTo>
                  <a:lnTo>
                    <a:pt x="2667" y="1050"/>
                  </a:lnTo>
                  <a:lnTo>
                    <a:pt x="2665" y="1042"/>
                  </a:lnTo>
                  <a:lnTo>
                    <a:pt x="2652" y="1028"/>
                  </a:lnTo>
                  <a:lnTo>
                    <a:pt x="2649" y="1016"/>
                  </a:lnTo>
                  <a:lnTo>
                    <a:pt x="2644" y="1010"/>
                  </a:lnTo>
                  <a:lnTo>
                    <a:pt x="2639" y="1016"/>
                  </a:lnTo>
                  <a:lnTo>
                    <a:pt x="2616" y="1017"/>
                  </a:lnTo>
                  <a:lnTo>
                    <a:pt x="2606" y="1021"/>
                  </a:lnTo>
                  <a:lnTo>
                    <a:pt x="2590" y="1038"/>
                  </a:lnTo>
                  <a:lnTo>
                    <a:pt x="2578" y="1053"/>
                  </a:lnTo>
                  <a:lnTo>
                    <a:pt x="2571" y="1065"/>
                  </a:lnTo>
                  <a:lnTo>
                    <a:pt x="2568" y="1070"/>
                  </a:lnTo>
                  <a:lnTo>
                    <a:pt x="2542" y="1082"/>
                  </a:lnTo>
                  <a:lnTo>
                    <a:pt x="2524" y="1096"/>
                  </a:lnTo>
                  <a:lnTo>
                    <a:pt x="2516" y="1098"/>
                  </a:lnTo>
                  <a:lnTo>
                    <a:pt x="2509" y="1112"/>
                  </a:lnTo>
                  <a:lnTo>
                    <a:pt x="2506" y="1126"/>
                  </a:lnTo>
                  <a:lnTo>
                    <a:pt x="2498" y="1135"/>
                  </a:lnTo>
                  <a:lnTo>
                    <a:pt x="2488" y="1141"/>
                  </a:lnTo>
                  <a:lnTo>
                    <a:pt x="2473" y="1144"/>
                  </a:lnTo>
                  <a:lnTo>
                    <a:pt x="2462" y="1147"/>
                  </a:lnTo>
                  <a:lnTo>
                    <a:pt x="2451" y="1147"/>
                  </a:lnTo>
                  <a:lnTo>
                    <a:pt x="2445" y="1144"/>
                  </a:lnTo>
                  <a:lnTo>
                    <a:pt x="2433" y="1142"/>
                  </a:lnTo>
                  <a:lnTo>
                    <a:pt x="2423" y="1152"/>
                  </a:lnTo>
                  <a:lnTo>
                    <a:pt x="2417" y="1172"/>
                  </a:lnTo>
                  <a:lnTo>
                    <a:pt x="2414" y="1189"/>
                  </a:lnTo>
                  <a:lnTo>
                    <a:pt x="2431" y="1207"/>
                  </a:lnTo>
                  <a:lnTo>
                    <a:pt x="2435" y="1216"/>
                  </a:lnTo>
                  <a:lnTo>
                    <a:pt x="2444" y="1221"/>
                  </a:lnTo>
                  <a:lnTo>
                    <a:pt x="2451" y="1221"/>
                  </a:lnTo>
                  <a:lnTo>
                    <a:pt x="2456" y="1228"/>
                  </a:lnTo>
                  <a:lnTo>
                    <a:pt x="2465" y="1228"/>
                  </a:lnTo>
                  <a:lnTo>
                    <a:pt x="2469" y="1239"/>
                  </a:lnTo>
                  <a:lnTo>
                    <a:pt x="2479" y="1247"/>
                  </a:lnTo>
                  <a:lnTo>
                    <a:pt x="2482" y="1255"/>
                  </a:lnTo>
                  <a:lnTo>
                    <a:pt x="2482" y="1265"/>
                  </a:lnTo>
                  <a:lnTo>
                    <a:pt x="2490" y="1276"/>
                  </a:lnTo>
                  <a:lnTo>
                    <a:pt x="2517" y="1286"/>
                  </a:lnTo>
                  <a:lnTo>
                    <a:pt x="2531" y="1285"/>
                  </a:lnTo>
                  <a:lnTo>
                    <a:pt x="2543" y="1269"/>
                  </a:lnTo>
                  <a:lnTo>
                    <a:pt x="2554" y="1260"/>
                  </a:lnTo>
                  <a:lnTo>
                    <a:pt x="2562" y="1249"/>
                  </a:lnTo>
                  <a:lnTo>
                    <a:pt x="2584" y="1239"/>
                  </a:lnTo>
                  <a:lnTo>
                    <a:pt x="2591" y="1238"/>
                  </a:lnTo>
                  <a:lnTo>
                    <a:pt x="2602" y="1249"/>
                  </a:lnTo>
                  <a:lnTo>
                    <a:pt x="2611" y="1254"/>
                  </a:lnTo>
                  <a:lnTo>
                    <a:pt x="2622" y="1255"/>
                  </a:lnTo>
                  <a:lnTo>
                    <a:pt x="2629" y="1264"/>
                  </a:lnTo>
                  <a:lnTo>
                    <a:pt x="2637" y="1265"/>
                  </a:lnTo>
                  <a:lnTo>
                    <a:pt x="2649" y="1263"/>
                  </a:lnTo>
                  <a:lnTo>
                    <a:pt x="2657" y="1258"/>
                  </a:lnTo>
                  <a:lnTo>
                    <a:pt x="2671" y="1264"/>
                  </a:lnTo>
                  <a:lnTo>
                    <a:pt x="2683" y="1266"/>
                  </a:lnTo>
                  <a:lnTo>
                    <a:pt x="2687" y="1268"/>
                  </a:lnTo>
                  <a:lnTo>
                    <a:pt x="2684" y="1281"/>
                  </a:lnTo>
                  <a:lnTo>
                    <a:pt x="2680" y="1290"/>
                  </a:lnTo>
                  <a:lnTo>
                    <a:pt x="2680" y="1295"/>
                  </a:lnTo>
                  <a:lnTo>
                    <a:pt x="2670" y="1307"/>
                  </a:lnTo>
                  <a:lnTo>
                    <a:pt x="2666" y="1303"/>
                  </a:lnTo>
                  <a:lnTo>
                    <a:pt x="2662" y="1293"/>
                  </a:lnTo>
                  <a:lnTo>
                    <a:pt x="2656" y="1297"/>
                  </a:lnTo>
                  <a:lnTo>
                    <a:pt x="2650" y="1295"/>
                  </a:lnTo>
                  <a:lnTo>
                    <a:pt x="2643" y="1301"/>
                  </a:lnTo>
                  <a:lnTo>
                    <a:pt x="2637" y="1311"/>
                  </a:lnTo>
                  <a:lnTo>
                    <a:pt x="2614" y="1313"/>
                  </a:lnTo>
                  <a:lnTo>
                    <a:pt x="2602" y="1319"/>
                  </a:lnTo>
                  <a:lnTo>
                    <a:pt x="2591" y="1319"/>
                  </a:lnTo>
                  <a:lnTo>
                    <a:pt x="2594" y="1333"/>
                  </a:lnTo>
                  <a:lnTo>
                    <a:pt x="2590" y="1333"/>
                  </a:lnTo>
                  <a:lnTo>
                    <a:pt x="2585" y="1338"/>
                  </a:lnTo>
                  <a:lnTo>
                    <a:pt x="2578" y="1355"/>
                  </a:lnTo>
                  <a:lnTo>
                    <a:pt x="2568" y="1356"/>
                  </a:lnTo>
                  <a:lnTo>
                    <a:pt x="2564" y="1345"/>
                  </a:lnTo>
                  <a:lnTo>
                    <a:pt x="2555" y="1345"/>
                  </a:lnTo>
                  <a:lnTo>
                    <a:pt x="2548" y="1354"/>
                  </a:lnTo>
                  <a:lnTo>
                    <a:pt x="2555" y="1362"/>
                  </a:lnTo>
                  <a:lnTo>
                    <a:pt x="2552" y="1371"/>
                  </a:lnTo>
                  <a:lnTo>
                    <a:pt x="2544" y="1381"/>
                  </a:lnTo>
                  <a:lnTo>
                    <a:pt x="2526" y="1391"/>
                  </a:lnTo>
                  <a:lnTo>
                    <a:pt x="2521" y="1404"/>
                  </a:lnTo>
                  <a:lnTo>
                    <a:pt x="2509" y="1421"/>
                  </a:lnTo>
                  <a:lnTo>
                    <a:pt x="2500" y="1437"/>
                  </a:lnTo>
                  <a:lnTo>
                    <a:pt x="2503" y="1446"/>
                  </a:lnTo>
                  <a:lnTo>
                    <a:pt x="2514" y="1448"/>
                  </a:lnTo>
                  <a:lnTo>
                    <a:pt x="2522" y="1456"/>
                  </a:lnTo>
                  <a:lnTo>
                    <a:pt x="2555" y="1473"/>
                  </a:lnTo>
                  <a:lnTo>
                    <a:pt x="2562" y="1483"/>
                  </a:lnTo>
                  <a:lnTo>
                    <a:pt x="2567" y="1499"/>
                  </a:lnTo>
                  <a:lnTo>
                    <a:pt x="2574" y="1508"/>
                  </a:lnTo>
                  <a:lnTo>
                    <a:pt x="2584" y="1548"/>
                  </a:lnTo>
                  <a:lnTo>
                    <a:pt x="2590" y="1561"/>
                  </a:lnTo>
                  <a:lnTo>
                    <a:pt x="2594" y="1578"/>
                  </a:lnTo>
                  <a:lnTo>
                    <a:pt x="2603" y="1592"/>
                  </a:lnTo>
                  <a:lnTo>
                    <a:pt x="2617" y="1598"/>
                  </a:lnTo>
                  <a:lnTo>
                    <a:pt x="2618" y="1608"/>
                  </a:lnTo>
                  <a:lnTo>
                    <a:pt x="2635" y="1625"/>
                  </a:lnTo>
                  <a:lnTo>
                    <a:pt x="2646" y="1642"/>
                  </a:lnTo>
                  <a:lnTo>
                    <a:pt x="2646" y="1646"/>
                  </a:lnTo>
                  <a:lnTo>
                    <a:pt x="2628" y="1637"/>
                  </a:lnTo>
                  <a:lnTo>
                    <a:pt x="2613" y="1632"/>
                  </a:lnTo>
                  <a:lnTo>
                    <a:pt x="2602" y="1632"/>
                  </a:lnTo>
                  <a:lnTo>
                    <a:pt x="2590" y="1624"/>
                  </a:lnTo>
                  <a:lnTo>
                    <a:pt x="2576" y="1620"/>
                  </a:lnTo>
                  <a:lnTo>
                    <a:pt x="2551" y="1625"/>
                  </a:lnTo>
                  <a:lnTo>
                    <a:pt x="2551" y="1631"/>
                  </a:lnTo>
                  <a:lnTo>
                    <a:pt x="2576" y="1626"/>
                  </a:lnTo>
                  <a:lnTo>
                    <a:pt x="2581" y="1630"/>
                  </a:lnTo>
                  <a:lnTo>
                    <a:pt x="2584" y="1637"/>
                  </a:lnTo>
                  <a:lnTo>
                    <a:pt x="2595" y="1639"/>
                  </a:lnTo>
                  <a:lnTo>
                    <a:pt x="2607" y="1647"/>
                  </a:lnTo>
                  <a:lnTo>
                    <a:pt x="2618" y="1660"/>
                  </a:lnTo>
                  <a:lnTo>
                    <a:pt x="2627" y="1664"/>
                  </a:lnTo>
                  <a:lnTo>
                    <a:pt x="2632" y="1667"/>
                  </a:lnTo>
                  <a:lnTo>
                    <a:pt x="2640" y="1677"/>
                  </a:lnTo>
                  <a:lnTo>
                    <a:pt x="2648" y="1690"/>
                  </a:lnTo>
                  <a:lnTo>
                    <a:pt x="2646" y="1695"/>
                  </a:lnTo>
                  <a:lnTo>
                    <a:pt x="2633" y="1696"/>
                  </a:lnTo>
                  <a:lnTo>
                    <a:pt x="2622" y="1706"/>
                  </a:lnTo>
                  <a:lnTo>
                    <a:pt x="2611" y="1710"/>
                  </a:lnTo>
                  <a:lnTo>
                    <a:pt x="2603" y="1715"/>
                  </a:lnTo>
                  <a:lnTo>
                    <a:pt x="2600" y="1720"/>
                  </a:lnTo>
                  <a:lnTo>
                    <a:pt x="2589" y="1727"/>
                  </a:lnTo>
                  <a:lnTo>
                    <a:pt x="2573" y="1727"/>
                  </a:lnTo>
                  <a:lnTo>
                    <a:pt x="2562" y="1730"/>
                  </a:lnTo>
                  <a:lnTo>
                    <a:pt x="2551" y="1734"/>
                  </a:lnTo>
                  <a:lnTo>
                    <a:pt x="2563" y="1733"/>
                  </a:lnTo>
                  <a:lnTo>
                    <a:pt x="2575" y="1737"/>
                  </a:lnTo>
                  <a:lnTo>
                    <a:pt x="2586" y="1742"/>
                  </a:lnTo>
                  <a:lnTo>
                    <a:pt x="2607" y="1733"/>
                  </a:lnTo>
                  <a:lnTo>
                    <a:pt x="2616" y="1736"/>
                  </a:lnTo>
                  <a:lnTo>
                    <a:pt x="2624" y="1743"/>
                  </a:lnTo>
                  <a:lnTo>
                    <a:pt x="2628" y="1749"/>
                  </a:lnTo>
                  <a:lnTo>
                    <a:pt x="2633" y="1753"/>
                  </a:lnTo>
                  <a:lnTo>
                    <a:pt x="2640" y="1755"/>
                  </a:lnTo>
                  <a:lnTo>
                    <a:pt x="2648" y="1755"/>
                  </a:lnTo>
                  <a:lnTo>
                    <a:pt x="2652" y="1758"/>
                  </a:lnTo>
                  <a:lnTo>
                    <a:pt x="2646" y="1761"/>
                  </a:lnTo>
                  <a:lnTo>
                    <a:pt x="2633" y="1776"/>
                  </a:lnTo>
                  <a:lnTo>
                    <a:pt x="2623" y="1781"/>
                  </a:lnTo>
                  <a:lnTo>
                    <a:pt x="2627" y="1782"/>
                  </a:lnTo>
                  <a:lnTo>
                    <a:pt x="2643" y="1775"/>
                  </a:lnTo>
                  <a:lnTo>
                    <a:pt x="2643" y="1788"/>
                  </a:lnTo>
                  <a:lnTo>
                    <a:pt x="2641" y="1798"/>
                  </a:lnTo>
                  <a:lnTo>
                    <a:pt x="2640" y="1795"/>
                  </a:lnTo>
                  <a:lnTo>
                    <a:pt x="2635" y="1798"/>
                  </a:lnTo>
                  <a:lnTo>
                    <a:pt x="2623" y="1802"/>
                  </a:lnTo>
                  <a:lnTo>
                    <a:pt x="2623" y="1804"/>
                  </a:lnTo>
                  <a:lnTo>
                    <a:pt x="2628" y="1814"/>
                  </a:lnTo>
                  <a:lnTo>
                    <a:pt x="2625" y="1829"/>
                  </a:lnTo>
                  <a:lnTo>
                    <a:pt x="2622" y="1833"/>
                  </a:lnTo>
                  <a:lnTo>
                    <a:pt x="2622" y="1850"/>
                  </a:lnTo>
                  <a:lnTo>
                    <a:pt x="2616" y="1865"/>
                  </a:lnTo>
                  <a:lnTo>
                    <a:pt x="2611" y="1862"/>
                  </a:lnTo>
                  <a:lnTo>
                    <a:pt x="2606" y="1856"/>
                  </a:lnTo>
                  <a:lnTo>
                    <a:pt x="2601" y="1860"/>
                  </a:lnTo>
                  <a:lnTo>
                    <a:pt x="2594" y="1871"/>
                  </a:lnTo>
                  <a:lnTo>
                    <a:pt x="2587" y="1879"/>
                  </a:lnTo>
                  <a:lnTo>
                    <a:pt x="2582" y="1887"/>
                  </a:lnTo>
                  <a:lnTo>
                    <a:pt x="2578" y="1890"/>
                  </a:lnTo>
                  <a:lnTo>
                    <a:pt x="2574" y="1897"/>
                  </a:lnTo>
                  <a:lnTo>
                    <a:pt x="2571" y="1904"/>
                  </a:lnTo>
                  <a:lnTo>
                    <a:pt x="2571" y="1911"/>
                  </a:lnTo>
                  <a:lnTo>
                    <a:pt x="2567" y="1921"/>
                  </a:lnTo>
                  <a:lnTo>
                    <a:pt x="2560" y="1930"/>
                  </a:lnTo>
                  <a:lnTo>
                    <a:pt x="2555" y="1933"/>
                  </a:lnTo>
                  <a:lnTo>
                    <a:pt x="2546" y="1943"/>
                  </a:lnTo>
                  <a:lnTo>
                    <a:pt x="2543" y="1957"/>
                  </a:lnTo>
                  <a:lnTo>
                    <a:pt x="2537" y="1964"/>
                  </a:lnTo>
                  <a:lnTo>
                    <a:pt x="2535" y="1962"/>
                  </a:lnTo>
                  <a:lnTo>
                    <a:pt x="2533" y="1948"/>
                  </a:lnTo>
                  <a:lnTo>
                    <a:pt x="2525" y="1949"/>
                  </a:lnTo>
                  <a:lnTo>
                    <a:pt x="2517" y="1956"/>
                  </a:lnTo>
                  <a:lnTo>
                    <a:pt x="2526" y="1973"/>
                  </a:lnTo>
                  <a:lnTo>
                    <a:pt x="2526" y="1976"/>
                  </a:lnTo>
                  <a:lnTo>
                    <a:pt x="2521" y="1992"/>
                  </a:lnTo>
                  <a:lnTo>
                    <a:pt x="2521" y="1997"/>
                  </a:lnTo>
                  <a:lnTo>
                    <a:pt x="2520" y="2003"/>
                  </a:lnTo>
                  <a:lnTo>
                    <a:pt x="2517" y="2010"/>
                  </a:lnTo>
                  <a:lnTo>
                    <a:pt x="2515" y="2013"/>
                  </a:lnTo>
                  <a:lnTo>
                    <a:pt x="2511" y="2014"/>
                  </a:lnTo>
                  <a:lnTo>
                    <a:pt x="2511" y="2021"/>
                  </a:lnTo>
                  <a:lnTo>
                    <a:pt x="2512" y="2028"/>
                  </a:lnTo>
                  <a:lnTo>
                    <a:pt x="2511" y="2030"/>
                  </a:lnTo>
                  <a:lnTo>
                    <a:pt x="2506" y="2028"/>
                  </a:lnTo>
                  <a:lnTo>
                    <a:pt x="2500" y="2028"/>
                  </a:lnTo>
                  <a:lnTo>
                    <a:pt x="2495" y="2033"/>
                  </a:lnTo>
                  <a:lnTo>
                    <a:pt x="2498" y="2040"/>
                  </a:lnTo>
                  <a:lnTo>
                    <a:pt x="2494" y="2046"/>
                  </a:lnTo>
                  <a:lnTo>
                    <a:pt x="2490" y="2044"/>
                  </a:lnTo>
                  <a:lnTo>
                    <a:pt x="2484" y="2045"/>
                  </a:lnTo>
                  <a:lnTo>
                    <a:pt x="2478" y="2060"/>
                  </a:lnTo>
                  <a:lnTo>
                    <a:pt x="2471" y="2065"/>
                  </a:lnTo>
                  <a:lnTo>
                    <a:pt x="2469" y="2075"/>
                  </a:lnTo>
                  <a:lnTo>
                    <a:pt x="2465" y="2081"/>
                  </a:lnTo>
                  <a:lnTo>
                    <a:pt x="2447" y="2083"/>
                  </a:lnTo>
                  <a:lnTo>
                    <a:pt x="2440" y="2081"/>
                  </a:lnTo>
                  <a:lnTo>
                    <a:pt x="2431" y="2088"/>
                  </a:lnTo>
                  <a:lnTo>
                    <a:pt x="2433" y="2091"/>
                  </a:lnTo>
                  <a:lnTo>
                    <a:pt x="2435" y="2097"/>
                  </a:lnTo>
                  <a:lnTo>
                    <a:pt x="2433" y="2105"/>
                  </a:lnTo>
                  <a:lnTo>
                    <a:pt x="2418" y="2119"/>
                  </a:lnTo>
                  <a:lnTo>
                    <a:pt x="2413" y="2119"/>
                  </a:lnTo>
                  <a:lnTo>
                    <a:pt x="2410" y="2131"/>
                  </a:lnTo>
                  <a:lnTo>
                    <a:pt x="2408" y="2123"/>
                  </a:lnTo>
                  <a:lnTo>
                    <a:pt x="2402" y="2127"/>
                  </a:lnTo>
                  <a:lnTo>
                    <a:pt x="2401" y="2135"/>
                  </a:lnTo>
                  <a:lnTo>
                    <a:pt x="2398" y="2134"/>
                  </a:lnTo>
                  <a:lnTo>
                    <a:pt x="2395" y="2134"/>
                  </a:lnTo>
                  <a:lnTo>
                    <a:pt x="2385" y="2141"/>
                  </a:lnTo>
                  <a:lnTo>
                    <a:pt x="2380" y="2140"/>
                  </a:lnTo>
                  <a:lnTo>
                    <a:pt x="2372" y="2141"/>
                  </a:lnTo>
                  <a:lnTo>
                    <a:pt x="2365" y="2152"/>
                  </a:lnTo>
                  <a:lnTo>
                    <a:pt x="2361" y="2159"/>
                  </a:lnTo>
                  <a:lnTo>
                    <a:pt x="2356" y="2164"/>
                  </a:lnTo>
                  <a:lnTo>
                    <a:pt x="2354" y="2170"/>
                  </a:lnTo>
                  <a:lnTo>
                    <a:pt x="2344" y="2177"/>
                  </a:lnTo>
                  <a:lnTo>
                    <a:pt x="2328" y="2183"/>
                  </a:lnTo>
                  <a:lnTo>
                    <a:pt x="2316" y="2189"/>
                  </a:lnTo>
                  <a:lnTo>
                    <a:pt x="2309" y="2186"/>
                  </a:lnTo>
                  <a:lnTo>
                    <a:pt x="2302" y="2184"/>
                  </a:lnTo>
                  <a:lnTo>
                    <a:pt x="2299" y="2189"/>
                  </a:lnTo>
                  <a:lnTo>
                    <a:pt x="2297" y="2193"/>
                  </a:lnTo>
                  <a:lnTo>
                    <a:pt x="2291" y="2195"/>
                  </a:lnTo>
                  <a:lnTo>
                    <a:pt x="2285" y="2193"/>
                  </a:lnTo>
                  <a:lnTo>
                    <a:pt x="2285" y="2188"/>
                  </a:lnTo>
                  <a:lnTo>
                    <a:pt x="2277" y="2184"/>
                  </a:lnTo>
                  <a:lnTo>
                    <a:pt x="2268" y="2190"/>
                  </a:lnTo>
                  <a:lnTo>
                    <a:pt x="2263" y="2199"/>
                  </a:lnTo>
                  <a:lnTo>
                    <a:pt x="2256" y="2199"/>
                  </a:lnTo>
                  <a:lnTo>
                    <a:pt x="2253" y="2193"/>
                  </a:lnTo>
                  <a:lnTo>
                    <a:pt x="2253" y="2189"/>
                  </a:lnTo>
                  <a:lnTo>
                    <a:pt x="2245" y="2191"/>
                  </a:lnTo>
                  <a:lnTo>
                    <a:pt x="2245" y="2202"/>
                  </a:lnTo>
                  <a:lnTo>
                    <a:pt x="2243" y="220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93" name="North Korea"/>
            <p:cNvSpPr>
              <a:spLocks noChangeAspect="1"/>
            </p:cNvSpPr>
            <p:nvPr>
              <p:custDataLst>
                <p:tags r:id="rId89"/>
              </p:custDataLst>
            </p:nvPr>
          </p:nvSpPr>
          <p:spPr bwMode="gray">
            <a:xfrm>
              <a:off x="7646260" y="3412613"/>
              <a:ext cx="161501" cy="177886"/>
            </a:xfrm>
            <a:custGeom>
              <a:avLst/>
              <a:gdLst/>
              <a:ahLst/>
              <a:cxnLst>
                <a:cxn ang="0">
                  <a:pos x="220" y="310"/>
                </a:cxn>
                <a:cxn ang="0">
                  <a:pos x="185" y="277"/>
                </a:cxn>
                <a:cxn ang="0">
                  <a:pos x="169" y="266"/>
                </a:cxn>
                <a:cxn ang="0">
                  <a:pos x="174" y="262"/>
                </a:cxn>
                <a:cxn ang="0">
                  <a:pos x="174" y="236"/>
                </a:cxn>
                <a:cxn ang="0">
                  <a:pos x="186" y="226"/>
                </a:cxn>
                <a:cxn ang="0">
                  <a:pos x="199" y="212"/>
                </a:cxn>
                <a:cxn ang="0">
                  <a:pos x="235" y="200"/>
                </a:cxn>
                <a:cxn ang="0">
                  <a:pos x="257" y="181"/>
                </a:cxn>
                <a:cxn ang="0">
                  <a:pos x="289" y="155"/>
                </a:cxn>
                <a:cxn ang="0">
                  <a:pos x="297" y="121"/>
                </a:cxn>
                <a:cxn ang="0">
                  <a:pos x="295" y="101"/>
                </a:cxn>
                <a:cxn ang="0">
                  <a:pos x="308" y="80"/>
                </a:cxn>
                <a:cxn ang="0">
                  <a:pos x="342" y="46"/>
                </a:cxn>
                <a:cxn ang="0">
                  <a:pos x="347" y="41"/>
                </a:cxn>
                <a:cxn ang="0">
                  <a:pos x="343" y="27"/>
                </a:cxn>
                <a:cxn ang="0">
                  <a:pos x="327" y="11"/>
                </a:cxn>
                <a:cxn ang="0">
                  <a:pos x="305" y="9"/>
                </a:cxn>
                <a:cxn ang="0">
                  <a:pos x="288" y="44"/>
                </a:cxn>
                <a:cxn ang="0">
                  <a:pos x="233" y="74"/>
                </a:cxn>
                <a:cxn ang="0">
                  <a:pos x="208" y="83"/>
                </a:cxn>
                <a:cxn ang="0">
                  <a:pos x="172" y="118"/>
                </a:cxn>
                <a:cxn ang="0">
                  <a:pos x="139" y="103"/>
                </a:cxn>
                <a:cxn ang="0">
                  <a:pos x="102" y="142"/>
                </a:cxn>
                <a:cxn ang="0">
                  <a:pos x="45" y="178"/>
                </a:cxn>
                <a:cxn ang="0">
                  <a:pos x="2" y="220"/>
                </a:cxn>
                <a:cxn ang="0">
                  <a:pos x="13" y="235"/>
                </a:cxn>
                <a:cxn ang="0">
                  <a:pos x="30" y="239"/>
                </a:cxn>
                <a:cxn ang="0">
                  <a:pos x="57" y="245"/>
                </a:cxn>
                <a:cxn ang="0">
                  <a:pos x="59" y="258"/>
                </a:cxn>
                <a:cxn ang="0">
                  <a:pos x="50" y="301"/>
                </a:cxn>
                <a:cxn ang="0">
                  <a:pos x="59" y="307"/>
                </a:cxn>
                <a:cxn ang="0">
                  <a:pos x="43" y="320"/>
                </a:cxn>
                <a:cxn ang="0">
                  <a:pos x="32" y="339"/>
                </a:cxn>
                <a:cxn ang="0">
                  <a:pos x="40" y="353"/>
                </a:cxn>
                <a:cxn ang="0">
                  <a:pos x="48" y="355"/>
                </a:cxn>
                <a:cxn ang="0">
                  <a:pos x="40" y="361"/>
                </a:cxn>
                <a:cxn ang="0">
                  <a:pos x="47" y="366"/>
                </a:cxn>
                <a:cxn ang="0">
                  <a:pos x="53" y="377"/>
                </a:cxn>
                <a:cxn ang="0">
                  <a:pos x="64" y="372"/>
                </a:cxn>
                <a:cxn ang="0">
                  <a:pos x="74" y="360"/>
                </a:cxn>
                <a:cxn ang="0">
                  <a:pos x="78" y="356"/>
                </a:cxn>
                <a:cxn ang="0">
                  <a:pos x="91" y="368"/>
                </a:cxn>
                <a:cxn ang="0">
                  <a:pos x="102" y="369"/>
                </a:cxn>
                <a:cxn ang="0">
                  <a:pos x="121" y="374"/>
                </a:cxn>
                <a:cxn ang="0">
                  <a:pos x="156" y="340"/>
                </a:cxn>
                <a:cxn ang="0">
                  <a:pos x="191" y="340"/>
                </a:cxn>
                <a:cxn ang="0">
                  <a:pos x="223" y="318"/>
                </a:cxn>
              </a:cxnLst>
              <a:rect l="0" t="0" r="r" b="b"/>
              <a:pathLst>
                <a:path w="349" h="377">
                  <a:moveTo>
                    <a:pt x="223" y="318"/>
                  </a:moveTo>
                  <a:lnTo>
                    <a:pt x="220" y="310"/>
                  </a:lnTo>
                  <a:lnTo>
                    <a:pt x="196" y="290"/>
                  </a:lnTo>
                  <a:lnTo>
                    <a:pt x="185" y="277"/>
                  </a:lnTo>
                  <a:lnTo>
                    <a:pt x="171" y="272"/>
                  </a:lnTo>
                  <a:lnTo>
                    <a:pt x="169" y="266"/>
                  </a:lnTo>
                  <a:lnTo>
                    <a:pt x="174" y="253"/>
                  </a:lnTo>
                  <a:lnTo>
                    <a:pt x="174" y="262"/>
                  </a:lnTo>
                  <a:lnTo>
                    <a:pt x="175" y="255"/>
                  </a:lnTo>
                  <a:lnTo>
                    <a:pt x="174" y="236"/>
                  </a:lnTo>
                  <a:lnTo>
                    <a:pt x="175" y="229"/>
                  </a:lnTo>
                  <a:lnTo>
                    <a:pt x="186" y="226"/>
                  </a:lnTo>
                  <a:lnTo>
                    <a:pt x="196" y="220"/>
                  </a:lnTo>
                  <a:lnTo>
                    <a:pt x="199" y="212"/>
                  </a:lnTo>
                  <a:lnTo>
                    <a:pt x="223" y="209"/>
                  </a:lnTo>
                  <a:lnTo>
                    <a:pt x="235" y="200"/>
                  </a:lnTo>
                  <a:lnTo>
                    <a:pt x="239" y="194"/>
                  </a:lnTo>
                  <a:lnTo>
                    <a:pt x="257" y="181"/>
                  </a:lnTo>
                  <a:lnTo>
                    <a:pt x="274" y="162"/>
                  </a:lnTo>
                  <a:lnTo>
                    <a:pt x="289" y="155"/>
                  </a:lnTo>
                  <a:lnTo>
                    <a:pt x="295" y="150"/>
                  </a:lnTo>
                  <a:lnTo>
                    <a:pt x="297" y="121"/>
                  </a:lnTo>
                  <a:lnTo>
                    <a:pt x="293" y="112"/>
                  </a:lnTo>
                  <a:lnTo>
                    <a:pt x="295" y="101"/>
                  </a:lnTo>
                  <a:lnTo>
                    <a:pt x="304" y="87"/>
                  </a:lnTo>
                  <a:lnTo>
                    <a:pt x="308" y="80"/>
                  </a:lnTo>
                  <a:lnTo>
                    <a:pt x="335" y="49"/>
                  </a:lnTo>
                  <a:lnTo>
                    <a:pt x="342" y="46"/>
                  </a:lnTo>
                  <a:lnTo>
                    <a:pt x="349" y="48"/>
                  </a:lnTo>
                  <a:lnTo>
                    <a:pt x="347" y="41"/>
                  </a:lnTo>
                  <a:lnTo>
                    <a:pt x="343" y="33"/>
                  </a:lnTo>
                  <a:lnTo>
                    <a:pt x="343" y="27"/>
                  </a:lnTo>
                  <a:lnTo>
                    <a:pt x="335" y="26"/>
                  </a:lnTo>
                  <a:lnTo>
                    <a:pt x="327" y="11"/>
                  </a:lnTo>
                  <a:lnTo>
                    <a:pt x="316" y="0"/>
                  </a:lnTo>
                  <a:lnTo>
                    <a:pt x="305" y="9"/>
                  </a:lnTo>
                  <a:lnTo>
                    <a:pt x="298" y="29"/>
                  </a:lnTo>
                  <a:lnTo>
                    <a:pt x="288" y="44"/>
                  </a:lnTo>
                  <a:lnTo>
                    <a:pt x="257" y="68"/>
                  </a:lnTo>
                  <a:lnTo>
                    <a:pt x="233" y="74"/>
                  </a:lnTo>
                  <a:lnTo>
                    <a:pt x="213" y="74"/>
                  </a:lnTo>
                  <a:lnTo>
                    <a:pt x="208" y="83"/>
                  </a:lnTo>
                  <a:lnTo>
                    <a:pt x="214" y="114"/>
                  </a:lnTo>
                  <a:lnTo>
                    <a:pt x="172" y="118"/>
                  </a:lnTo>
                  <a:lnTo>
                    <a:pt x="158" y="108"/>
                  </a:lnTo>
                  <a:lnTo>
                    <a:pt x="139" y="103"/>
                  </a:lnTo>
                  <a:lnTo>
                    <a:pt x="127" y="113"/>
                  </a:lnTo>
                  <a:lnTo>
                    <a:pt x="102" y="142"/>
                  </a:lnTo>
                  <a:lnTo>
                    <a:pt x="84" y="157"/>
                  </a:lnTo>
                  <a:lnTo>
                    <a:pt x="45" y="178"/>
                  </a:lnTo>
                  <a:lnTo>
                    <a:pt x="30" y="185"/>
                  </a:lnTo>
                  <a:lnTo>
                    <a:pt x="2" y="220"/>
                  </a:lnTo>
                  <a:lnTo>
                    <a:pt x="0" y="224"/>
                  </a:lnTo>
                  <a:lnTo>
                    <a:pt x="13" y="235"/>
                  </a:lnTo>
                  <a:lnTo>
                    <a:pt x="16" y="246"/>
                  </a:lnTo>
                  <a:lnTo>
                    <a:pt x="30" y="239"/>
                  </a:lnTo>
                  <a:lnTo>
                    <a:pt x="42" y="243"/>
                  </a:lnTo>
                  <a:lnTo>
                    <a:pt x="57" y="245"/>
                  </a:lnTo>
                  <a:lnTo>
                    <a:pt x="63" y="248"/>
                  </a:lnTo>
                  <a:lnTo>
                    <a:pt x="59" y="258"/>
                  </a:lnTo>
                  <a:lnTo>
                    <a:pt x="56" y="278"/>
                  </a:lnTo>
                  <a:lnTo>
                    <a:pt x="50" y="301"/>
                  </a:lnTo>
                  <a:lnTo>
                    <a:pt x="52" y="307"/>
                  </a:lnTo>
                  <a:lnTo>
                    <a:pt x="59" y="307"/>
                  </a:lnTo>
                  <a:lnTo>
                    <a:pt x="45" y="315"/>
                  </a:lnTo>
                  <a:lnTo>
                    <a:pt x="43" y="320"/>
                  </a:lnTo>
                  <a:lnTo>
                    <a:pt x="37" y="323"/>
                  </a:lnTo>
                  <a:lnTo>
                    <a:pt x="32" y="339"/>
                  </a:lnTo>
                  <a:lnTo>
                    <a:pt x="24" y="352"/>
                  </a:lnTo>
                  <a:lnTo>
                    <a:pt x="40" y="353"/>
                  </a:lnTo>
                  <a:lnTo>
                    <a:pt x="50" y="350"/>
                  </a:lnTo>
                  <a:lnTo>
                    <a:pt x="48" y="355"/>
                  </a:lnTo>
                  <a:lnTo>
                    <a:pt x="45" y="361"/>
                  </a:lnTo>
                  <a:lnTo>
                    <a:pt x="40" y="361"/>
                  </a:lnTo>
                  <a:lnTo>
                    <a:pt x="41" y="368"/>
                  </a:lnTo>
                  <a:lnTo>
                    <a:pt x="47" y="366"/>
                  </a:lnTo>
                  <a:lnTo>
                    <a:pt x="51" y="376"/>
                  </a:lnTo>
                  <a:lnTo>
                    <a:pt x="53" y="377"/>
                  </a:lnTo>
                  <a:lnTo>
                    <a:pt x="61" y="377"/>
                  </a:lnTo>
                  <a:lnTo>
                    <a:pt x="64" y="372"/>
                  </a:lnTo>
                  <a:lnTo>
                    <a:pt x="71" y="370"/>
                  </a:lnTo>
                  <a:lnTo>
                    <a:pt x="74" y="360"/>
                  </a:lnTo>
                  <a:lnTo>
                    <a:pt x="72" y="355"/>
                  </a:lnTo>
                  <a:lnTo>
                    <a:pt x="78" y="356"/>
                  </a:lnTo>
                  <a:lnTo>
                    <a:pt x="84" y="365"/>
                  </a:lnTo>
                  <a:lnTo>
                    <a:pt x="91" y="368"/>
                  </a:lnTo>
                  <a:lnTo>
                    <a:pt x="99" y="374"/>
                  </a:lnTo>
                  <a:lnTo>
                    <a:pt x="102" y="369"/>
                  </a:lnTo>
                  <a:lnTo>
                    <a:pt x="113" y="365"/>
                  </a:lnTo>
                  <a:lnTo>
                    <a:pt x="121" y="374"/>
                  </a:lnTo>
                  <a:lnTo>
                    <a:pt x="134" y="363"/>
                  </a:lnTo>
                  <a:lnTo>
                    <a:pt x="156" y="340"/>
                  </a:lnTo>
                  <a:lnTo>
                    <a:pt x="174" y="339"/>
                  </a:lnTo>
                  <a:lnTo>
                    <a:pt x="191" y="340"/>
                  </a:lnTo>
                  <a:lnTo>
                    <a:pt x="206" y="334"/>
                  </a:lnTo>
                  <a:lnTo>
                    <a:pt x="223" y="31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grpSp>
          <p:nvGrpSpPr>
            <p:cNvPr id="94" name="Russia"/>
            <p:cNvGrpSpPr/>
            <p:nvPr/>
          </p:nvGrpSpPr>
          <p:grpSpPr>
            <a:xfrm>
              <a:off x="5158202" y="1055629"/>
              <a:ext cx="4180312" cy="2415499"/>
              <a:chOff x="5141818" y="1060311"/>
              <a:chExt cx="4180312" cy="2415499"/>
            </a:xfrm>
            <a:grpFill/>
          </p:grpSpPr>
          <p:grpSp>
            <p:nvGrpSpPr>
              <p:cNvPr id="309" name="Group 117"/>
              <p:cNvGrpSpPr>
                <a:grpSpLocks noChangeAspect="1"/>
              </p:cNvGrpSpPr>
              <p:nvPr/>
            </p:nvGrpSpPr>
            <p:grpSpPr bwMode="gray">
              <a:xfrm>
                <a:off x="5673134" y="1060311"/>
                <a:ext cx="3447704" cy="1125829"/>
                <a:chOff x="3044" y="960"/>
                <a:chExt cx="1473" cy="481"/>
              </a:xfrm>
              <a:grpFill/>
            </p:grpSpPr>
            <p:sp>
              <p:nvSpPr>
                <p:cNvPr id="312" name="Russia"/>
                <p:cNvSpPr>
                  <a:spLocks noChangeAspect="1"/>
                </p:cNvSpPr>
                <p:nvPr>
                  <p:custDataLst>
                    <p:tags r:id="rId289"/>
                  </p:custDataLst>
                </p:nvPr>
              </p:nvSpPr>
              <p:spPr bwMode="gray">
                <a:xfrm>
                  <a:off x="3044" y="1416"/>
                  <a:ext cx="23" cy="25"/>
                </a:xfrm>
                <a:custGeom>
                  <a:avLst/>
                  <a:gdLst/>
                  <a:ahLst/>
                  <a:cxnLst>
                    <a:cxn ang="0">
                      <a:pos x="27" y="8"/>
                    </a:cxn>
                    <a:cxn ang="0">
                      <a:pos x="29" y="5"/>
                    </a:cxn>
                    <a:cxn ang="0">
                      <a:pos x="34" y="3"/>
                    </a:cxn>
                    <a:cxn ang="0">
                      <a:pos x="38" y="7"/>
                    </a:cxn>
                    <a:cxn ang="0">
                      <a:pos x="49" y="0"/>
                    </a:cxn>
                    <a:cxn ang="0">
                      <a:pos x="54" y="0"/>
                    </a:cxn>
                    <a:cxn ang="0">
                      <a:pos x="94" y="37"/>
                    </a:cxn>
                    <a:cxn ang="0">
                      <a:pos x="100" y="51"/>
                    </a:cxn>
                    <a:cxn ang="0">
                      <a:pos x="105" y="53"/>
                    </a:cxn>
                    <a:cxn ang="0">
                      <a:pos x="105" y="34"/>
                    </a:cxn>
                    <a:cxn ang="0">
                      <a:pos x="109" y="49"/>
                    </a:cxn>
                    <a:cxn ang="0">
                      <a:pos x="116" y="65"/>
                    </a:cxn>
                    <a:cxn ang="0">
                      <a:pos x="115" y="78"/>
                    </a:cxn>
                    <a:cxn ang="0">
                      <a:pos x="109" y="64"/>
                    </a:cxn>
                    <a:cxn ang="0">
                      <a:pos x="97" y="76"/>
                    </a:cxn>
                    <a:cxn ang="0">
                      <a:pos x="77" y="105"/>
                    </a:cxn>
                    <a:cxn ang="0">
                      <a:pos x="63" y="113"/>
                    </a:cxn>
                    <a:cxn ang="0">
                      <a:pos x="55" y="113"/>
                    </a:cxn>
                    <a:cxn ang="0">
                      <a:pos x="45" y="124"/>
                    </a:cxn>
                    <a:cxn ang="0">
                      <a:pos x="35" y="125"/>
                    </a:cxn>
                    <a:cxn ang="0">
                      <a:pos x="30" y="118"/>
                    </a:cxn>
                    <a:cxn ang="0">
                      <a:pos x="28" y="126"/>
                    </a:cxn>
                    <a:cxn ang="0">
                      <a:pos x="19" y="118"/>
                    </a:cxn>
                    <a:cxn ang="0">
                      <a:pos x="12" y="105"/>
                    </a:cxn>
                    <a:cxn ang="0">
                      <a:pos x="6" y="105"/>
                    </a:cxn>
                    <a:cxn ang="0">
                      <a:pos x="4" y="118"/>
                    </a:cxn>
                    <a:cxn ang="0">
                      <a:pos x="8" y="125"/>
                    </a:cxn>
                    <a:cxn ang="0">
                      <a:pos x="2" y="115"/>
                    </a:cxn>
                    <a:cxn ang="0">
                      <a:pos x="0" y="104"/>
                    </a:cxn>
                    <a:cxn ang="0">
                      <a:pos x="2" y="91"/>
                    </a:cxn>
                    <a:cxn ang="0">
                      <a:pos x="3" y="56"/>
                    </a:cxn>
                    <a:cxn ang="0">
                      <a:pos x="7" y="41"/>
                    </a:cxn>
                    <a:cxn ang="0">
                      <a:pos x="19" y="17"/>
                    </a:cxn>
                    <a:cxn ang="0">
                      <a:pos x="27" y="8"/>
                    </a:cxn>
                  </a:cxnLst>
                  <a:rect l="0" t="0" r="r" b="b"/>
                  <a:pathLst>
                    <a:path w="116" h="126">
                      <a:moveTo>
                        <a:pt x="27" y="8"/>
                      </a:moveTo>
                      <a:lnTo>
                        <a:pt x="29" y="5"/>
                      </a:lnTo>
                      <a:lnTo>
                        <a:pt x="34" y="3"/>
                      </a:lnTo>
                      <a:lnTo>
                        <a:pt x="38" y="7"/>
                      </a:lnTo>
                      <a:lnTo>
                        <a:pt x="49" y="0"/>
                      </a:lnTo>
                      <a:lnTo>
                        <a:pt x="54" y="0"/>
                      </a:lnTo>
                      <a:lnTo>
                        <a:pt x="94" y="37"/>
                      </a:lnTo>
                      <a:lnTo>
                        <a:pt x="100" y="51"/>
                      </a:lnTo>
                      <a:lnTo>
                        <a:pt x="105" y="53"/>
                      </a:lnTo>
                      <a:lnTo>
                        <a:pt x="105" y="34"/>
                      </a:lnTo>
                      <a:lnTo>
                        <a:pt x="109" y="49"/>
                      </a:lnTo>
                      <a:lnTo>
                        <a:pt x="116" y="65"/>
                      </a:lnTo>
                      <a:lnTo>
                        <a:pt x="115" y="78"/>
                      </a:lnTo>
                      <a:lnTo>
                        <a:pt x="109" y="64"/>
                      </a:lnTo>
                      <a:lnTo>
                        <a:pt x="97" y="76"/>
                      </a:lnTo>
                      <a:lnTo>
                        <a:pt x="77" y="105"/>
                      </a:lnTo>
                      <a:lnTo>
                        <a:pt x="63" y="113"/>
                      </a:lnTo>
                      <a:lnTo>
                        <a:pt x="55" y="113"/>
                      </a:lnTo>
                      <a:lnTo>
                        <a:pt x="45" y="124"/>
                      </a:lnTo>
                      <a:lnTo>
                        <a:pt x="35" y="125"/>
                      </a:lnTo>
                      <a:lnTo>
                        <a:pt x="30" y="118"/>
                      </a:lnTo>
                      <a:lnTo>
                        <a:pt x="28" y="126"/>
                      </a:lnTo>
                      <a:lnTo>
                        <a:pt x="19" y="118"/>
                      </a:lnTo>
                      <a:lnTo>
                        <a:pt x="12" y="105"/>
                      </a:lnTo>
                      <a:lnTo>
                        <a:pt x="6" y="105"/>
                      </a:lnTo>
                      <a:lnTo>
                        <a:pt x="4" y="118"/>
                      </a:lnTo>
                      <a:lnTo>
                        <a:pt x="8" y="125"/>
                      </a:lnTo>
                      <a:lnTo>
                        <a:pt x="2" y="115"/>
                      </a:lnTo>
                      <a:lnTo>
                        <a:pt x="0" y="104"/>
                      </a:lnTo>
                      <a:lnTo>
                        <a:pt x="2" y="91"/>
                      </a:lnTo>
                      <a:lnTo>
                        <a:pt x="3" y="56"/>
                      </a:lnTo>
                      <a:lnTo>
                        <a:pt x="7" y="41"/>
                      </a:lnTo>
                      <a:lnTo>
                        <a:pt x="19" y="17"/>
                      </a:lnTo>
                      <a:lnTo>
                        <a:pt x="27" y="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3" name="Russia"/>
                <p:cNvSpPr>
                  <a:spLocks noChangeAspect="1"/>
                </p:cNvSpPr>
                <p:nvPr>
                  <p:custDataLst>
                    <p:tags r:id="rId290"/>
                  </p:custDataLst>
                </p:nvPr>
              </p:nvSpPr>
              <p:spPr bwMode="gray">
                <a:xfrm>
                  <a:off x="3605" y="995"/>
                  <a:ext cx="67" cy="84"/>
                </a:xfrm>
                <a:custGeom>
                  <a:avLst/>
                  <a:gdLst/>
                  <a:ahLst/>
                  <a:cxnLst>
                    <a:cxn ang="0">
                      <a:pos x="42" y="277"/>
                    </a:cxn>
                    <a:cxn ang="0">
                      <a:pos x="52" y="238"/>
                    </a:cxn>
                    <a:cxn ang="0">
                      <a:pos x="66" y="185"/>
                    </a:cxn>
                    <a:cxn ang="0">
                      <a:pos x="96" y="201"/>
                    </a:cxn>
                    <a:cxn ang="0">
                      <a:pos x="80" y="149"/>
                    </a:cxn>
                    <a:cxn ang="0">
                      <a:pos x="92" y="119"/>
                    </a:cxn>
                    <a:cxn ang="0">
                      <a:pos x="93" y="115"/>
                    </a:cxn>
                    <a:cxn ang="0">
                      <a:pos x="100" y="94"/>
                    </a:cxn>
                    <a:cxn ang="0">
                      <a:pos x="105" y="88"/>
                    </a:cxn>
                    <a:cxn ang="0">
                      <a:pos x="124" y="52"/>
                    </a:cxn>
                    <a:cxn ang="0">
                      <a:pos x="124" y="29"/>
                    </a:cxn>
                    <a:cxn ang="0">
                      <a:pos x="136" y="39"/>
                    </a:cxn>
                    <a:cxn ang="0">
                      <a:pos x="155" y="62"/>
                    </a:cxn>
                    <a:cxn ang="0">
                      <a:pos x="155" y="16"/>
                    </a:cxn>
                    <a:cxn ang="0">
                      <a:pos x="194" y="12"/>
                    </a:cxn>
                    <a:cxn ang="0">
                      <a:pos x="195" y="29"/>
                    </a:cxn>
                    <a:cxn ang="0">
                      <a:pos x="208" y="30"/>
                    </a:cxn>
                    <a:cxn ang="0">
                      <a:pos x="195" y="73"/>
                    </a:cxn>
                    <a:cxn ang="0">
                      <a:pos x="194" y="108"/>
                    </a:cxn>
                    <a:cxn ang="0">
                      <a:pos x="209" y="103"/>
                    </a:cxn>
                    <a:cxn ang="0">
                      <a:pos x="219" y="66"/>
                    </a:cxn>
                    <a:cxn ang="0">
                      <a:pos x="233" y="79"/>
                    </a:cxn>
                    <a:cxn ang="0">
                      <a:pos x="238" y="99"/>
                    </a:cxn>
                    <a:cxn ang="0">
                      <a:pos x="249" y="72"/>
                    </a:cxn>
                    <a:cxn ang="0">
                      <a:pos x="262" y="95"/>
                    </a:cxn>
                    <a:cxn ang="0">
                      <a:pos x="261" y="119"/>
                    </a:cxn>
                    <a:cxn ang="0">
                      <a:pos x="273" y="131"/>
                    </a:cxn>
                    <a:cxn ang="0">
                      <a:pos x="279" y="110"/>
                    </a:cxn>
                    <a:cxn ang="0">
                      <a:pos x="292" y="163"/>
                    </a:cxn>
                    <a:cxn ang="0">
                      <a:pos x="334" y="195"/>
                    </a:cxn>
                    <a:cxn ang="0">
                      <a:pos x="337" y="234"/>
                    </a:cxn>
                    <a:cxn ang="0">
                      <a:pos x="337" y="259"/>
                    </a:cxn>
                    <a:cxn ang="0">
                      <a:pos x="318" y="312"/>
                    </a:cxn>
                    <a:cxn ang="0">
                      <a:pos x="301" y="317"/>
                    </a:cxn>
                    <a:cxn ang="0">
                      <a:pos x="242" y="344"/>
                    </a:cxn>
                    <a:cxn ang="0">
                      <a:pos x="216" y="347"/>
                    </a:cxn>
                    <a:cxn ang="0">
                      <a:pos x="200" y="346"/>
                    </a:cxn>
                    <a:cxn ang="0">
                      <a:pos x="190" y="360"/>
                    </a:cxn>
                    <a:cxn ang="0">
                      <a:pos x="149" y="352"/>
                    </a:cxn>
                    <a:cxn ang="0">
                      <a:pos x="133" y="352"/>
                    </a:cxn>
                    <a:cxn ang="0">
                      <a:pos x="92" y="368"/>
                    </a:cxn>
                    <a:cxn ang="0">
                      <a:pos x="77" y="385"/>
                    </a:cxn>
                    <a:cxn ang="0">
                      <a:pos x="41" y="409"/>
                    </a:cxn>
                    <a:cxn ang="0">
                      <a:pos x="6" y="416"/>
                    </a:cxn>
                    <a:cxn ang="0">
                      <a:pos x="12" y="398"/>
                    </a:cxn>
                    <a:cxn ang="0">
                      <a:pos x="0" y="393"/>
                    </a:cxn>
                    <a:cxn ang="0">
                      <a:pos x="9" y="355"/>
                    </a:cxn>
                    <a:cxn ang="0">
                      <a:pos x="33" y="297"/>
                    </a:cxn>
                  </a:cxnLst>
                  <a:rect l="0" t="0" r="r" b="b"/>
                  <a:pathLst>
                    <a:path w="337" h="418">
                      <a:moveTo>
                        <a:pt x="33" y="286"/>
                      </a:moveTo>
                      <a:lnTo>
                        <a:pt x="42" y="277"/>
                      </a:lnTo>
                      <a:lnTo>
                        <a:pt x="42" y="269"/>
                      </a:lnTo>
                      <a:lnTo>
                        <a:pt x="52" y="238"/>
                      </a:lnTo>
                      <a:lnTo>
                        <a:pt x="49" y="228"/>
                      </a:lnTo>
                      <a:lnTo>
                        <a:pt x="66" y="185"/>
                      </a:lnTo>
                      <a:lnTo>
                        <a:pt x="85" y="202"/>
                      </a:lnTo>
                      <a:lnTo>
                        <a:pt x="96" y="201"/>
                      </a:lnTo>
                      <a:lnTo>
                        <a:pt x="80" y="183"/>
                      </a:lnTo>
                      <a:lnTo>
                        <a:pt x="80" y="149"/>
                      </a:lnTo>
                      <a:lnTo>
                        <a:pt x="81" y="131"/>
                      </a:lnTo>
                      <a:lnTo>
                        <a:pt x="92" y="119"/>
                      </a:lnTo>
                      <a:lnTo>
                        <a:pt x="100" y="118"/>
                      </a:lnTo>
                      <a:lnTo>
                        <a:pt x="93" y="115"/>
                      </a:lnTo>
                      <a:lnTo>
                        <a:pt x="93" y="103"/>
                      </a:lnTo>
                      <a:lnTo>
                        <a:pt x="100" y="94"/>
                      </a:lnTo>
                      <a:lnTo>
                        <a:pt x="109" y="92"/>
                      </a:lnTo>
                      <a:lnTo>
                        <a:pt x="105" y="88"/>
                      </a:lnTo>
                      <a:lnTo>
                        <a:pt x="105" y="73"/>
                      </a:lnTo>
                      <a:lnTo>
                        <a:pt x="124" y="52"/>
                      </a:lnTo>
                      <a:lnTo>
                        <a:pt x="125" y="44"/>
                      </a:lnTo>
                      <a:lnTo>
                        <a:pt x="124" y="29"/>
                      </a:lnTo>
                      <a:lnTo>
                        <a:pt x="130" y="24"/>
                      </a:lnTo>
                      <a:lnTo>
                        <a:pt x="136" y="39"/>
                      </a:lnTo>
                      <a:lnTo>
                        <a:pt x="139" y="56"/>
                      </a:lnTo>
                      <a:lnTo>
                        <a:pt x="155" y="62"/>
                      </a:lnTo>
                      <a:lnTo>
                        <a:pt x="157" y="48"/>
                      </a:lnTo>
                      <a:lnTo>
                        <a:pt x="155" y="16"/>
                      </a:lnTo>
                      <a:lnTo>
                        <a:pt x="166" y="0"/>
                      </a:lnTo>
                      <a:lnTo>
                        <a:pt x="194" y="12"/>
                      </a:lnTo>
                      <a:lnTo>
                        <a:pt x="194" y="36"/>
                      </a:lnTo>
                      <a:lnTo>
                        <a:pt x="195" y="29"/>
                      </a:lnTo>
                      <a:lnTo>
                        <a:pt x="200" y="23"/>
                      </a:lnTo>
                      <a:lnTo>
                        <a:pt x="208" y="30"/>
                      </a:lnTo>
                      <a:lnTo>
                        <a:pt x="208" y="43"/>
                      </a:lnTo>
                      <a:lnTo>
                        <a:pt x="195" y="73"/>
                      </a:lnTo>
                      <a:lnTo>
                        <a:pt x="197" y="94"/>
                      </a:lnTo>
                      <a:lnTo>
                        <a:pt x="194" y="108"/>
                      </a:lnTo>
                      <a:lnTo>
                        <a:pt x="194" y="122"/>
                      </a:lnTo>
                      <a:lnTo>
                        <a:pt x="209" y="103"/>
                      </a:lnTo>
                      <a:lnTo>
                        <a:pt x="219" y="84"/>
                      </a:lnTo>
                      <a:lnTo>
                        <a:pt x="219" y="66"/>
                      </a:lnTo>
                      <a:lnTo>
                        <a:pt x="224" y="65"/>
                      </a:lnTo>
                      <a:lnTo>
                        <a:pt x="233" y="79"/>
                      </a:lnTo>
                      <a:lnTo>
                        <a:pt x="236" y="94"/>
                      </a:lnTo>
                      <a:lnTo>
                        <a:pt x="238" y="99"/>
                      </a:lnTo>
                      <a:lnTo>
                        <a:pt x="245" y="88"/>
                      </a:lnTo>
                      <a:lnTo>
                        <a:pt x="249" y="72"/>
                      </a:lnTo>
                      <a:lnTo>
                        <a:pt x="258" y="77"/>
                      </a:lnTo>
                      <a:lnTo>
                        <a:pt x="262" y="95"/>
                      </a:lnTo>
                      <a:lnTo>
                        <a:pt x="259" y="110"/>
                      </a:lnTo>
                      <a:lnTo>
                        <a:pt x="261" y="119"/>
                      </a:lnTo>
                      <a:lnTo>
                        <a:pt x="267" y="131"/>
                      </a:lnTo>
                      <a:lnTo>
                        <a:pt x="273" y="131"/>
                      </a:lnTo>
                      <a:lnTo>
                        <a:pt x="272" y="118"/>
                      </a:lnTo>
                      <a:lnTo>
                        <a:pt x="279" y="110"/>
                      </a:lnTo>
                      <a:lnTo>
                        <a:pt x="284" y="137"/>
                      </a:lnTo>
                      <a:lnTo>
                        <a:pt x="292" y="163"/>
                      </a:lnTo>
                      <a:lnTo>
                        <a:pt x="326" y="184"/>
                      </a:lnTo>
                      <a:lnTo>
                        <a:pt x="334" y="195"/>
                      </a:lnTo>
                      <a:lnTo>
                        <a:pt x="337" y="217"/>
                      </a:lnTo>
                      <a:lnTo>
                        <a:pt x="337" y="234"/>
                      </a:lnTo>
                      <a:lnTo>
                        <a:pt x="333" y="245"/>
                      </a:lnTo>
                      <a:lnTo>
                        <a:pt x="337" y="259"/>
                      </a:lnTo>
                      <a:lnTo>
                        <a:pt x="337" y="276"/>
                      </a:lnTo>
                      <a:lnTo>
                        <a:pt x="318" y="312"/>
                      </a:lnTo>
                      <a:lnTo>
                        <a:pt x="307" y="323"/>
                      </a:lnTo>
                      <a:lnTo>
                        <a:pt x="301" y="317"/>
                      </a:lnTo>
                      <a:lnTo>
                        <a:pt x="280" y="321"/>
                      </a:lnTo>
                      <a:lnTo>
                        <a:pt x="242" y="344"/>
                      </a:lnTo>
                      <a:lnTo>
                        <a:pt x="226" y="341"/>
                      </a:lnTo>
                      <a:lnTo>
                        <a:pt x="216" y="347"/>
                      </a:lnTo>
                      <a:lnTo>
                        <a:pt x="205" y="344"/>
                      </a:lnTo>
                      <a:lnTo>
                        <a:pt x="200" y="346"/>
                      </a:lnTo>
                      <a:lnTo>
                        <a:pt x="199" y="355"/>
                      </a:lnTo>
                      <a:lnTo>
                        <a:pt x="190" y="360"/>
                      </a:lnTo>
                      <a:lnTo>
                        <a:pt x="176" y="342"/>
                      </a:lnTo>
                      <a:lnTo>
                        <a:pt x="149" y="352"/>
                      </a:lnTo>
                      <a:lnTo>
                        <a:pt x="143" y="346"/>
                      </a:lnTo>
                      <a:lnTo>
                        <a:pt x="133" y="352"/>
                      </a:lnTo>
                      <a:lnTo>
                        <a:pt x="98" y="350"/>
                      </a:lnTo>
                      <a:lnTo>
                        <a:pt x="92" y="368"/>
                      </a:lnTo>
                      <a:lnTo>
                        <a:pt x="86" y="371"/>
                      </a:lnTo>
                      <a:lnTo>
                        <a:pt x="77" y="385"/>
                      </a:lnTo>
                      <a:lnTo>
                        <a:pt x="53" y="396"/>
                      </a:lnTo>
                      <a:lnTo>
                        <a:pt x="41" y="409"/>
                      </a:lnTo>
                      <a:lnTo>
                        <a:pt x="33" y="418"/>
                      </a:lnTo>
                      <a:lnTo>
                        <a:pt x="6" y="416"/>
                      </a:lnTo>
                      <a:lnTo>
                        <a:pt x="7" y="409"/>
                      </a:lnTo>
                      <a:lnTo>
                        <a:pt x="12" y="398"/>
                      </a:lnTo>
                      <a:lnTo>
                        <a:pt x="11" y="387"/>
                      </a:lnTo>
                      <a:lnTo>
                        <a:pt x="0" y="393"/>
                      </a:lnTo>
                      <a:lnTo>
                        <a:pt x="4" y="366"/>
                      </a:lnTo>
                      <a:lnTo>
                        <a:pt x="9" y="355"/>
                      </a:lnTo>
                      <a:lnTo>
                        <a:pt x="38" y="302"/>
                      </a:lnTo>
                      <a:lnTo>
                        <a:pt x="33" y="297"/>
                      </a:lnTo>
                      <a:lnTo>
                        <a:pt x="33" y="28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4" name="Russia"/>
                <p:cNvSpPr>
                  <a:spLocks noChangeAspect="1"/>
                </p:cNvSpPr>
                <p:nvPr>
                  <p:custDataLst>
                    <p:tags r:id="rId291"/>
                  </p:custDataLst>
                </p:nvPr>
              </p:nvSpPr>
              <p:spPr bwMode="gray">
                <a:xfrm>
                  <a:off x="4015" y="1163"/>
                  <a:ext cx="73" cy="67"/>
                </a:xfrm>
                <a:custGeom>
                  <a:avLst/>
                  <a:gdLst/>
                  <a:ahLst/>
                  <a:cxnLst>
                    <a:cxn ang="0">
                      <a:pos x="179" y="89"/>
                    </a:cxn>
                    <a:cxn ang="0">
                      <a:pos x="185" y="89"/>
                    </a:cxn>
                    <a:cxn ang="0">
                      <a:pos x="200" y="103"/>
                    </a:cxn>
                    <a:cxn ang="0">
                      <a:pos x="194" y="120"/>
                    </a:cxn>
                    <a:cxn ang="0">
                      <a:pos x="195" y="127"/>
                    </a:cxn>
                    <a:cxn ang="0">
                      <a:pos x="205" y="132"/>
                    </a:cxn>
                    <a:cxn ang="0">
                      <a:pos x="216" y="133"/>
                    </a:cxn>
                    <a:cxn ang="0">
                      <a:pos x="228" y="133"/>
                    </a:cxn>
                    <a:cxn ang="0">
                      <a:pos x="233" y="103"/>
                    </a:cxn>
                    <a:cxn ang="0">
                      <a:pos x="225" y="60"/>
                    </a:cxn>
                    <a:cxn ang="0">
                      <a:pos x="235" y="34"/>
                    </a:cxn>
                    <a:cxn ang="0">
                      <a:pos x="268" y="49"/>
                    </a:cxn>
                    <a:cxn ang="0">
                      <a:pos x="290" y="89"/>
                    </a:cxn>
                    <a:cxn ang="0">
                      <a:pos x="307" y="109"/>
                    </a:cxn>
                    <a:cxn ang="0">
                      <a:pos x="314" y="127"/>
                    </a:cxn>
                    <a:cxn ang="0">
                      <a:pos x="309" y="151"/>
                    </a:cxn>
                    <a:cxn ang="0">
                      <a:pos x="300" y="170"/>
                    </a:cxn>
                    <a:cxn ang="0">
                      <a:pos x="296" y="191"/>
                    </a:cxn>
                    <a:cxn ang="0">
                      <a:pos x="309" y="234"/>
                    </a:cxn>
                    <a:cxn ang="0">
                      <a:pos x="344" y="259"/>
                    </a:cxn>
                    <a:cxn ang="0">
                      <a:pos x="365" y="280"/>
                    </a:cxn>
                    <a:cxn ang="0">
                      <a:pos x="343" y="289"/>
                    </a:cxn>
                    <a:cxn ang="0">
                      <a:pos x="314" y="287"/>
                    </a:cxn>
                    <a:cxn ang="0">
                      <a:pos x="305" y="302"/>
                    </a:cxn>
                    <a:cxn ang="0">
                      <a:pos x="287" y="272"/>
                    </a:cxn>
                    <a:cxn ang="0">
                      <a:pos x="279" y="253"/>
                    </a:cxn>
                    <a:cxn ang="0">
                      <a:pos x="238" y="280"/>
                    </a:cxn>
                    <a:cxn ang="0">
                      <a:pos x="211" y="301"/>
                    </a:cxn>
                    <a:cxn ang="0">
                      <a:pos x="174" y="310"/>
                    </a:cxn>
                    <a:cxn ang="0">
                      <a:pos x="172" y="303"/>
                    </a:cxn>
                    <a:cxn ang="0">
                      <a:pos x="169" y="289"/>
                    </a:cxn>
                    <a:cxn ang="0">
                      <a:pos x="162" y="256"/>
                    </a:cxn>
                    <a:cxn ang="0">
                      <a:pos x="146" y="288"/>
                    </a:cxn>
                    <a:cxn ang="0">
                      <a:pos x="150" y="298"/>
                    </a:cxn>
                    <a:cxn ang="0">
                      <a:pos x="140" y="331"/>
                    </a:cxn>
                    <a:cxn ang="0">
                      <a:pos x="113" y="324"/>
                    </a:cxn>
                    <a:cxn ang="0">
                      <a:pos x="70" y="307"/>
                    </a:cxn>
                    <a:cxn ang="0">
                      <a:pos x="54" y="260"/>
                    </a:cxn>
                    <a:cxn ang="0">
                      <a:pos x="15" y="242"/>
                    </a:cxn>
                    <a:cxn ang="0">
                      <a:pos x="0" y="196"/>
                    </a:cxn>
                    <a:cxn ang="0">
                      <a:pos x="20" y="196"/>
                    </a:cxn>
                    <a:cxn ang="0">
                      <a:pos x="27" y="179"/>
                    </a:cxn>
                    <a:cxn ang="0">
                      <a:pos x="15" y="176"/>
                    </a:cxn>
                    <a:cxn ang="0">
                      <a:pos x="26" y="173"/>
                    </a:cxn>
                    <a:cxn ang="0">
                      <a:pos x="13" y="152"/>
                    </a:cxn>
                    <a:cxn ang="0">
                      <a:pos x="8" y="140"/>
                    </a:cxn>
                    <a:cxn ang="0">
                      <a:pos x="21" y="143"/>
                    </a:cxn>
                    <a:cxn ang="0">
                      <a:pos x="17" y="122"/>
                    </a:cxn>
                    <a:cxn ang="0">
                      <a:pos x="26" y="99"/>
                    </a:cxn>
                    <a:cxn ang="0">
                      <a:pos x="44" y="95"/>
                    </a:cxn>
                    <a:cxn ang="0">
                      <a:pos x="33" y="88"/>
                    </a:cxn>
                    <a:cxn ang="0">
                      <a:pos x="26" y="67"/>
                    </a:cxn>
                    <a:cxn ang="0">
                      <a:pos x="36" y="51"/>
                    </a:cxn>
                    <a:cxn ang="0">
                      <a:pos x="67" y="43"/>
                    </a:cxn>
                    <a:cxn ang="0">
                      <a:pos x="80" y="22"/>
                    </a:cxn>
                    <a:cxn ang="0">
                      <a:pos x="119" y="0"/>
                    </a:cxn>
                    <a:cxn ang="0">
                      <a:pos x="117" y="13"/>
                    </a:cxn>
                    <a:cxn ang="0">
                      <a:pos x="146" y="54"/>
                    </a:cxn>
                    <a:cxn ang="0">
                      <a:pos x="160" y="54"/>
                    </a:cxn>
                    <a:cxn ang="0">
                      <a:pos x="169" y="68"/>
                    </a:cxn>
                    <a:cxn ang="0">
                      <a:pos x="168" y="87"/>
                    </a:cxn>
                  </a:cxnLst>
                  <a:rect l="0" t="0" r="r" b="b"/>
                  <a:pathLst>
                    <a:path w="365" h="334">
                      <a:moveTo>
                        <a:pt x="178" y="86"/>
                      </a:moveTo>
                      <a:lnTo>
                        <a:pt x="179" y="89"/>
                      </a:lnTo>
                      <a:lnTo>
                        <a:pt x="180" y="95"/>
                      </a:lnTo>
                      <a:lnTo>
                        <a:pt x="185" y="89"/>
                      </a:lnTo>
                      <a:lnTo>
                        <a:pt x="201" y="94"/>
                      </a:lnTo>
                      <a:lnTo>
                        <a:pt x="200" y="103"/>
                      </a:lnTo>
                      <a:lnTo>
                        <a:pt x="201" y="106"/>
                      </a:lnTo>
                      <a:lnTo>
                        <a:pt x="194" y="120"/>
                      </a:lnTo>
                      <a:lnTo>
                        <a:pt x="196" y="121"/>
                      </a:lnTo>
                      <a:lnTo>
                        <a:pt x="195" y="127"/>
                      </a:lnTo>
                      <a:lnTo>
                        <a:pt x="198" y="135"/>
                      </a:lnTo>
                      <a:lnTo>
                        <a:pt x="205" y="132"/>
                      </a:lnTo>
                      <a:lnTo>
                        <a:pt x="210" y="138"/>
                      </a:lnTo>
                      <a:lnTo>
                        <a:pt x="216" y="133"/>
                      </a:lnTo>
                      <a:lnTo>
                        <a:pt x="226" y="137"/>
                      </a:lnTo>
                      <a:lnTo>
                        <a:pt x="228" y="133"/>
                      </a:lnTo>
                      <a:lnTo>
                        <a:pt x="228" y="109"/>
                      </a:lnTo>
                      <a:lnTo>
                        <a:pt x="233" y="103"/>
                      </a:lnTo>
                      <a:lnTo>
                        <a:pt x="226" y="92"/>
                      </a:lnTo>
                      <a:lnTo>
                        <a:pt x="225" y="60"/>
                      </a:lnTo>
                      <a:lnTo>
                        <a:pt x="225" y="47"/>
                      </a:lnTo>
                      <a:lnTo>
                        <a:pt x="235" y="34"/>
                      </a:lnTo>
                      <a:lnTo>
                        <a:pt x="242" y="30"/>
                      </a:lnTo>
                      <a:lnTo>
                        <a:pt x="268" y="49"/>
                      </a:lnTo>
                      <a:lnTo>
                        <a:pt x="287" y="78"/>
                      </a:lnTo>
                      <a:lnTo>
                        <a:pt x="290" y="89"/>
                      </a:lnTo>
                      <a:lnTo>
                        <a:pt x="297" y="109"/>
                      </a:lnTo>
                      <a:lnTo>
                        <a:pt x="307" y="109"/>
                      </a:lnTo>
                      <a:lnTo>
                        <a:pt x="314" y="115"/>
                      </a:lnTo>
                      <a:lnTo>
                        <a:pt x="314" y="127"/>
                      </a:lnTo>
                      <a:lnTo>
                        <a:pt x="311" y="138"/>
                      </a:lnTo>
                      <a:lnTo>
                        <a:pt x="309" y="151"/>
                      </a:lnTo>
                      <a:lnTo>
                        <a:pt x="305" y="163"/>
                      </a:lnTo>
                      <a:lnTo>
                        <a:pt x="300" y="170"/>
                      </a:lnTo>
                      <a:lnTo>
                        <a:pt x="296" y="181"/>
                      </a:lnTo>
                      <a:lnTo>
                        <a:pt x="296" y="191"/>
                      </a:lnTo>
                      <a:lnTo>
                        <a:pt x="298" y="201"/>
                      </a:lnTo>
                      <a:lnTo>
                        <a:pt x="309" y="234"/>
                      </a:lnTo>
                      <a:lnTo>
                        <a:pt x="323" y="254"/>
                      </a:lnTo>
                      <a:lnTo>
                        <a:pt x="344" y="259"/>
                      </a:lnTo>
                      <a:lnTo>
                        <a:pt x="361" y="272"/>
                      </a:lnTo>
                      <a:lnTo>
                        <a:pt x="365" y="280"/>
                      </a:lnTo>
                      <a:lnTo>
                        <a:pt x="364" y="283"/>
                      </a:lnTo>
                      <a:lnTo>
                        <a:pt x="343" y="289"/>
                      </a:lnTo>
                      <a:lnTo>
                        <a:pt x="317" y="277"/>
                      </a:lnTo>
                      <a:lnTo>
                        <a:pt x="314" y="287"/>
                      </a:lnTo>
                      <a:lnTo>
                        <a:pt x="314" y="296"/>
                      </a:lnTo>
                      <a:lnTo>
                        <a:pt x="305" y="302"/>
                      </a:lnTo>
                      <a:lnTo>
                        <a:pt x="281" y="273"/>
                      </a:lnTo>
                      <a:lnTo>
                        <a:pt x="287" y="272"/>
                      </a:lnTo>
                      <a:lnTo>
                        <a:pt x="289" y="261"/>
                      </a:lnTo>
                      <a:lnTo>
                        <a:pt x="279" y="253"/>
                      </a:lnTo>
                      <a:lnTo>
                        <a:pt x="265" y="272"/>
                      </a:lnTo>
                      <a:lnTo>
                        <a:pt x="238" y="280"/>
                      </a:lnTo>
                      <a:lnTo>
                        <a:pt x="225" y="287"/>
                      </a:lnTo>
                      <a:lnTo>
                        <a:pt x="211" y="301"/>
                      </a:lnTo>
                      <a:lnTo>
                        <a:pt x="183" y="312"/>
                      </a:lnTo>
                      <a:lnTo>
                        <a:pt x="174" y="310"/>
                      </a:lnTo>
                      <a:lnTo>
                        <a:pt x="165" y="302"/>
                      </a:lnTo>
                      <a:lnTo>
                        <a:pt x="172" y="303"/>
                      </a:lnTo>
                      <a:lnTo>
                        <a:pt x="179" y="296"/>
                      </a:lnTo>
                      <a:lnTo>
                        <a:pt x="169" y="289"/>
                      </a:lnTo>
                      <a:lnTo>
                        <a:pt x="162" y="276"/>
                      </a:lnTo>
                      <a:lnTo>
                        <a:pt x="162" y="256"/>
                      </a:lnTo>
                      <a:lnTo>
                        <a:pt x="149" y="265"/>
                      </a:lnTo>
                      <a:lnTo>
                        <a:pt x="146" y="288"/>
                      </a:lnTo>
                      <a:lnTo>
                        <a:pt x="155" y="285"/>
                      </a:lnTo>
                      <a:lnTo>
                        <a:pt x="150" y="298"/>
                      </a:lnTo>
                      <a:lnTo>
                        <a:pt x="146" y="320"/>
                      </a:lnTo>
                      <a:lnTo>
                        <a:pt x="140" y="331"/>
                      </a:lnTo>
                      <a:lnTo>
                        <a:pt x="130" y="334"/>
                      </a:lnTo>
                      <a:lnTo>
                        <a:pt x="113" y="324"/>
                      </a:lnTo>
                      <a:lnTo>
                        <a:pt x="90" y="320"/>
                      </a:lnTo>
                      <a:lnTo>
                        <a:pt x="70" y="307"/>
                      </a:lnTo>
                      <a:lnTo>
                        <a:pt x="61" y="289"/>
                      </a:lnTo>
                      <a:lnTo>
                        <a:pt x="54" y="260"/>
                      </a:lnTo>
                      <a:lnTo>
                        <a:pt x="42" y="262"/>
                      </a:lnTo>
                      <a:lnTo>
                        <a:pt x="15" y="242"/>
                      </a:lnTo>
                      <a:lnTo>
                        <a:pt x="10" y="223"/>
                      </a:lnTo>
                      <a:lnTo>
                        <a:pt x="0" y="196"/>
                      </a:lnTo>
                      <a:lnTo>
                        <a:pt x="10" y="190"/>
                      </a:lnTo>
                      <a:lnTo>
                        <a:pt x="20" y="196"/>
                      </a:lnTo>
                      <a:lnTo>
                        <a:pt x="32" y="190"/>
                      </a:lnTo>
                      <a:lnTo>
                        <a:pt x="27" y="179"/>
                      </a:lnTo>
                      <a:lnTo>
                        <a:pt x="17" y="181"/>
                      </a:lnTo>
                      <a:lnTo>
                        <a:pt x="15" y="176"/>
                      </a:lnTo>
                      <a:lnTo>
                        <a:pt x="17" y="173"/>
                      </a:lnTo>
                      <a:lnTo>
                        <a:pt x="26" y="173"/>
                      </a:lnTo>
                      <a:lnTo>
                        <a:pt x="24" y="159"/>
                      </a:lnTo>
                      <a:lnTo>
                        <a:pt x="13" y="152"/>
                      </a:lnTo>
                      <a:lnTo>
                        <a:pt x="7" y="141"/>
                      </a:lnTo>
                      <a:lnTo>
                        <a:pt x="8" y="140"/>
                      </a:lnTo>
                      <a:lnTo>
                        <a:pt x="17" y="151"/>
                      </a:lnTo>
                      <a:lnTo>
                        <a:pt x="21" y="143"/>
                      </a:lnTo>
                      <a:lnTo>
                        <a:pt x="22" y="132"/>
                      </a:lnTo>
                      <a:lnTo>
                        <a:pt x="17" y="122"/>
                      </a:lnTo>
                      <a:lnTo>
                        <a:pt x="17" y="106"/>
                      </a:lnTo>
                      <a:lnTo>
                        <a:pt x="26" y="99"/>
                      </a:lnTo>
                      <a:lnTo>
                        <a:pt x="39" y="103"/>
                      </a:lnTo>
                      <a:lnTo>
                        <a:pt x="44" y="95"/>
                      </a:lnTo>
                      <a:lnTo>
                        <a:pt x="38" y="83"/>
                      </a:lnTo>
                      <a:lnTo>
                        <a:pt x="33" y="88"/>
                      </a:lnTo>
                      <a:lnTo>
                        <a:pt x="29" y="82"/>
                      </a:lnTo>
                      <a:lnTo>
                        <a:pt x="26" y="67"/>
                      </a:lnTo>
                      <a:lnTo>
                        <a:pt x="28" y="62"/>
                      </a:lnTo>
                      <a:lnTo>
                        <a:pt x="36" y="51"/>
                      </a:lnTo>
                      <a:lnTo>
                        <a:pt x="42" y="55"/>
                      </a:lnTo>
                      <a:lnTo>
                        <a:pt x="67" y="43"/>
                      </a:lnTo>
                      <a:lnTo>
                        <a:pt x="77" y="18"/>
                      </a:lnTo>
                      <a:lnTo>
                        <a:pt x="80" y="22"/>
                      </a:lnTo>
                      <a:lnTo>
                        <a:pt x="103" y="4"/>
                      </a:lnTo>
                      <a:lnTo>
                        <a:pt x="119" y="0"/>
                      </a:lnTo>
                      <a:lnTo>
                        <a:pt x="123" y="1"/>
                      </a:lnTo>
                      <a:lnTo>
                        <a:pt x="117" y="13"/>
                      </a:lnTo>
                      <a:lnTo>
                        <a:pt x="119" y="24"/>
                      </a:lnTo>
                      <a:lnTo>
                        <a:pt x="146" y="54"/>
                      </a:lnTo>
                      <a:lnTo>
                        <a:pt x="151" y="57"/>
                      </a:lnTo>
                      <a:lnTo>
                        <a:pt x="160" y="54"/>
                      </a:lnTo>
                      <a:lnTo>
                        <a:pt x="162" y="62"/>
                      </a:lnTo>
                      <a:lnTo>
                        <a:pt x="169" y="68"/>
                      </a:lnTo>
                      <a:lnTo>
                        <a:pt x="163" y="78"/>
                      </a:lnTo>
                      <a:lnTo>
                        <a:pt x="168" y="87"/>
                      </a:lnTo>
                      <a:lnTo>
                        <a:pt x="178" y="8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5" name="Russia"/>
                <p:cNvSpPr>
                  <a:spLocks noChangeAspect="1"/>
                </p:cNvSpPr>
                <p:nvPr>
                  <p:custDataLst>
                    <p:tags r:id="rId292"/>
                  </p:custDataLst>
                </p:nvPr>
              </p:nvSpPr>
              <p:spPr bwMode="gray">
                <a:xfrm>
                  <a:off x="4066" y="1166"/>
                  <a:ext cx="44" cy="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6" y="8"/>
                    </a:cxn>
                    <a:cxn ang="0">
                      <a:pos x="32" y="30"/>
                    </a:cxn>
                    <a:cxn ang="0">
                      <a:pos x="42" y="38"/>
                    </a:cxn>
                    <a:cxn ang="0">
                      <a:pos x="56" y="59"/>
                    </a:cxn>
                    <a:cxn ang="0">
                      <a:pos x="64" y="66"/>
                    </a:cxn>
                    <a:cxn ang="0">
                      <a:pos x="89" y="71"/>
                    </a:cxn>
                    <a:cxn ang="0">
                      <a:pos x="106" y="59"/>
                    </a:cxn>
                    <a:cxn ang="0">
                      <a:pos x="116" y="56"/>
                    </a:cxn>
                    <a:cxn ang="0">
                      <a:pos x="138" y="64"/>
                    </a:cxn>
                    <a:cxn ang="0">
                      <a:pos x="152" y="89"/>
                    </a:cxn>
                    <a:cxn ang="0">
                      <a:pos x="169" y="97"/>
                    </a:cxn>
                    <a:cxn ang="0">
                      <a:pos x="182" y="110"/>
                    </a:cxn>
                    <a:cxn ang="0">
                      <a:pos x="201" y="120"/>
                    </a:cxn>
                    <a:cxn ang="0">
                      <a:pos x="215" y="136"/>
                    </a:cxn>
                    <a:cxn ang="0">
                      <a:pos x="222" y="136"/>
                    </a:cxn>
                    <a:cxn ang="0">
                      <a:pos x="224" y="145"/>
                    </a:cxn>
                    <a:cxn ang="0">
                      <a:pos x="206" y="142"/>
                    </a:cxn>
                    <a:cxn ang="0">
                      <a:pos x="197" y="146"/>
                    </a:cxn>
                    <a:cxn ang="0">
                      <a:pos x="193" y="155"/>
                    </a:cxn>
                    <a:cxn ang="0">
                      <a:pos x="181" y="156"/>
                    </a:cxn>
                    <a:cxn ang="0">
                      <a:pos x="185" y="161"/>
                    </a:cxn>
                    <a:cxn ang="0">
                      <a:pos x="182" y="169"/>
                    </a:cxn>
                    <a:cxn ang="0">
                      <a:pos x="182" y="183"/>
                    </a:cxn>
                    <a:cxn ang="0">
                      <a:pos x="188" y="194"/>
                    </a:cxn>
                    <a:cxn ang="0">
                      <a:pos x="183" y="200"/>
                    </a:cxn>
                    <a:cxn ang="0">
                      <a:pos x="180" y="217"/>
                    </a:cxn>
                    <a:cxn ang="0">
                      <a:pos x="167" y="226"/>
                    </a:cxn>
                    <a:cxn ang="0">
                      <a:pos x="163" y="232"/>
                    </a:cxn>
                    <a:cxn ang="0">
                      <a:pos x="138" y="248"/>
                    </a:cxn>
                    <a:cxn ang="0">
                      <a:pos x="128" y="241"/>
                    </a:cxn>
                    <a:cxn ang="0">
                      <a:pos x="91" y="233"/>
                    </a:cxn>
                    <a:cxn ang="0">
                      <a:pos x="77" y="222"/>
                    </a:cxn>
                    <a:cxn ang="0">
                      <a:pos x="54" y="164"/>
                    </a:cxn>
                    <a:cxn ang="0">
                      <a:pos x="56" y="147"/>
                    </a:cxn>
                    <a:cxn ang="0">
                      <a:pos x="69" y="108"/>
                    </a:cxn>
                    <a:cxn ang="0">
                      <a:pos x="73" y="85"/>
                    </a:cxn>
                    <a:cxn ang="0">
                      <a:pos x="64" y="85"/>
                    </a:cxn>
                    <a:cxn ang="0">
                      <a:pos x="61" y="73"/>
                    </a:cxn>
                    <a:cxn ang="0">
                      <a:pos x="16" y="19"/>
                    </a:cxn>
                    <a:cxn ang="0">
                      <a:pos x="8" y="1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24" h="248">
                      <a:moveTo>
                        <a:pt x="0" y="0"/>
                      </a:moveTo>
                      <a:lnTo>
                        <a:pt x="16" y="8"/>
                      </a:lnTo>
                      <a:lnTo>
                        <a:pt x="32" y="30"/>
                      </a:lnTo>
                      <a:lnTo>
                        <a:pt x="42" y="38"/>
                      </a:lnTo>
                      <a:lnTo>
                        <a:pt x="56" y="59"/>
                      </a:lnTo>
                      <a:lnTo>
                        <a:pt x="64" y="66"/>
                      </a:lnTo>
                      <a:lnTo>
                        <a:pt x="89" y="71"/>
                      </a:lnTo>
                      <a:lnTo>
                        <a:pt x="106" y="59"/>
                      </a:lnTo>
                      <a:lnTo>
                        <a:pt x="116" y="56"/>
                      </a:lnTo>
                      <a:lnTo>
                        <a:pt x="138" y="64"/>
                      </a:lnTo>
                      <a:lnTo>
                        <a:pt x="152" y="89"/>
                      </a:lnTo>
                      <a:lnTo>
                        <a:pt x="169" y="97"/>
                      </a:lnTo>
                      <a:lnTo>
                        <a:pt x="182" y="110"/>
                      </a:lnTo>
                      <a:lnTo>
                        <a:pt x="201" y="120"/>
                      </a:lnTo>
                      <a:lnTo>
                        <a:pt x="215" y="136"/>
                      </a:lnTo>
                      <a:lnTo>
                        <a:pt x="222" y="136"/>
                      </a:lnTo>
                      <a:lnTo>
                        <a:pt x="224" y="145"/>
                      </a:lnTo>
                      <a:lnTo>
                        <a:pt x="206" y="142"/>
                      </a:lnTo>
                      <a:lnTo>
                        <a:pt x="197" y="146"/>
                      </a:lnTo>
                      <a:lnTo>
                        <a:pt x="193" y="155"/>
                      </a:lnTo>
                      <a:lnTo>
                        <a:pt x="181" y="156"/>
                      </a:lnTo>
                      <a:lnTo>
                        <a:pt x="185" y="161"/>
                      </a:lnTo>
                      <a:lnTo>
                        <a:pt x="182" y="169"/>
                      </a:lnTo>
                      <a:lnTo>
                        <a:pt x="182" y="183"/>
                      </a:lnTo>
                      <a:lnTo>
                        <a:pt x="188" y="194"/>
                      </a:lnTo>
                      <a:lnTo>
                        <a:pt x="183" y="200"/>
                      </a:lnTo>
                      <a:lnTo>
                        <a:pt x="180" y="217"/>
                      </a:lnTo>
                      <a:lnTo>
                        <a:pt x="167" y="226"/>
                      </a:lnTo>
                      <a:lnTo>
                        <a:pt x="163" y="232"/>
                      </a:lnTo>
                      <a:lnTo>
                        <a:pt x="138" y="248"/>
                      </a:lnTo>
                      <a:lnTo>
                        <a:pt x="128" y="241"/>
                      </a:lnTo>
                      <a:lnTo>
                        <a:pt x="91" y="233"/>
                      </a:lnTo>
                      <a:lnTo>
                        <a:pt x="77" y="222"/>
                      </a:lnTo>
                      <a:lnTo>
                        <a:pt x="54" y="164"/>
                      </a:lnTo>
                      <a:lnTo>
                        <a:pt x="56" y="147"/>
                      </a:lnTo>
                      <a:lnTo>
                        <a:pt x="69" y="108"/>
                      </a:lnTo>
                      <a:lnTo>
                        <a:pt x="73" y="85"/>
                      </a:lnTo>
                      <a:lnTo>
                        <a:pt x="64" y="85"/>
                      </a:lnTo>
                      <a:lnTo>
                        <a:pt x="61" y="73"/>
                      </a:lnTo>
                      <a:lnTo>
                        <a:pt x="16" y="19"/>
                      </a:lnTo>
                      <a:lnTo>
                        <a:pt x="8" y="1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6" name="Russia"/>
                <p:cNvSpPr>
                  <a:spLocks noChangeAspect="1"/>
                </p:cNvSpPr>
                <p:nvPr>
                  <p:custDataLst>
                    <p:tags r:id="rId293"/>
                  </p:custDataLst>
                </p:nvPr>
              </p:nvSpPr>
              <p:spPr bwMode="gray">
                <a:xfrm>
                  <a:off x="4119" y="1193"/>
                  <a:ext cx="54" cy="36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9" y="6"/>
                    </a:cxn>
                    <a:cxn ang="0">
                      <a:pos x="19" y="10"/>
                    </a:cxn>
                    <a:cxn ang="0">
                      <a:pos x="24" y="15"/>
                    </a:cxn>
                    <a:cxn ang="0">
                      <a:pos x="26" y="25"/>
                    </a:cxn>
                    <a:cxn ang="0">
                      <a:pos x="36" y="30"/>
                    </a:cxn>
                    <a:cxn ang="0">
                      <a:pos x="51" y="33"/>
                    </a:cxn>
                    <a:cxn ang="0">
                      <a:pos x="66" y="35"/>
                    </a:cxn>
                    <a:cxn ang="0">
                      <a:pos x="73" y="31"/>
                    </a:cxn>
                    <a:cxn ang="0">
                      <a:pos x="127" y="41"/>
                    </a:cxn>
                    <a:cxn ang="0">
                      <a:pos x="129" y="49"/>
                    </a:cxn>
                    <a:cxn ang="0">
                      <a:pos x="122" y="49"/>
                    </a:cxn>
                    <a:cxn ang="0">
                      <a:pos x="121" y="55"/>
                    </a:cxn>
                    <a:cxn ang="0">
                      <a:pos x="109" y="67"/>
                    </a:cxn>
                    <a:cxn ang="0">
                      <a:pos x="132" y="64"/>
                    </a:cxn>
                    <a:cxn ang="0">
                      <a:pos x="154" y="68"/>
                    </a:cxn>
                    <a:cxn ang="0">
                      <a:pos x="163" y="62"/>
                    </a:cxn>
                    <a:cxn ang="0">
                      <a:pos x="172" y="62"/>
                    </a:cxn>
                    <a:cxn ang="0">
                      <a:pos x="182" y="68"/>
                    </a:cxn>
                    <a:cxn ang="0">
                      <a:pos x="188" y="79"/>
                    </a:cxn>
                    <a:cxn ang="0">
                      <a:pos x="207" y="75"/>
                    </a:cxn>
                    <a:cxn ang="0">
                      <a:pos x="218" y="79"/>
                    </a:cxn>
                    <a:cxn ang="0">
                      <a:pos x="225" y="91"/>
                    </a:cxn>
                    <a:cxn ang="0">
                      <a:pos x="266" y="100"/>
                    </a:cxn>
                    <a:cxn ang="0">
                      <a:pos x="256" y="108"/>
                    </a:cxn>
                    <a:cxn ang="0">
                      <a:pos x="257" y="135"/>
                    </a:cxn>
                    <a:cxn ang="0">
                      <a:pos x="245" y="154"/>
                    </a:cxn>
                    <a:cxn ang="0">
                      <a:pos x="208" y="176"/>
                    </a:cxn>
                    <a:cxn ang="0">
                      <a:pos x="198" y="180"/>
                    </a:cxn>
                    <a:cxn ang="0">
                      <a:pos x="191" y="171"/>
                    </a:cxn>
                    <a:cxn ang="0">
                      <a:pos x="186" y="176"/>
                    </a:cxn>
                    <a:cxn ang="0">
                      <a:pos x="179" y="173"/>
                    </a:cxn>
                    <a:cxn ang="0">
                      <a:pos x="174" y="164"/>
                    </a:cxn>
                    <a:cxn ang="0">
                      <a:pos x="171" y="175"/>
                    </a:cxn>
                    <a:cxn ang="0">
                      <a:pos x="160" y="175"/>
                    </a:cxn>
                    <a:cxn ang="0">
                      <a:pos x="144" y="170"/>
                    </a:cxn>
                    <a:cxn ang="0">
                      <a:pos x="133" y="156"/>
                    </a:cxn>
                    <a:cxn ang="0">
                      <a:pos x="117" y="156"/>
                    </a:cxn>
                    <a:cxn ang="0">
                      <a:pos x="104" y="151"/>
                    </a:cxn>
                    <a:cxn ang="0">
                      <a:pos x="95" y="140"/>
                    </a:cxn>
                    <a:cxn ang="0">
                      <a:pos x="85" y="135"/>
                    </a:cxn>
                    <a:cxn ang="0">
                      <a:pos x="75" y="123"/>
                    </a:cxn>
                    <a:cxn ang="0">
                      <a:pos x="57" y="118"/>
                    </a:cxn>
                    <a:cxn ang="0">
                      <a:pos x="46" y="110"/>
                    </a:cxn>
                    <a:cxn ang="0">
                      <a:pos x="45" y="81"/>
                    </a:cxn>
                    <a:cxn ang="0">
                      <a:pos x="31" y="67"/>
                    </a:cxn>
                    <a:cxn ang="0">
                      <a:pos x="26" y="47"/>
                    </a:cxn>
                    <a:cxn ang="0">
                      <a:pos x="5" y="20"/>
                    </a:cxn>
                    <a:cxn ang="0">
                      <a:pos x="0" y="3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266" h="180">
                      <a:moveTo>
                        <a:pt x="3" y="0"/>
                      </a:moveTo>
                      <a:lnTo>
                        <a:pt x="9" y="6"/>
                      </a:lnTo>
                      <a:lnTo>
                        <a:pt x="19" y="10"/>
                      </a:lnTo>
                      <a:lnTo>
                        <a:pt x="24" y="15"/>
                      </a:lnTo>
                      <a:lnTo>
                        <a:pt x="26" y="25"/>
                      </a:lnTo>
                      <a:lnTo>
                        <a:pt x="36" y="30"/>
                      </a:lnTo>
                      <a:lnTo>
                        <a:pt x="51" y="33"/>
                      </a:lnTo>
                      <a:lnTo>
                        <a:pt x="66" y="35"/>
                      </a:lnTo>
                      <a:lnTo>
                        <a:pt x="73" y="31"/>
                      </a:lnTo>
                      <a:lnTo>
                        <a:pt x="127" y="41"/>
                      </a:lnTo>
                      <a:lnTo>
                        <a:pt x="129" y="49"/>
                      </a:lnTo>
                      <a:lnTo>
                        <a:pt x="122" y="49"/>
                      </a:lnTo>
                      <a:lnTo>
                        <a:pt x="121" y="55"/>
                      </a:lnTo>
                      <a:lnTo>
                        <a:pt x="109" y="67"/>
                      </a:lnTo>
                      <a:lnTo>
                        <a:pt x="132" y="64"/>
                      </a:lnTo>
                      <a:lnTo>
                        <a:pt x="154" y="68"/>
                      </a:lnTo>
                      <a:lnTo>
                        <a:pt x="163" y="62"/>
                      </a:lnTo>
                      <a:lnTo>
                        <a:pt x="172" y="62"/>
                      </a:lnTo>
                      <a:lnTo>
                        <a:pt x="182" y="68"/>
                      </a:lnTo>
                      <a:lnTo>
                        <a:pt x="188" y="79"/>
                      </a:lnTo>
                      <a:lnTo>
                        <a:pt x="207" y="75"/>
                      </a:lnTo>
                      <a:lnTo>
                        <a:pt x="218" y="79"/>
                      </a:lnTo>
                      <a:lnTo>
                        <a:pt x="225" y="91"/>
                      </a:lnTo>
                      <a:lnTo>
                        <a:pt x="266" y="100"/>
                      </a:lnTo>
                      <a:lnTo>
                        <a:pt x="256" y="108"/>
                      </a:lnTo>
                      <a:lnTo>
                        <a:pt x="257" y="135"/>
                      </a:lnTo>
                      <a:lnTo>
                        <a:pt x="245" y="154"/>
                      </a:lnTo>
                      <a:lnTo>
                        <a:pt x="208" y="176"/>
                      </a:lnTo>
                      <a:lnTo>
                        <a:pt x="198" y="180"/>
                      </a:lnTo>
                      <a:lnTo>
                        <a:pt x="191" y="171"/>
                      </a:lnTo>
                      <a:lnTo>
                        <a:pt x="186" y="176"/>
                      </a:lnTo>
                      <a:lnTo>
                        <a:pt x="179" y="173"/>
                      </a:lnTo>
                      <a:lnTo>
                        <a:pt x="174" y="164"/>
                      </a:lnTo>
                      <a:lnTo>
                        <a:pt x="171" y="175"/>
                      </a:lnTo>
                      <a:lnTo>
                        <a:pt x="160" y="175"/>
                      </a:lnTo>
                      <a:lnTo>
                        <a:pt x="144" y="170"/>
                      </a:lnTo>
                      <a:lnTo>
                        <a:pt x="133" y="156"/>
                      </a:lnTo>
                      <a:lnTo>
                        <a:pt x="117" y="156"/>
                      </a:lnTo>
                      <a:lnTo>
                        <a:pt x="104" y="151"/>
                      </a:lnTo>
                      <a:lnTo>
                        <a:pt x="95" y="140"/>
                      </a:lnTo>
                      <a:lnTo>
                        <a:pt x="85" y="135"/>
                      </a:lnTo>
                      <a:lnTo>
                        <a:pt x="75" y="123"/>
                      </a:lnTo>
                      <a:lnTo>
                        <a:pt x="57" y="118"/>
                      </a:lnTo>
                      <a:lnTo>
                        <a:pt x="46" y="110"/>
                      </a:lnTo>
                      <a:lnTo>
                        <a:pt x="45" y="81"/>
                      </a:lnTo>
                      <a:lnTo>
                        <a:pt x="31" y="67"/>
                      </a:lnTo>
                      <a:lnTo>
                        <a:pt x="26" y="47"/>
                      </a:lnTo>
                      <a:lnTo>
                        <a:pt x="5" y="20"/>
                      </a:lnTo>
                      <a:lnTo>
                        <a:pt x="0" y="3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7" name="Russia"/>
                <p:cNvSpPr>
                  <a:spLocks noChangeAspect="1"/>
                </p:cNvSpPr>
                <p:nvPr>
                  <p:custDataLst>
                    <p:tags r:id="rId294"/>
                  </p:custDataLst>
                </p:nvPr>
              </p:nvSpPr>
              <p:spPr bwMode="gray">
                <a:xfrm>
                  <a:off x="4047" y="1261"/>
                  <a:ext cx="43" cy="27"/>
                </a:xfrm>
                <a:custGeom>
                  <a:avLst/>
                  <a:gdLst/>
                  <a:ahLst/>
                  <a:cxnLst>
                    <a:cxn ang="0">
                      <a:pos x="92" y="7"/>
                    </a:cxn>
                    <a:cxn ang="0">
                      <a:pos x="110" y="0"/>
                    </a:cxn>
                    <a:cxn ang="0">
                      <a:pos x="126" y="2"/>
                    </a:cxn>
                    <a:cxn ang="0">
                      <a:pos x="137" y="5"/>
                    </a:cxn>
                    <a:cxn ang="0">
                      <a:pos x="148" y="16"/>
                    </a:cxn>
                    <a:cxn ang="0">
                      <a:pos x="156" y="18"/>
                    </a:cxn>
                    <a:cxn ang="0">
                      <a:pos x="169" y="36"/>
                    </a:cxn>
                    <a:cxn ang="0">
                      <a:pos x="187" y="51"/>
                    </a:cxn>
                    <a:cxn ang="0">
                      <a:pos x="203" y="78"/>
                    </a:cxn>
                    <a:cxn ang="0">
                      <a:pos x="207" y="93"/>
                    </a:cxn>
                    <a:cxn ang="0">
                      <a:pos x="207" y="112"/>
                    </a:cxn>
                    <a:cxn ang="0">
                      <a:pos x="212" y="126"/>
                    </a:cxn>
                    <a:cxn ang="0">
                      <a:pos x="212" y="136"/>
                    </a:cxn>
                    <a:cxn ang="0">
                      <a:pos x="202" y="132"/>
                    </a:cxn>
                    <a:cxn ang="0">
                      <a:pos x="193" y="136"/>
                    </a:cxn>
                    <a:cxn ang="0">
                      <a:pos x="181" y="134"/>
                    </a:cxn>
                    <a:cxn ang="0">
                      <a:pos x="167" y="127"/>
                    </a:cxn>
                    <a:cxn ang="0">
                      <a:pos x="139" y="128"/>
                    </a:cxn>
                    <a:cxn ang="0">
                      <a:pos x="122" y="120"/>
                    </a:cxn>
                    <a:cxn ang="0">
                      <a:pos x="115" y="112"/>
                    </a:cxn>
                    <a:cxn ang="0">
                      <a:pos x="102" y="115"/>
                    </a:cxn>
                    <a:cxn ang="0">
                      <a:pos x="85" y="110"/>
                    </a:cxn>
                    <a:cxn ang="0">
                      <a:pos x="68" y="99"/>
                    </a:cxn>
                    <a:cxn ang="0">
                      <a:pos x="48" y="95"/>
                    </a:cxn>
                    <a:cxn ang="0">
                      <a:pos x="21" y="110"/>
                    </a:cxn>
                    <a:cxn ang="0">
                      <a:pos x="10" y="109"/>
                    </a:cxn>
                    <a:cxn ang="0">
                      <a:pos x="0" y="95"/>
                    </a:cxn>
                    <a:cxn ang="0">
                      <a:pos x="8" y="89"/>
                    </a:cxn>
                    <a:cxn ang="0">
                      <a:pos x="37" y="86"/>
                    </a:cxn>
                    <a:cxn ang="0">
                      <a:pos x="41" y="79"/>
                    </a:cxn>
                    <a:cxn ang="0">
                      <a:pos x="48" y="62"/>
                    </a:cxn>
                    <a:cxn ang="0">
                      <a:pos x="60" y="31"/>
                    </a:cxn>
                    <a:cxn ang="0">
                      <a:pos x="60" y="19"/>
                    </a:cxn>
                    <a:cxn ang="0">
                      <a:pos x="65" y="10"/>
                    </a:cxn>
                    <a:cxn ang="0">
                      <a:pos x="92" y="7"/>
                    </a:cxn>
                  </a:cxnLst>
                  <a:rect l="0" t="0" r="r" b="b"/>
                  <a:pathLst>
                    <a:path w="212" h="136">
                      <a:moveTo>
                        <a:pt x="92" y="7"/>
                      </a:moveTo>
                      <a:lnTo>
                        <a:pt x="110" y="0"/>
                      </a:lnTo>
                      <a:lnTo>
                        <a:pt x="126" y="2"/>
                      </a:lnTo>
                      <a:lnTo>
                        <a:pt x="137" y="5"/>
                      </a:lnTo>
                      <a:lnTo>
                        <a:pt x="148" y="16"/>
                      </a:lnTo>
                      <a:lnTo>
                        <a:pt x="156" y="18"/>
                      </a:lnTo>
                      <a:lnTo>
                        <a:pt x="169" y="36"/>
                      </a:lnTo>
                      <a:lnTo>
                        <a:pt x="187" y="51"/>
                      </a:lnTo>
                      <a:lnTo>
                        <a:pt x="203" y="78"/>
                      </a:lnTo>
                      <a:lnTo>
                        <a:pt x="207" y="93"/>
                      </a:lnTo>
                      <a:lnTo>
                        <a:pt x="207" y="112"/>
                      </a:lnTo>
                      <a:lnTo>
                        <a:pt x="212" y="126"/>
                      </a:lnTo>
                      <a:lnTo>
                        <a:pt x="212" y="136"/>
                      </a:lnTo>
                      <a:lnTo>
                        <a:pt x="202" y="132"/>
                      </a:lnTo>
                      <a:lnTo>
                        <a:pt x="193" y="136"/>
                      </a:lnTo>
                      <a:lnTo>
                        <a:pt x="181" y="134"/>
                      </a:lnTo>
                      <a:lnTo>
                        <a:pt x="167" y="127"/>
                      </a:lnTo>
                      <a:lnTo>
                        <a:pt x="139" y="128"/>
                      </a:lnTo>
                      <a:lnTo>
                        <a:pt x="122" y="120"/>
                      </a:lnTo>
                      <a:lnTo>
                        <a:pt x="115" y="112"/>
                      </a:lnTo>
                      <a:lnTo>
                        <a:pt x="102" y="115"/>
                      </a:lnTo>
                      <a:lnTo>
                        <a:pt x="85" y="110"/>
                      </a:lnTo>
                      <a:lnTo>
                        <a:pt x="68" y="99"/>
                      </a:lnTo>
                      <a:lnTo>
                        <a:pt x="48" y="95"/>
                      </a:lnTo>
                      <a:lnTo>
                        <a:pt x="21" y="110"/>
                      </a:lnTo>
                      <a:lnTo>
                        <a:pt x="10" y="109"/>
                      </a:lnTo>
                      <a:lnTo>
                        <a:pt x="0" y="95"/>
                      </a:lnTo>
                      <a:lnTo>
                        <a:pt x="8" y="89"/>
                      </a:lnTo>
                      <a:lnTo>
                        <a:pt x="37" y="86"/>
                      </a:lnTo>
                      <a:lnTo>
                        <a:pt x="41" y="79"/>
                      </a:lnTo>
                      <a:lnTo>
                        <a:pt x="48" y="62"/>
                      </a:lnTo>
                      <a:lnTo>
                        <a:pt x="60" y="31"/>
                      </a:lnTo>
                      <a:lnTo>
                        <a:pt x="60" y="19"/>
                      </a:lnTo>
                      <a:lnTo>
                        <a:pt x="65" y="10"/>
                      </a:lnTo>
                      <a:lnTo>
                        <a:pt x="92" y="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8" name="Russia"/>
                <p:cNvSpPr>
                  <a:spLocks noChangeAspect="1"/>
                </p:cNvSpPr>
                <p:nvPr>
                  <p:custDataLst>
                    <p:tags r:id="rId295"/>
                  </p:custDataLst>
                </p:nvPr>
              </p:nvSpPr>
              <p:spPr bwMode="gray">
                <a:xfrm>
                  <a:off x="3080" y="1282"/>
                  <a:ext cx="68" cy="102"/>
                </a:xfrm>
                <a:custGeom>
                  <a:avLst/>
                  <a:gdLst/>
                  <a:ahLst/>
                  <a:cxnLst>
                    <a:cxn ang="0">
                      <a:pos x="152" y="22"/>
                    </a:cxn>
                    <a:cxn ang="0">
                      <a:pos x="199" y="0"/>
                    </a:cxn>
                    <a:cxn ang="0">
                      <a:pos x="234" y="15"/>
                    </a:cxn>
                    <a:cxn ang="0">
                      <a:pos x="277" y="45"/>
                    </a:cxn>
                    <a:cxn ang="0">
                      <a:pos x="272" y="68"/>
                    </a:cxn>
                    <a:cxn ang="0">
                      <a:pos x="234" y="86"/>
                    </a:cxn>
                    <a:cxn ang="0">
                      <a:pos x="267" y="94"/>
                    </a:cxn>
                    <a:cxn ang="0">
                      <a:pos x="245" y="114"/>
                    </a:cxn>
                    <a:cxn ang="0">
                      <a:pos x="238" y="119"/>
                    </a:cxn>
                    <a:cxn ang="0">
                      <a:pos x="232" y="158"/>
                    </a:cxn>
                    <a:cxn ang="0">
                      <a:pos x="226" y="165"/>
                    </a:cxn>
                    <a:cxn ang="0">
                      <a:pos x="219" y="189"/>
                    </a:cxn>
                    <a:cxn ang="0">
                      <a:pos x="224" y="226"/>
                    </a:cxn>
                    <a:cxn ang="0">
                      <a:pos x="218" y="267"/>
                    </a:cxn>
                    <a:cxn ang="0">
                      <a:pos x="230" y="331"/>
                    </a:cxn>
                    <a:cxn ang="0">
                      <a:pos x="250" y="373"/>
                    </a:cxn>
                    <a:cxn ang="0">
                      <a:pos x="278" y="426"/>
                    </a:cxn>
                    <a:cxn ang="0">
                      <a:pos x="306" y="450"/>
                    </a:cxn>
                    <a:cxn ang="0">
                      <a:pos x="338" y="472"/>
                    </a:cxn>
                    <a:cxn ang="0">
                      <a:pos x="322" y="490"/>
                    </a:cxn>
                    <a:cxn ang="0">
                      <a:pos x="320" y="498"/>
                    </a:cxn>
                    <a:cxn ang="0">
                      <a:pos x="301" y="502"/>
                    </a:cxn>
                    <a:cxn ang="0">
                      <a:pos x="284" y="470"/>
                    </a:cxn>
                    <a:cxn ang="0">
                      <a:pos x="261" y="481"/>
                    </a:cxn>
                    <a:cxn ang="0">
                      <a:pos x="273" y="487"/>
                    </a:cxn>
                    <a:cxn ang="0">
                      <a:pos x="251" y="491"/>
                    </a:cxn>
                    <a:cxn ang="0">
                      <a:pos x="243" y="495"/>
                    </a:cxn>
                    <a:cxn ang="0">
                      <a:pos x="220" y="476"/>
                    </a:cxn>
                    <a:cxn ang="0">
                      <a:pos x="210" y="488"/>
                    </a:cxn>
                    <a:cxn ang="0">
                      <a:pos x="182" y="480"/>
                    </a:cxn>
                    <a:cxn ang="0">
                      <a:pos x="189" y="466"/>
                    </a:cxn>
                    <a:cxn ang="0">
                      <a:pos x="144" y="470"/>
                    </a:cxn>
                    <a:cxn ang="0">
                      <a:pos x="127" y="461"/>
                    </a:cxn>
                    <a:cxn ang="0">
                      <a:pos x="125" y="438"/>
                    </a:cxn>
                    <a:cxn ang="0">
                      <a:pos x="124" y="421"/>
                    </a:cxn>
                    <a:cxn ang="0">
                      <a:pos x="135" y="413"/>
                    </a:cxn>
                    <a:cxn ang="0">
                      <a:pos x="157" y="412"/>
                    </a:cxn>
                    <a:cxn ang="0">
                      <a:pos x="143" y="400"/>
                    </a:cxn>
                    <a:cxn ang="0">
                      <a:pos x="116" y="380"/>
                    </a:cxn>
                    <a:cxn ang="0">
                      <a:pos x="138" y="348"/>
                    </a:cxn>
                    <a:cxn ang="0">
                      <a:pos x="109" y="380"/>
                    </a:cxn>
                    <a:cxn ang="0">
                      <a:pos x="107" y="345"/>
                    </a:cxn>
                    <a:cxn ang="0">
                      <a:pos x="90" y="342"/>
                    </a:cxn>
                    <a:cxn ang="0">
                      <a:pos x="76" y="353"/>
                    </a:cxn>
                    <a:cxn ang="0">
                      <a:pos x="65" y="319"/>
                    </a:cxn>
                    <a:cxn ang="0">
                      <a:pos x="51" y="331"/>
                    </a:cxn>
                    <a:cxn ang="0">
                      <a:pos x="32" y="347"/>
                    </a:cxn>
                    <a:cxn ang="0">
                      <a:pos x="16" y="340"/>
                    </a:cxn>
                    <a:cxn ang="0">
                      <a:pos x="1" y="294"/>
                    </a:cxn>
                    <a:cxn ang="0">
                      <a:pos x="3" y="255"/>
                    </a:cxn>
                    <a:cxn ang="0">
                      <a:pos x="27" y="242"/>
                    </a:cxn>
                    <a:cxn ang="0">
                      <a:pos x="42" y="244"/>
                    </a:cxn>
                    <a:cxn ang="0">
                      <a:pos x="53" y="230"/>
                    </a:cxn>
                    <a:cxn ang="0">
                      <a:pos x="64" y="206"/>
                    </a:cxn>
                    <a:cxn ang="0">
                      <a:pos x="70" y="186"/>
                    </a:cxn>
                    <a:cxn ang="0">
                      <a:pos x="79" y="162"/>
                    </a:cxn>
                    <a:cxn ang="0">
                      <a:pos x="75" y="158"/>
                    </a:cxn>
                    <a:cxn ang="0">
                      <a:pos x="68" y="141"/>
                    </a:cxn>
                    <a:cxn ang="0">
                      <a:pos x="73" y="97"/>
                    </a:cxn>
                    <a:cxn ang="0">
                      <a:pos x="103" y="87"/>
                    </a:cxn>
                    <a:cxn ang="0">
                      <a:pos x="94" y="74"/>
                    </a:cxn>
                    <a:cxn ang="0">
                      <a:pos x="92" y="61"/>
                    </a:cxn>
                    <a:cxn ang="0">
                      <a:pos x="124" y="20"/>
                    </a:cxn>
                  </a:cxnLst>
                  <a:rect l="0" t="0" r="r" b="b"/>
                  <a:pathLst>
                    <a:path w="338" h="508">
                      <a:moveTo>
                        <a:pt x="124" y="20"/>
                      </a:moveTo>
                      <a:lnTo>
                        <a:pt x="128" y="17"/>
                      </a:lnTo>
                      <a:lnTo>
                        <a:pt x="152" y="22"/>
                      </a:lnTo>
                      <a:lnTo>
                        <a:pt x="161" y="12"/>
                      </a:lnTo>
                      <a:lnTo>
                        <a:pt x="187" y="0"/>
                      </a:lnTo>
                      <a:lnTo>
                        <a:pt x="199" y="0"/>
                      </a:lnTo>
                      <a:lnTo>
                        <a:pt x="210" y="9"/>
                      </a:lnTo>
                      <a:lnTo>
                        <a:pt x="219" y="14"/>
                      </a:lnTo>
                      <a:lnTo>
                        <a:pt x="234" y="15"/>
                      </a:lnTo>
                      <a:lnTo>
                        <a:pt x="256" y="33"/>
                      </a:lnTo>
                      <a:lnTo>
                        <a:pt x="268" y="34"/>
                      </a:lnTo>
                      <a:lnTo>
                        <a:pt x="277" y="45"/>
                      </a:lnTo>
                      <a:lnTo>
                        <a:pt x="279" y="55"/>
                      </a:lnTo>
                      <a:lnTo>
                        <a:pt x="245" y="63"/>
                      </a:lnTo>
                      <a:lnTo>
                        <a:pt x="272" y="68"/>
                      </a:lnTo>
                      <a:lnTo>
                        <a:pt x="268" y="74"/>
                      </a:lnTo>
                      <a:lnTo>
                        <a:pt x="256" y="73"/>
                      </a:lnTo>
                      <a:lnTo>
                        <a:pt x="234" y="86"/>
                      </a:lnTo>
                      <a:lnTo>
                        <a:pt x="246" y="88"/>
                      </a:lnTo>
                      <a:lnTo>
                        <a:pt x="265" y="82"/>
                      </a:lnTo>
                      <a:lnTo>
                        <a:pt x="267" y="94"/>
                      </a:lnTo>
                      <a:lnTo>
                        <a:pt x="262" y="103"/>
                      </a:lnTo>
                      <a:lnTo>
                        <a:pt x="253" y="111"/>
                      </a:lnTo>
                      <a:lnTo>
                        <a:pt x="245" y="114"/>
                      </a:lnTo>
                      <a:lnTo>
                        <a:pt x="225" y="111"/>
                      </a:lnTo>
                      <a:lnTo>
                        <a:pt x="222" y="121"/>
                      </a:lnTo>
                      <a:lnTo>
                        <a:pt x="238" y="119"/>
                      </a:lnTo>
                      <a:lnTo>
                        <a:pt x="242" y="131"/>
                      </a:lnTo>
                      <a:lnTo>
                        <a:pt x="235" y="143"/>
                      </a:lnTo>
                      <a:lnTo>
                        <a:pt x="232" y="158"/>
                      </a:lnTo>
                      <a:lnTo>
                        <a:pt x="226" y="156"/>
                      </a:lnTo>
                      <a:lnTo>
                        <a:pt x="222" y="160"/>
                      </a:lnTo>
                      <a:lnTo>
                        <a:pt x="226" y="165"/>
                      </a:lnTo>
                      <a:lnTo>
                        <a:pt x="225" y="176"/>
                      </a:lnTo>
                      <a:lnTo>
                        <a:pt x="219" y="178"/>
                      </a:lnTo>
                      <a:lnTo>
                        <a:pt x="219" y="189"/>
                      </a:lnTo>
                      <a:lnTo>
                        <a:pt x="218" y="201"/>
                      </a:lnTo>
                      <a:lnTo>
                        <a:pt x="219" y="214"/>
                      </a:lnTo>
                      <a:lnTo>
                        <a:pt x="224" y="226"/>
                      </a:lnTo>
                      <a:lnTo>
                        <a:pt x="224" y="235"/>
                      </a:lnTo>
                      <a:lnTo>
                        <a:pt x="216" y="255"/>
                      </a:lnTo>
                      <a:lnTo>
                        <a:pt x="218" y="267"/>
                      </a:lnTo>
                      <a:lnTo>
                        <a:pt x="222" y="273"/>
                      </a:lnTo>
                      <a:lnTo>
                        <a:pt x="226" y="313"/>
                      </a:lnTo>
                      <a:lnTo>
                        <a:pt x="230" y="331"/>
                      </a:lnTo>
                      <a:lnTo>
                        <a:pt x="234" y="341"/>
                      </a:lnTo>
                      <a:lnTo>
                        <a:pt x="242" y="353"/>
                      </a:lnTo>
                      <a:lnTo>
                        <a:pt x="250" y="373"/>
                      </a:lnTo>
                      <a:lnTo>
                        <a:pt x="253" y="382"/>
                      </a:lnTo>
                      <a:lnTo>
                        <a:pt x="254" y="394"/>
                      </a:lnTo>
                      <a:lnTo>
                        <a:pt x="278" y="426"/>
                      </a:lnTo>
                      <a:lnTo>
                        <a:pt x="288" y="436"/>
                      </a:lnTo>
                      <a:lnTo>
                        <a:pt x="296" y="439"/>
                      </a:lnTo>
                      <a:lnTo>
                        <a:pt x="306" y="450"/>
                      </a:lnTo>
                      <a:lnTo>
                        <a:pt x="322" y="464"/>
                      </a:lnTo>
                      <a:lnTo>
                        <a:pt x="327" y="463"/>
                      </a:lnTo>
                      <a:lnTo>
                        <a:pt x="338" y="472"/>
                      </a:lnTo>
                      <a:lnTo>
                        <a:pt x="332" y="475"/>
                      </a:lnTo>
                      <a:lnTo>
                        <a:pt x="332" y="485"/>
                      </a:lnTo>
                      <a:lnTo>
                        <a:pt x="322" y="490"/>
                      </a:lnTo>
                      <a:lnTo>
                        <a:pt x="301" y="486"/>
                      </a:lnTo>
                      <a:lnTo>
                        <a:pt x="296" y="491"/>
                      </a:lnTo>
                      <a:lnTo>
                        <a:pt x="320" y="498"/>
                      </a:lnTo>
                      <a:lnTo>
                        <a:pt x="311" y="499"/>
                      </a:lnTo>
                      <a:lnTo>
                        <a:pt x="310" y="508"/>
                      </a:lnTo>
                      <a:lnTo>
                        <a:pt x="301" y="502"/>
                      </a:lnTo>
                      <a:lnTo>
                        <a:pt x="286" y="486"/>
                      </a:lnTo>
                      <a:lnTo>
                        <a:pt x="281" y="482"/>
                      </a:lnTo>
                      <a:lnTo>
                        <a:pt x="284" y="470"/>
                      </a:lnTo>
                      <a:lnTo>
                        <a:pt x="274" y="475"/>
                      </a:lnTo>
                      <a:lnTo>
                        <a:pt x="265" y="475"/>
                      </a:lnTo>
                      <a:lnTo>
                        <a:pt x="261" y="481"/>
                      </a:lnTo>
                      <a:lnTo>
                        <a:pt x="262" y="487"/>
                      </a:lnTo>
                      <a:lnTo>
                        <a:pt x="268" y="491"/>
                      </a:lnTo>
                      <a:lnTo>
                        <a:pt x="273" y="487"/>
                      </a:lnTo>
                      <a:lnTo>
                        <a:pt x="275" y="498"/>
                      </a:lnTo>
                      <a:lnTo>
                        <a:pt x="261" y="499"/>
                      </a:lnTo>
                      <a:lnTo>
                        <a:pt x="251" y="491"/>
                      </a:lnTo>
                      <a:lnTo>
                        <a:pt x="246" y="491"/>
                      </a:lnTo>
                      <a:lnTo>
                        <a:pt x="248" y="498"/>
                      </a:lnTo>
                      <a:lnTo>
                        <a:pt x="243" y="495"/>
                      </a:lnTo>
                      <a:lnTo>
                        <a:pt x="237" y="481"/>
                      </a:lnTo>
                      <a:lnTo>
                        <a:pt x="229" y="482"/>
                      </a:lnTo>
                      <a:lnTo>
                        <a:pt x="220" y="476"/>
                      </a:lnTo>
                      <a:lnTo>
                        <a:pt x="216" y="487"/>
                      </a:lnTo>
                      <a:lnTo>
                        <a:pt x="213" y="483"/>
                      </a:lnTo>
                      <a:lnTo>
                        <a:pt x="210" y="488"/>
                      </a:lnTo>
                      <a:lnTo>
                        <a:pt x="209" y="499"/>
                      </a:lnTo>
                      <a:lnTo>
                        <a:pt x="204" y="499"/>
                      </a:lnTo>
                      <a:lnTo>
                        <a:pt x="182" y="480"/>
                      </a:lnTo>
                      <a:lnTo>
                        <a:pt x="178" y="471"/>
                      </a:lnTo>
                      <a:lnTo>
                        <a:pt x="191" y="471"/>
                      </a:lnTo>
                      <a:lnTo>
                        <a:pt x="189" y="466"/>
                      </a:lnTo>
                      <a:lnTo>
                        <a:pt x="173" y="465"/>
                      </a:lnTo>
                      <a:lnTo>
                        <a:pt x="151" y="472"/>
                      </a:lnTo>
                      <a:lnTo>
                        <a:pt x="144" y="470"/>
                      </a:lnTo>
                      <a:lnTo>
                        <a:pt x="139" y="461"/>
                      </a:lnTo>
                      <a:lnTo>
                        <a:pt x="134" y="465"/>
                      </a:lnTo>
                      <a:lnTo>
                        <a:pt x="127" y="461"/>
                      </a:lnTo>
                      <a:lnTo>
                        <a:pt x="125" y="458"/>
                      </a:lnTo>
                      <a:lnTo>
                        <a:pt x="124" y="449"/>
                      </a:lnTo>
                      <a:lnTo>
                        <a:pt x="125" y="438"/>
                      </a:lnTo>
                      <a:lnTo>
                        <a:pt x="125" y="431"/>
                      </a:lnTo>
                      <a:lnTo>
                        <a:pt x="122" y="423"/>
                      </a:lnTo>
                      <a:lnTo>
                        <a:pt x="124" y="421"/>
                      </a:lnTo>
                      <a:lnTo>
                        <a:pt x="137" y="427"/>
                      </a:lnTo>
                      <a:lnTo>
                        <a:pt x="139" y="422"/>
                      </a:lnTo>
                      <a:lnTo>
                        <a:pt x="135" y="413"/>
                      </a:lnTo>
                      <a:lnTo>
                        <a:pt x="144" y="418"/>
                      </a:lnTo>
                      <a:lnTo>
                        <a:pt x="156" y="416"/>
                      </a:lnTo>
                      <a:lnTo>
                        <a:pt x="157" y="412"/>
                      </a:lnTo>
                      <a:lnTo>
                        <a:pt x="145" y="410"/>
                      </a:lnTo>
                      <a:lnTo>
                        <a:pt x="150" y="404"/>
                      </a:lnTo>
                      <a:lnTo>
                        <a:pt x="143" y="400"/>
                      </a:lnTo>
                      <a:lnTo>
                        <a:pt x="124" y="397"/>
                      </a:lnTo>
                      <a:lnTo>
                        <a:pt x="116" y="388"/>
                      </a:lnTo>
                      <a:lnTo>
                        <a:pt x="116" y="380"/>
                      </a:lnTo>
                      <a:lnTo>
                        <a:pt x="119" y="382"/>
                      </a:lnTo>
                      <a:lnTo>
                        <a:pt x="121" y="372"/>
                      </a:lnTo>
                      <a:lnTo>
                        <a:pt x="138" y="348"/>
                      </a:lnTo>
                      <a:lnTo>
                        <a:pt x="124" y="357"/>
                      </a:lnTo>
                      <a:lnTo>
                        <a:pt x="116" y="373"/>
                      </a:lnTo>
                      <a:lnTo>
                        <a:pt x="109" y="380"/>
                      </a:lnTo>
                      <a:lnTo>
                        <a:pt x="109" y="364"/>
                      </a:lnTo>
                      <a:lnTo>
                        <a:pt x="107" y="356"/>
                      </a:lnTo>
                      <a:lnTo>
                        <a:pt x="107" y="345"/>
                      </a:lnTo>
                      <a:lnTo>
                        <a:pt x="109" y="336"/>
                      </a:lnTo>
                      <a:lnTo>
                        <a:pt x="97" y="348"/>
                      </a:lnTo>
                      <a:lnTo>
                        <a:pt x="90" y="342"/>
                      </a:lnTo>
                      <a:lnTo>
                        <a:pt x="86" y="352"/>
                      </a:lnTo>
                      <a:lnTo>
                        <a:pt x="80" y="348"/>
                      </a:lnTo>
                      <a:lnTo>
                        <a:pt x="76" y="353"/>
                      </a:lnTo>
                      <a:lnTo>
                        <a:pt x="73" y="341"/>
                      </a:lnTo>
                      <a:lnTo>
                        <a:pt x="73" y="325"/>
                      </a:lnTo>
                      <a:lnTo>
                        <a:pt x="65" y="319"/>
                      </a:lnTo>
                      <a:lnTo>
                        <a:pt x="57" y="335"/>
                      </a:lnTo>
                      <a:lnTo>
                        <a:pt x="55" y="346"/>
                      </a:lnTo>
                      <a:lnTo>
                        <a:pt x="51" y="331"/>
                      </a:lnTo>
                      <a:lnTo>
                        <a:pt x="46" y="336"/>
                      </a:lnTo>
                      <a:lnTo>
                        <a:pt x="44" y="347"/>
                      </a:lnTo>
                      <a:lnTo>
                        <a:pt x="32" y="347"/>
                      </a:lnTo>
                      <a:lnTo>
                        <a:pt x="26" y="346"/>
                      </a:lnTo>
                      <a:lnTo>
                        <a:pt x="22" y="341"/>
                      </a:lnTo>
                      <a:lnTo>
                        <a:pt x="16" y="340"/>
                      </a:lnTo>
                      <a:lnTo>
                        <a:pt x="10" y="330"/>
                      </a:lnTo>
                      <a:lnTo>
                        <a:pt x="3" y="309"/>
                      </a:lnTo>
                      <a:lnTo>
                        <a:pt x="1" y="294"/>
                      </a:lnTo>
                      <a:lnTo>
                        <a:pt x="0" y="280"/>
                      </a:lnTo>
                      <a:lnTo>
                        <a:pt x="3" y="269"/>
                      </a:lnTo>
                      <a:lnTo>
                        <a:pt x="3" y="255"/>
                      </a:lnTo>
                      <a:lnTo>
                        <a:pt x="6" y="246"/>
                      </a:lnTo>
                      <a:lnTo>
                        <a:pt x="21" y="234"/>
                      </a:lnTo>
                      <a:lnTo>
                        <a:pt x="27" y="242"/>
                      </a:lnTo>
                      <a:lnTo>
                        <a:pt x="33" y="235"/>
                      </a:lnTo>
                      <a:lnTo>
                        <a:pt x="43" y="234"/>
                      </a:lnTo>
                      <a:lnTo>
                        <a:pt x="42" y="244"/>
                      </a:lnTo>
                      <a:lnTo>
                        <a:pt x="48" y="249"/>
                      </a:lnTo>
                      <a:lnTo>
                        <a:pt x="52" y="240"/>
                      </a:lnTo>
                      <a:lnTo>
                        <a:pt x="53" y="230"/>
                      </a:lnTo>
                      <a:lnTo>
                        <a:pt x="57" y="228"/>
                      </a:lnTo>
                      <a:lnTo>
                        <a:pt x="58" y="206"/>
                      </a:lnTo>
                      <a:lnTo>
                        <a:pt x="64" y="206"/>
                      </a:lnTo>
                      <a:lnTo>
                        <a:pt x="65" y="199"/>
                      </a:lnTo>
                      <a:lnTo>
                        <a:pt x="62" y="189"/>
                      </a:lnTo>
                      <a:lnTo>
                        <a:pt x="70" y="186"/>
                      </a:lnTo>
                      <a:lnTo>
                        <a:pt x="70" y="174"/>
                      </a:lnTo>
                      <a:lnTo>
                        <a:pt x="74" y="171"/>
                      </a:lnTo>
                      <a:lnTo>
                        <a:pt x="79" y="162"/>
                      </a:lnTo>
                      <a:lnTo>
                        <a:pt x="85" y="156"/>
                      </a:lnTo>
                      <a:lnTo>
                        <a:pt x="86" y="149"/>
                      </a:lnTo>
                      <a:lnTo>
                        <a:pt x="75" y="158"/>
                      </a:lnTo>
                      <a:lnTo>
                        <a:pt x="71" y="152"/>
                      </a:lnTo>
                      <a:lnTo>
                        <a:pt x="76" y="140"/>
                      </a:lnTo>
                      <a:lnTo>
                        <a:pt x="68" y="141"/>
                      </a:lnTo>
                      <a:lnTo>
                        <a:pt x="52" y="126"/>
                      </a:lnTo>
                      <a:lnTo>
                        <a:pt x="55" y="111"/>
                      </a:lnTo>
                      <a:lnTo>
                        <a:pt x="73" y="97"/>
                      </a:lnTo>
                      <a:lnTo>
                        <a:pt x="85" y="90"/>
                      </a:lnTo>
                      <a:lnTo>
                        <a:pt x="91" y="95"/>
                      </a:lnTo>
                      <a:lnTo>
                        <a:pt x="103" y="87"/>
                      </a:lnTo>
                      <a:lnTo>
                        <a:pt x="95" y="87"/>
                      </a:lnTo>
                      <a:lnTo>
                        <a:pt x="90" y="81"/>
                      </a:lnTo>
                      <a:lnTo>
                        <a:pt x="94" y="74"/>
                      </a:lnTo>
                      <a:lnTo>
                        <a:pt x="100" y="72"/>
                      </a:lnTo>
                      <a:lnTo>
                        <a:pt x="97" y="66"/>
                      </a:lnTo>
                      <a:lnTo>
                        <a:pt x="92" y="61"/>
                      </a:lnTo>
                      <a:lnTo>
                        <a:pt x="91" y="52"/>
                      </a:lnTo>
                      <a:lnTo>
                        <a:pt x="109" y="30"/>
                      </a:lnTo>
                      <a:lnTo>
                        <a:pt x="124" y="2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9" name="Russia"/>
                <p:cNvSpPr>
                  <a:spLocks noChangeAspect="1"/>
                </p:cNvSpPr>
                <p:nvPr>
                  <p:custDataLst>
                    <p:tags r:id="rId296"/>
                  </p:custDataLst>
                </p:nvPr>
              </p:nvSpPr>
              <p:spPr bwMode="gray">
                <a:xfrm>
                  <a:off x="3104" y="1129"/>
                  <a:ext cx="169" cy="159"/>
                </a:xfrm>
                <a:custGeom>
                  <a:avLst/>
                  <a:gdLst/>
                  <a:ahLst/>
                  <a:cxnLst>
                    <a:cxn ang="0">
                      <a:pos x="31" y="669"/>
                    </a:cxn>
                    <a:cxn ang="0">
                      <a:pos x="88" y="629"/>
                    </a:cxn>
                    <a:cxn ang="0">
                      <a:pos x="84" y="616"/>
                    </a:cxn>
                    <a:cxn ang="0">
                      <a:pos x="83" y="578"/>
                    </a:cxn>
                    <a:cxn ang="0">
                      <a:pos x="109" y="554"/>
                    </a:cxn>
                    <a:cxn ang="0">
                      <a:pos x="106" y="527"/>
                    </a:cxn>
                    <a:cxn ang="0">
                      <a:pos x="144" y="509"/>
                    </a:cxn>
                    <a:cxn ang="0">
                      <a:pos x="113" y="481"/>
                    </a:cxn>
                    <a:cxn ang="0">
                      <a:pos x="103" y="457"/>
                    </a:cxn>
                    <a:cxn ang="0">
                      <a:pos x="105" y="410"/>
                    </a:cxn>
                    <a:cxn ang="0">
                      <a:pos x="163" y="404"/>
                    </a:cxn>
                    <a:cxn ang="0">
                      <a:pos x="230" y="351"/>
                    </a:cxn>
                    <a:cxn ang="0">
                      <a:pos x="259" y="310"/>
                    </a:cxn>
                    <a:cxn ang="0">
                      <a:pos x="302" y="253"/>
                    </a:cxn>
                    <a:cxn ang="0">
                      <a:pos x="372" y="196"/>
                    </a:cxn>
                    <a:cxn ang="0">
                      <a:pos x="385" y="219"/>
                    </a:cxn>
                    <a:cxn ang="0">
                      <a:pos x="398" y="169"/>
                    </a:cxn>
                    <a:cxn ang="0">
                      <a:pos x="426" y="161"/>
                    </a:cxn>
                    <a:cxn ang="0">
                      <a:pos x="502" y="184"/>
                    </a:cxn>
                    <a:cxn ang="0">
                      <a:pos x="572" y="161"/>
                    </a:cxn>
                    <a:cxn ang="0">
                      <a:pos x="615" y="124"/>
                    </a:cxn>
                    <a:cxn ang="0">
                      <a:pos x="660" y="105"/>
                    </a:cxn>
                    <a:cxn ang="0">
                      <a:pos x="689" y="39"/>
                    </a:cxn>
                    <a:cxn ang="0">
                      <a:pos x="750" y="0"/>
                    </a:cxn>
                    <a:cxn ang="0">
                      <a:pos x="832" y="36"/>
                    </a:cxn>
                    <a:cxn ang="0">
                      <a:pos x="829" y="110"/>
                    </a:cxn>
                    <a:cxn ang="0">
                      <a:pos x="799" y="176"/>
                    </a:cxn>
                    <a:cxn ang="0">
                      <a:pos x="733" y="221"/>
                    </a:cxn>
                    <a:cxn ang="0">
                      <a:pos x="648" y="244"/>
                    </a:cxn>
                    <a:cxn ang="0">
                      <a:pos x="614" y="276"/>
                    </a:cxn>
                    <a:cxn ang="0">
                      <a:pos x="540" y="304"/>
                    </a:cxn>
                    <a:cxn ang="0">
                      <a:pos x="472" y="372"/>
                    </a:cxn>
                    <a:cxn ang="0">
                      <a:pos x="391" y="442"/>
                    </a:cxn>
                    <a:cxn ang="0">
                      <a:pos x="374" y="453"/>
                    </a:cxn>
                    <a:cxn ang="0">
                      <a:pos x="358" y="511"/>
                    </a:cxn>
                    <a:cxn ang="0">
                      <a:pos x="331" y="520"/>
                    </a:cxn>
                    <a:cxn ang="0">
                      <a:pos x="294" y="530"/>
                    </a:cxn>
                    <a:cxn ang="0">
                      <a:pos x="297" y="562"/>
                    </a:cxn>
                    <a:cxn ang="0">
                      <a:pos x="249" y="547"/>
                    </a:cxn>
                    <a:cxn ang="0">
                      <a:pos x="273" y="603"/>
                    </a:cxn>
                    <a:cxn ang="0">
                      <a:pos x="262" y="625"/>
                    </a:cxn>
                    <a:cxn ang="0">
                      <a:pos x="251" y="651"/>
                    </a:cxn>
                    <a:cxn ang="0">
                      <a:pos x="213" y="601"/>
                    </a:cxn>
                    <a:cxn ang="0">
                      <a:pos x="221" y="652"/>
                    </a:cxn>
                    <a:cxn ang="0">
                      <a:pos x="228" y="687"/>
                    </a:cxn>
                    <a:cxn ang="0">
                      <a:pos x="179" y="679"/>
                    </a:cxn>
                    <a:cxn ang="0">
                      <a:pos x="211" y="723"/>
                    </a:cxn>
                    <a:cxn ang="0">
                      <a:pos x="185" y="718"/>
                    </a:cxn>
                    <a:cxn ang="0">
                      <a:pos x="192" y="760"/>
                    </a:cxn>
                    <a:cxn ang="0">
                      <a:pos x="159" y="794"/>
                    </a:cxn>
                    <a:cxn ang="0">
                      <a:pos x="82" y="761"/>
                    </a:cxn>
                    <a:cxn ang="0">
                      <a:pos x="39" y="757"/>
                    </a:cxn>
                    <a:cxn ang="0">
                      <a:pos x="63" y="724"/>
                    </a:cxn>
                    <a:cxn ang="0">
                      <a:pos x="52" y="713"/>
                    </a:cxn>
                    <a:cxn ang="0">
                      <a:pos x="0" y="692"/>
                    </a:cxn>
                  </a:cxnLst>
                  <a:rect l="0" t="0" r="r" b="b"/>
                  <a:pathLst>
                    <a:path w="843" h="796">
                      <a:moveTo>
                        <a:pt x="0" y="692"/>
                      </a:moveTo>
                      <a:lnTo>
                        <a:pt x="0" y="687"/>
                      </a:lnTo>
                      <a:lnTo>
                        <a:pt x="4" y="692"/>
                      </a:lnTo>
                      <a:lnTo>
                        <a:pt x="17" y="689"/>
                      </a:lnTo>
                      <a:lnTo>
                        <a:pt x="31" y="669"/>
                      </a:lnTo>
                      <a:lnTo>
                        <a:pt x="60" y="659"/>
                      </a:lnTo>
                      <a:lnTo>
                        <a:pt x="55" y="653"/>
                      </a:lnTo>
                      <a:lnTo>
                        <a:pt x="60" y="636"/>
                      </a:lnTo>
                      <a:lnTo>
                        <a:pt x="77" y="621"/>
                      </a:lnTo>
                      <a:lnTo>
                        <a:pt x="88" y="629"/>
                      </a:lnTo>
                      <a:lnTo>
                        <a:pt x="101" y="631"/>
                      </a:lnTo>
                      <a:lnTo>
                        <a:pt x="116" y="641"/>
                      </a:lnTo>
                      <a:lnTo>
                        <a:pt x="133" y="644"/>
                      </a:lnTo>
                      <a:lnTo>
                        <a:pt x="124" y="631"/>
                      </a:lnTo>
                      <a:lnTo>
                        <a:pt x="84" y="616"/>
                      </a:lnTo>
                      <a:lnTo>
                        <a:pt x="77" y="604"/>
                      </a:lnTo>
                      <a:lnTo>
                        <a:pt x="86" y="606"/>
                      </a:lnTo>
                      <a:lnTo>
                        <a:pt x="103" y="604"/>
                      </a:lnTo>
                      <a:lnTo>
                        <a:pt x="108" y="593"/>
                      </a:lnTo>
                      <a:lnTo>
                        <a:pt x="83" y="578"/>
                      </a:lnTo>
                      <a:lnTo>
                        <a:pt x="86" y="572"/>
                      </a:lnTo>
                      <a:lnTo>
                        <a:pt x="120" y="570"/>
                      </a:lnTo>
                      <a:lnTo>
                        <a:pt x="127" y="565"/>
                      </a:lnTo>
                      <a:lnTo>
                        <a:pt x="121" y="556"/>
                      </a:lnTo>
                      <a:lnTo>
                        <a:pt x="109" y="554"/>
                      </a:lnTo>
                      <a:lnTo>
                        <a:pt x="103" y="545"/>
                      </a:lnTo>
                      <a:lnTo>
                        <a:pt x="98" y="536"/>
                      </a:lnTo>
                      <a:lnTo>
                        <a:pt x="98" y="523"/>
                      </a:lnTo>
                      <a:lnTo>
                        <a:pt x="100" y="519"/>
                      </a:lnTo>
                      <a:lnTo>
                        <a:pt x="106" y="527"/>
                      </a:lnTo>
                      <a:lnTo>
                        <a:pt x="129" y="513"/>
                      </a:lnTo>
                      <a:lnTo>
                        <a:pt x="151" y="519"/>
                      </a:lnTo>
                      <a:lnTo>
                        <a:pt x="163" y="511"/>
                      </a:lnTo>
                      <a:lnTo>
                        <a:pt x="152" y="513"/>
                      </a:lnTo>
                      <a:lnTo>
                        <a:pt x="144" y="509"/>
                      </a:lnTo>
                      <a:lnTo>
                        <a:pt x="138" y="496"/>
                      </a:lnTo>
                      <a:lnTo>
                        <a:pt x="127" y="493"/>
                      </a:lnTo>
                      <a:lnTo>
                        <a:pt x="108" y="498"/>
                      </a:lnTo>
                      <a:lnTo>
                        <a:pt x="105" y="490"/>
                      </a:lnTo>
                      <a:lnTo>
                        <a:pt x="113" y="481"/>
                      </a:lnTo>
                      <a:lnTo>
                        <a:pt x="122" y="455"/>
                      </a:lnTo>
                      <a:lnTo>
                        <a:pt x="117" y="457"/>
                      </a:lnTo>
                      <a:lnTo>
                        <a:pt x="116" y="452"/>
                      </a:lnTo>
                      <a:lnTo>
                        <a:pt x="113" y="443"/>
                      </a:lnTo>
                      <a:lnTo>
                        <a:pt x="103" y="457"/>
                      </a:lnTo>
                      <a:lnTo>
                        <a:pt x="103" y="442"/>
                      </a:lnTo>
                      <a:lnTo>
                        <a:pt x="97" y="437"/>
                      </a:lnTo>
                      <a:lnTo>
                        <a:pt x="103" y="426"/>
                      </a:lnTo>
                      <a:lnTo>
                        <a:pt x="100" y="421"/>
                      </a:lnTo>
                      <a:lnTo>
                        <a:pt x="105" y="410"/>
                      </a:lnTo>
                      <a:lnTo>
                        <a:pt x="124" y="410"/>
                      </a:lnTo>
                      <a:lnTo>
                        <a:pt x="124" y="426"/>
                      </a:lnTo>
                      <a:lnTo>
                        <a:pt x="131" y="431"/>
                      </a:lnTo>
                      <a:lnTo>
                        <a:pt x="153" y="418"/>
                      </a:lnTo>
                      <a:lnTo>
                        <a:pt x="163" y="404"/>
                      </a:lnTo>
                      <a:lnTo>
                        <a:pt x="165" y="387"/>
                      </a:lnTo>
                      <a:lnTo>
                        <a:pt x="184" y="378"/>
                      </a:lnTo>
                      <a:lnTo>
                        <a:pt x="208" y="383"/>
                      </a:lnTo>
                      <a:lnTo>
                        <a:pt x="229" y="362"/>
                      </a:lnTo>
                      <a:lnTo>
                        <a:pt x="230" y="351"/>
                      </a:lnTo>
                      <a:lnTo>
                        <a:pt x="226" y="340"/>
                      </a:lnTo>
                      <a:lnTo>
                        <a:pt x="237" y="332"/>
                      </a:lnTo>
                      <a:lnTo>
                        <a:pt x="234" y="320"/>
                      </a:lnTo>
                      <a:lnTo>
                        <a:pt x="249" y="308"/>
                      </a:lnTo>
                      <a:lnTo>
                        <a:pt x="259" y="310"/>
                      </a:lnTo>
                      <a:lnTo>
                        <a:pt x="269" y="304"/>
                      </a:lnTo>
                      <a:lnTo>
                        <a:pt x="265" y="298"/>
                      </a:lnTo>
                      <a:lnTo>
                        <a:pt x="271" y="277"/>
                      </a:lnTo>
                      <a:lnTo>
                        <a:pt x="278" y="269"/>
                      </a:lnTo>
                      <a:lnTo>
                        <a:pt x="302" y="253"/>
                      </a:lnTo>
                      <a:lnTo>
                        <a:pt x="334" y="240"/>
                      </a:lnTo>
                      <a:lnTo>
                        <a:pt x="341" y="233"/>
                      </a:lnTo>
                      <a:lnTo>
                        <a:pt x="343" y="222"/>
                      </a:lnTo>
                      <a:lnTo>
                        <a:pt x="348" y="211"/>
                      </a:lnTo>
                      <a:lnTo>
                        <a:pt x="372" y="196"/>
                      </a:lnTo>
                      <a:lnTo>
                        <a:pt x="383" y="201"/>
                      </a:lnTo>
                      <a:lnTo>
                        <a:pt x="377" y="212"/>
                      </a:lnTo>
                      <a:lnTo>
                        <a:pt x="371" y="229"/>
                      </a:lnTo>
                      <a:lnTo>
                        <a:pt x="380" y="232"/>
                      </a:lnTo>
                      <a:lnTo>
                        <a:pt x="385" y="219"/>
                      </a:lnTo>
                      <a:lnTo>
                        <a:pt x="404" y="212"/>
                      </a:lnTo>
                      <a:lnTo>
                        <a:pt x="409" y="201"/>
                      </a:lnTo>
                      <a:lnTo>
                        <a:pt x="401" y="195"/>
                      </a:lnTo>
                      <a:lnTo>
                        <a:pt x="398" y="184"/>
                      </a:lnTo>
                      <a:lnTo>
                        <a:pt x="398" y="169"/>
                      </a:lnTo>
                      <a:lnTo>
                        <a:pt x="404" y="170"/>
                      </a:lnTo>
                      <a:lnTo>
                        <a:pt x="407" y="162"/>
                      </a:lnTo>
                      <a:lnTo>
                        <a:pt x="402" y="157"/>
                      </a:lnTo>
                      <a:lnTo>
                        <a:pt x="423" y="152"/>
                      </a:lnTo>
                      <a:lnTo>
                        <a:pt x="426" y="161"/>
                      </a:lnTo>
                      <a:lnTo>
                        <a:pt x="470" y="165"/>
                      </a:lnTo>
                      <a:lnTo>
                        <a:pt x="470" y="185"/>
                      </a:lnTo>
                      <a:lnTo>
                        <a:pt x="481" y="190"/>
                      </a:lnTo>
                      <a:lnTo>
                        <a:pt x="488" y="178"/>
                      </a:lnTo>
                      <a:lnTo>
                        <a:pt x="502" y="184"/>
                      </a:lnTo>
                      <a:lnTo>
                        <a:pt x="546" y="152"/>
                      </a:lnTo>
                      <a:lnTo>
                        <a:pt x="557" y="152"/>
                      </a:lnTo>
                      <a:lnTo>
                        <a:pt x="560" y="161"/>
                      </a:lnTo>
                      <a:lnTo>
                        <a:pt x="562" y="162"/>
                      </a:lnTo>
                      <a:lnTo>
                        <a:pt x="572" y="161"/>
                      </a:lnTo>
                      <a:lnTo>
                        <a:pt x="577" y="154"/>
                      </a:lnTo>
                      <a:lnTo>
                        <a:pt x="583" y="156"/>
                      </a:lnTo>
                      <a:lnTo>
                        <a:pt x="588" y="147"/>
                      </a:lnTo>
                      <a:lnTo>
                        <a:pt x="595" y="146"/>
                      </a:lnTo>
                      <a:lnTo>
                        <a:pt x="615" y="124"/>
                      </a:lnTo>
                      <a:lnTo>
                        <a:pt x="633" y="124"/>
                      </a:lnTo>
                      <a:lnTo>
                        <a:pt x="638" y="118"/>
                      </a:lnTo>
                      <a:lnTo>
                        <a:pt x="643" y="102"/>
                      </a:lnTo>
                      <a:lnTo>
                        <a:pt x="653" y="109"/>
                      </a:lnTo>
                      <a:lnTo>
                        <a:pt x="660" y="105"/>
                      </a:lnTo>
                      <a:lnTo>
                        <a:pt x="667" y="97"/>
                      </a:lnTo>
                      <a:lnTo>
                        <a:pt x="663" y="70"/>
                      </a:lnTo>
                      <a:lnTo>
                        <a:pt x="668" y="56"/>
                      </a:lnTo>
                      <a:lnTo>
                        <a:pt x="680" y="51"/>
                      </a:lnTo>
                      <a:lnTo>
                        <a:pt x="689" y="39"/>
                      </a:lnTo>
                      <a:lnTo>
                        <a:pt x="697" y="39"/>
                      </a:lnTo>
                      <a:lnTo>
                        <a:pt x="708" y="25"/>
                      </a:lnTo>
                      <a:lnTo>
                        <a:pt x="713" y="14"/>
                      </a:lnTo>
                      <a:lnTo>
                        <a:pt x="726" y="20"/>
                      </a:lnTo>
                      <a:lnTo>
                        <a:pt x="750" y="0"/>
                      </a:lnTo>
                      <a:lnTo>
                        <a:pt x="782" y="1"/>
                      </a:lnTo>
                      <a:lnTo>
                        <a:pt x="812" y="12"/>
                      </a:lnTo>
                      <a:lnTo>
                        <a:pt x="820" y="20"/>
                      </a:lnTo>
                      <a:lnTo>
                        <a:pt x="825" y="29"/>
                      </a:lnTo>
                      <a:lnTo>
                        <a:pt x="832" y="36"/>
                      </a:lnTo>
                      <a:lnTo>
                        <a:pt x="831" y="46"/>
                      </a:lnTo>
                      <a:lnTo>
                        <a:pt x="842" y="76"/>
                      </a:lnTo>
                      <a:lnTo>
                        <a:pt x="842" y="87"/>
                      </a:lnTo>
                      <a:lnTo>
                        <a:pt x="834" y="93"/>
                      </a:lnTo>
                      <a:lnTo>
                        <a:pt x="829" y="110"/>
                      </a:lnTo>
                      <a:lnTo>
                        <a:pt x="843" y="111"/>
                      </a:lnTo>
                      <a:lnTo>
                        <a:pt x="841" y="119"/>
                      </a:lnTo>
                      <a:lnTo>
                        <a:pt x="829" y="127"/>
                      </a:lnTo>
                      <a:lnTo>
                        <a:pt x="819" y="141"/>
                      </a:lnTo>
                      <a:lnTo>
                        <a:pt x="799" y="176"/>
                      </a:lnTo>
                      <a:lnTo>
                        <a:pt x="807" y="189"/>
                      </a:lnTo>
                      <a:lnTo>
                        <a:pt x="789" y="180"/>
                      </a:lnTo>
                      <a:lnTo>
                        <a:pt x="781" y="180"/>
                      </a:lnTo>
                      <a:lnTo>
                        <a:pt x="772" y="184"/>
                      </a:lnTo>
                      <a:lnTo>
                        <a:pt x="733" y="221"/>
                      </a:lnTo>
                      <a:lnTo>
                        <a:pt x="712" y="229"/>
                      </a:lnTo>
                      <a:lnTo>
                        <a:pt x="702" y="229"/>
                      </a:lnTo>
                      <a:lnTo>
                        <a:pt x="680" y="240"/>
                      </a:lnTo>
                      <a:lnTo>
                        <a:pt x="669" y="238"/>
                      </a:lnTo>
                      <a:lnTo>
                        <a:pt x="648" y="244"/>
                      </a:lnTo>
                      <a:lnTo>
                        <a:pt x="641" y="251"/>
                      </a:lnTo>
                      <a:lnTo>
                        <a:pt x="638" y="261"/>
                      </a:lnTo>
                      <a:lnTo>
                        <a:pt x="628" y="271"/>
                      </a:lnTo>
                      <a:lnTo>
                        <a:pt x="624" y="260"/>
                      </a:lnTo>
                      <a:lnTo>
                        <a:pt x="614" y="276"/>
                      </a:lnTo>
                      <a:lnTo>
                        <a:pt x="558" y="310"/>
                      </a:lnTo>
                      <a:lnTo>
                        <a:pt x="552" y="309"/>
                      </a:lnTo>
                      <a:lnTo>
                        <a:pt x="545" y="289"/>
                      </a:lnTo>
                      <a:lnTo>
                        <a:pt x="539" y="294"/>
                      </a:lnTo>
                      <a:lnTo>
                        <a:pt x="540" y="304"/>
                      </a:lnTo>
                      <a:lnTo>
                        <a:pt x="538" y="308"/>
                      </a:lnTo>
                      <a:lnTo>
                        <a:pt x="534" y="318"/>
                      </a:lnTo>
                      <a:lnTo>
                        <a:pt x="506" y="350"/>
                      </a:lnTo>
                      <a:lnTo>
                        <a:pt x="481" y="356"/>
                      </a:lnTo>
                      <a:lnTo>
                        <a:pt x="472" y="372"/>
                      </a:lnTo>
                      <a:lnTo>
                        <a:pt x="469" y="363"/>
                      </a:lnTo>
                      <a:lnTo>
                        <a:pt x="449" y="398"/>
                      </a:lnTo>
                      <a:lnTo>
                        <a:pt x="422" y="431"/>
                      </a:lnTo>
                      <a:lnTo>
                        <a:pt x="395" y="436"/>
                      </a:lnTo>
                      <a:lnTo>
                        <a:pt x="391" y="442"/>
                      </a:lnTo>
                      <a:lnTo>
                        <a:pt x="389" y="434"/>
                      </a:lnTo>
                      <a:lnTo>
                        <a:pt x="378" y="436"/>
                      </a:lnTo>
                      <a:lnTo>
                        <a:pt x="373" y="430"/>
                      </a:lnTo>
                      <a:lnTo>
                        <a:pt x="367" y="445"/>
                      </a:lnTo>
                      <a:lnTo>
                        <a:pt x="374" y="453"/>
                      </a:lnTo>
                      <a:lnTo>
                        <a:pt x="383" y="454"/>
                      </a:lnTo>
                      <a:lnTo>
                        <a:pt x="385" y="465"/>
                      </a:lnTo>
                      <a:lnTo>
                        <a:pt x="359" y="491"/>
                      </a:lnTo>
                      <a:lnTo>
                        <a:pt x="362" y="501"/>
                      </a:lnTo>
                      <a:lnTo>
                        <a:pt x="358" y="511"/>
                      </a:lnTo>
                      <a:lnTo>
                        <a:pt x="340" y="514"/>
                      </a:lnTo>
                      <a:lnTo>
                        <a:pt x="331" y="504"/>
                      </a:lnTo>
                      <a:lnTo>
                        <a:pt x="316" y="498"/>
                      </a:lnTo>
                      <a:lnTo>
                        <a:pt x="319" y="506"/>
                      </a:lnTo>
                      <a:lnTo>
                        <a:pt x="331" y="520"/>
                      </a:lnTo>
                      <a:lnTo>
                        <a:pt x="341" y="543"/>
                      </a:lnTo>
                      <a:lnTo>
                        <a:pt x="304" y="517"/>
                      </a:lnTo>
                      <a:lnTo>
                        <a:pt x="294" y="520"/>
                      </a:lnTo>
                      <a:lnTo>
                        <a:pt x="296" y="524"/>
                      </a:lnTo>
                      <a:lnTo>
                        <a:pt x="294" y="530"/>
                      </a:lnTo>
                      <a:lnTo>
                        <a:pt x="299" y="544"/>
                      </a:lnTo>
                      <a:lnTo>
                        <a:pt x="304" y="549"/>
                      </a:lnTo>
                      <a:lnTo>
                        <a:pt x="293" y="541"/>
                      </a:lnTo>
                      <a:lnTo>
                        <a:pt x="291" y="547"/>
                      </a:lnTo>
                      <a:lnTo>
                        <a:pt x="297" y="562"/>
                      </a:lnTo>
                      <a:lnTo>
                        <a:pt x="293" y="570"/>
                      </a:lnTo>
                      <a:lnTo>
                        <a:pt x="285" y="571"/>
                      </a:lnTo>
                      <a:lnTo>
                        <a:pt x="280" y="561"/>
                      </a:lnTo>
                      <a:lnTo>
                        <a:pt x="251" y="538"/>
                      </a:lnTo>
                      <a:lnTo>
                        <a:pt x="249" y="547"/>
                      </a:lnTo>
                      <a:lnTo>
                        <a:pt x="262" y="561"/>
                      </a:lnTo>
                      <a:lnTo>
                        <a:pt x="270" y="574"/>
                      </a:lnTo>
                      <a:lnTo>
                        <a:pt x="278" y="593"/>
                      </a:lnTo>
                      <a:lnTo>
                        <a:pt x="278" y="604"/>
                      </a:lnTo>
                      <a:lnTo>
                        <a:pt x="273" y="603"/>
                      </a:lnTo>
                      <a:lnTo>
                        <a:pt x="271" y="610"/>
                      </a:lnTo>
                      <a:lnTo>
                        <a:pt x="270" y="620"/>
                      </a:lnTo>
                      <a:lnTo>
                        <a:pt x="264" y="613"/>
                      </a:lnTo>
                      <a:lnTo>
                        <a:pt x="261" y="613"/>
                      </a:lnTo>
                      <a:lnTo>
                        <a:pt x="262" y="625"/>
                      </a:lnTo>
                      <a:lnTo>
                        <a:pt x="265" y="629"/>
                      </a:lnTo>
                      <a:lnTo>
                        <a:pt x="260" y="633"/>
                      </a:lnTo>
                      <a:lnTo>
                        <a:pt x="251" y="625"/>
                      </a:lnTo>
                      <a:lnTo>
                        <a:pt x="249" y="636"/>
                      </a:lnTo>
                      <a:lnTo>
                        <a:pt x="251" y="651"/>
                      </a:lnTo>
                      <a:lnTo>
                        <a:pt x="244" y="653"/>
                      </a:lnTo>
                      <a:lnTo>
                        <a:pt x="239" y="644"/>
                      </a:lnTo>
                      <a:lnTo>
                        <a:pt x="232" y="643"/>
                      </a:lnTo>
                      <a:lnTo>
                        <a:pt x="228" y="630"/>
                      </a:lnTo>
                      <a:lnTo>
                        <a:pt x="213" y="601"/>
                      </a:lnTo>
                      <a:lnTo>
                        <a:pt x="207" y="621"/>
                      </a:lnTo>
                      <a:lnTo>
                        <a:pt x="210" y="633"/>
                      </a:lnTo>
                      <a:lnTo>
                        <a:pt x="197" y="640"/>
                      </a:lnTo>
                      <a:lnTo>
                        <a:pt x="213" y="646"/>
                      </a:lnTo>
                      <a:lnTo>
                        <a:pt x="221" y="652"/>
                      </a:lnTo>
                      <a:lnTo>
                        <a:pt x="221" y="663"/>
                      </a:lnTo>
                      <a:lnTo>
                        <a:pt x="230" y="668"/>
                      </a:lnTo>
                      <a:lnTo>
                        <a:pt x="226" y="671"/>
                      </a:lnTo>
                      <a:lnTo>
                        <a:pt x="228" y="678"/>
                      </a:lnTo>
                      <a:lnTo>
                        <a:pt x="228" y="687"/>
                      </a:lnTo>
                      <a:lnTo>
                        <a:pt x="226" y="700"/>
                      </a:lnTo>
                      <a:lnTo>
                        <a:pt x="216" y="701"/>
                      </a:lnTo>
                      <a:lnTo>
                        <a:pt x="211" y="686"/>
                      </a:lnTo>
                      <a:lnTo>
                        <a:pt x="205" y="684"/>
                      </a:lnTo>
                      <a:lnTo>
                        <a:pt x="179" y="679"/>
                      </a:lnTo>
                      <a:lnTo>
                        <a:pt x="170" y="681"/>
                      </a:lnTo>
                      <a:lnTo>
                        <a:pt x="179" y="689"/>
                      </a:lnTo>
                      <a:lnTo>
                        <a:pt x="194" y="691"/>
                      </a:lnTo>
                      <a:lnTo>
                        <a:pt x="207" y="712"/>
                      </a:lnTo>
                      <a:lnTo>
                        <a:pt x="211" y="723"/>
                      </a:lnTo>
                      <a:lnTo>
                        <a:pt x="207" y="730"/>
                      </a:lnTo>
                      <a:lnTo>
                        <a:pt x="202" y="733"/>
                      </a:lnTo>
                      <a:lnTo>
                        <a:pt x="200" y="739"/>
                      </a:lnTo>
                      <a:lnTo>
                        <a:pt x="190" y="730"/>
                      </a:lnTo>
                      <a:lnTo>
                        <a:pt x="185" y="718"/>
                      </a:lnTo>
                      <a:lnTo>
                        <a:pt x="174" y="714"/>
                      </a:lnTo>
                      <a:lnTo>
                        <a:pt x="179" y="732"/>
                      </a:lnTo>
                      <a:lnTo>
                        <a:pt x="184" y="744"/>
                      </a:lnTo>
                      <a:lnTo>
                        <a:pt x="191" y="751"/>
                      </a:lnTo>
                      <a:lnTo>
                        <a:pt x="192" y="760"/>
                      </a:lnTo>
                      <a:lnTo>
                        <a:pt x="185" y="769"/>
                      </a:lnTo>
                      <a:lnTo>
                        <a:pt x="180" y="781"/>
                      </a:lnTo>
                      <a:lnTo>
                        <a:pt x="174" y="782"/>
                      </a:lnTo>
                      <a:lnTo>
                        <a:pt x="167" y="796"/>
                      </a:lnTo>
                      <a:lnTo>
                        <a:pt x="159" y="794"/>
                      </a:lnTo>
                      <a:lnTo>
                        <a:pt x="152" y="788"/>
                      </a:lnTo>
                      <a:lnTo>
                        <a:pt x="133" y="789"/>
                      </a:lnTo>
                      <a:lnTo>
                        <a:pt x="115" y="777"/>
                      </a:lnTo>
                      <a:lnTo>
                        <a:pt x="97" y="776"/>
                      </a:lnTo>
                      <a:lnTo>
                        <a:pt x="82" y="761"/>
                      </a:lnTo>
                      <a:lnTo>
                        <a:pt x="61" y="764"/>
                      </a:lnTo>
                      <a:lnTo>
                        <a:pt x="39" y="777"/>
                      </a:lnTo>
                      <a:lnTo>
                        <a:pt x="24" y="776"/>
                      </a:lnTo>
                      <a:lnTo>
                        <a:pt x="35" y="766"/>
                      </a:lnTo>
                      <a:lnTo>
                        <a:pt x="39" y="757"/>
                      </a:lnTo>
                      <a:lnTo>
                        <a:pt x="33" y="757"/>
                      </a:lnTo>
                      <a:lnTo>
                        <a:pt x="34" y="745"/>
                      </a:lnTo>
                      <a:lnTo>
                        <a:pt x="39" y="738"/>
                      </a:lnTo>
                      <a:lnTo>
                        <a:pt x="56" y="723"/>
                      </a:lnTo>
                      <a:lnTo>
                        <a:pt x="63" y="724"/>
                      </a:lnTo>
                      <a:lnTo>
                        <a:pt x="78" y="713"/>
                      </a:lnTo>
                      <a:lnTo>
                        <a:pt x="77" y="711"/>
                      </a:lnTo>
                      <a:lnTo>
                        <a:pt x="68" y="703"/>
                      </a:lnTo>
                      <a:lnTo>
                        <a:pt x="63" y="711"/>
                      </a:lnTo>
                      <a:lnTo>
                        <a:pt x="52" y="713"/>
                      </a:lnTo>
                      <a:lnTo>
                        <a:pt x="40" y="727"/>
                      </a:lnTo>
                      <a:lnTo>
                        <a:pt x="18" y="724"/>
                      </a:lnTo>
                      <a:lnTo>
                        <a:pt x="17" y="714"/>
                      </a:lnTo>
                      <a:lnTo>
                        <a:pt x="4" y="706"/>
                      </a:lnTo>
                      <a:lnTo>
                        <a:pt x="0" y="69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0" name="Russia"/>
                <p:cNvSpPr>
                  <a:spLocks noChangeAspect="1"/>
                </p:cNvSpPr>
                <p:nvPr>
                  <p:custDataLst>
                    <p:tags r:id="rId297"/>
                  </p:custDataLst>
                </p:nvPr>
              </p:nvSpPr>
              <p:spPr bwMode="gray">
                <a:xfrm>
                  <a:off x="3090" y="1355"/>
                  <a:ext cx="9" cy="16"/>
                </a:xfrm>
                <a:custGeom>
                  <a:avLst/>
                  <a:gdLst/>
                  <a:ahLst/>
                  <a:cxnLst>
                    <a:cxn ang="0">
                      <a:pos x="0" y="11"/>
                    </a:cxn>
                    <a:cxn ang="0">
                      <a:pos x="0" y="8"/>
                    </a:cxn>
                    <a:cxn ang="0">
                      <a:pos x="13" y="0"/>
                    </a:cxn>
                    <a:cxn ang="0">
                      <a:pos x="23" y="5"/>
                    </a:cxn>
                    <a:cxn ang="0">
                      <a:pos x="33" y="16"/>
                    </a:cxn>
                    <a:cxn ang="0">
                      <a:pos x="35" y="10"/>
                    </a:cxn>
                    <a:cxn ang="0">
                      <a:pos x="47" y="30"/>
                    </a:cxn>
                    <a:cxn ang="0">
                      <a:pos x="48" y="40"/>
                    </a:cxn>
                    <a:cxn ang="0">
                      <a:pos x="47" y="53"/>
                    </a:cxn>
                    <a:cxn ang="0">
                      <a:pos x="44" y="57"/>
                    </a:cxn>
                    <a:cxn ang="0">
                      <a:pos x="45" y="68"/>
                    </a:cxn>
                    <a:cxn ang="0">
                      <a:pos x="48" y="78"/>
                    </a:cxn>
                    <a:cxn ang="0">
                      <a:pos x="44" y="81"/>
                    </a:cxn>
                    <a:cxn ang="0">
                      <a:pos x="38" y="59"/>
                    </a:cxn>
                    <a:cxn ang="0">
                      <a:pos x="31" y="46"/>
                    </a:cxn>
                    <a:cxn ang="0">
                      <a:pos x="24" y="27"/>
                    </a:cxn>
                    <a:cxn ang="0">
                      <a:pos x="4" y="19"/>
                    </a:cxn>
                    <a:cxn ang="0">
                      <a:pos x="0" y="11"/>
                    </a:cxn>
                  </a:cxnLst>
                  <a:rect l="0" t="0" r="r" b="b"/>
                  <a:pathLst>
                    <a:path w="48" h="81">
                      <a:moveTo>
                        <a:pt x="0" y="11"/>
                      </a:moveTo>
                      <a:lnTo>
                        <a:pt x="0" y="8"/>
                      </a:lnTo>
                      <a:lnTo>
                        <a:pt x="13" y="0"/>
                      </a:lnTo>
                      <a:lnTo>
                        <a:pt x="23" y="5"/>
                      </a:lnTo>
                      <a:lnTo>
                        <a:pt x="33" y="16"/>
                      </a:lnTo>
                      <a:lnTo>
                        <a:pt x="35" y="10"/>
                      </a:lnTo>
                      <a:lnTo>
                        <a:pt x="47" y="30"/>
                      </a:lnTo>
                      <a:lnTo>
                        <a:pt x="48" y="40"/>
                      </a:lnTo>
                      <a:lnTo>
                        <a:pt x="47" y="53"/>
                      </a:lnTo>
                      <a:lnTo>
                        <a:pt x="44" y="57"/>
                      </a:lnTo>
                      <a:lnTo>
                        <a:pt x="45" y="68"/>
                      </a:lnTo>
                      <a:lnTo>
                        <a:pt x="48" y="78"/>
                      </a:lnTo>
                      <a:lnTo>
                        <a:pt x="44" y="81"/>
                      </a:lnTo>
                      <a:lnTo>
                        <a:pt x="38" y="59"/>
                      </a:lnTo>
                      <a:lnTo>
                        <a:pt x="31" y="46"/>
                      </a:lnTo>
                      <a:lnTo>
                        <a:pt x="24" y="27"/>
                      </a:lnTo>
                      <a:lnTo>
                        <a:pt x="4" y="19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1" name="Russia"/>
                <p:cNvSpPr>
                  <a:spLocks noChangeAspect="1"/>
                </p:cNvSpPr>
                <p:nvPr>
                  <p:custDataLst>
                    <p:tags r:id="rId298"/>
                  </p:custDataLst>
                </p:nvPr>
              </p:nvSpPr>
              <p:spPr bwMode="gray">
                <a:xfrm>
                  <a:off x="4042" y="1314"/>
                  <a:ext cx="17" cy="13"/>
                </a:xfrm>
                <a:custGeom>
                  <a:avLst/>
                  <a:gdLst/>
                  <a:ahLst/>
                  <a:cxnLst>
                    <a:cxn ang="0">
                      <a:pos x="44" y="7"/>
                    </a:cxn>
                    <a:cxn ang="0">
                      <a:pos x="57" y="9"/>
                    </a:cxn>
                    <a:cxn ang="0">
                      <a:pos x="84" y="4"/>
                    </a:cxn>
                    <a:cxn ang="0">
                      <a:pos x="85" y="7"/>
                    </a:cxn>
                    <a:cxn ang="0">
                      <a:pos x="84" y="14"/>
                    </a:cxn>
                    <a:cxn ang="0">
                      <a:pos x="79" y="27"/>
                    </a:cxn>
                    <a:cxn ang="0">
                      <a:pos x="76" y="37"/>
                    </a:cxn>
                    <a:cxn ang="0">
                      <a:pos x="71" y="45"/>
                    </a:cxn>
                    <a:cxn ang="0">
                      <a:pos x="70" y="40"/>
                    </a:cxn>
                    <a:cxn ang="0">
                      <a:pos x="70" y="26"/>
                    </a:cxn>
                    <a:cxn ang="0">
                      <a:pos x="62" y="51"/>
                    </a:cxn>
                    <a:cxn ang="0">
                      <a:pos x="54" y="50"/>
                    </a:cxn>
                    <a:cxn ang="0">
                      <a:pos x="44" y="42"/>
                    </a:cxn>
                    <a:cxn ang="0">
                      <a:pos x="36" y="52"/>
                    </a:cxn>
                    <a:cxn ang="0">
                      <a:pos x="20" y="51"/>
                    </a:cxn>
                    <a:cxn ang="0">
                      <a:pos x="17" y="57"/>
                    </a:cxn>
                    <a:cxn ang="0">
                      <a:pos x="13" y="61"/>
                    </a:cxn>
                    <a:cxn ang="0">
                      <a:pos x="0" y="46"/>
                    </a:cxn>
                    <a:cxn ang="0">
                      <a:pos x="4" y="40"/>
                    </a:cxn>
                    <a:cxn ang="0">
                      <a:pos x="11" y="37"/>
                    </a:cxn>
                    <a:cxn ang="0">
                      <a:pos x="10" y="29"/>
                    </a:cxn>
                    <a:cxn ang="0">
                      <a:pos x="13" y="23"/>
                    </a:cxn>
                    <a:cxn ang="0">
                      <a:pos x="19" y="20"/>
                    </a:cxn>
                    <a:cxn ang="0">
                      <a:pos x="19" y="14"/>
                    </a:cxn>
                    <a:cxn ang="0">
                      <a:pos x="16" y="4"/>
                    </a:cxn>
                    <a:cxn ang="0">
                      <a:pos x="25" y="0"/>
                    </a:cxn>
                    <a:cxn ang="0">
                      <a:pos x="41" y="2"/>
                    </a:cxn>
                    <a:cxn ang="0">
                      <a:pos x="44" y="3"/>
                    </a:cxn>
                    <a:cxn ang="0">
                      <a:pos x="44" y="7"/>
                    </a:cxn>
                  </a:cxnLst>
                  <a:rect l="0" t="0" r="r" b="b"/>
                  <a:pathLst>
                    <a:path w="85" h="61">
                      <a:moveTo>
                        <a:pt x="44" y="7"/>
                      </a:moveTo>
                      <a:lnTo>
                        <a:pt x="57" y="9"/>
                      </a:lnTo>
                      <a:lnTo>
                        <a:pt x="84" y="4"/>
                      </a:lnTo>
                      <a:lnTo>
                        <a:pt x="85" y="7"/>
                      </a:lnTo>
                      <a:lnTo>
                        <a:pt x="84" y="14"/>
                      </a:lnTo>
                      <a:lnTo>
                        <a:pt x="79" y="27"/>
                      </a:lnTo>
                      <a:lnTo>
                        <a:pt x="76" y="37"/>
                      </a:lnTo>
                      <a:lnTo>
                        <a:pt x="71" y="45"/>
                      </a:lnTo>
                      <a:lnTo>
                        <a:pt x="70" y="40"/>
                      </a:lnTo>
                      <a:lnTo>
                        <a:pt x="70" y="26"/>
                      </a:lnTo>
                      <a:lnTo>
                        <a:pt x="62" y="51"/>
                      </a:lnTo>
                      <a:lnTo>
                        <a:pt x="54" y="50"/>
                      </a:lnTo>
                      <a:lnTo>
                        <a:pt x="44" y="42"/>
                      </a:lnTo>
                      <a:lnTo>
                        <a:pt x="36" y="52"/>
                      </a:lnTo>
                      <a:lnTo>
                        <a:pt x="20" y="51"/>
                      </a:lnTo>
                      <a:lnTo>
                        <a:pt x="17" y="57"/>
                      </a:lnTo>
                      <a:lnTo>
                        <a:pt x="13" y="61"/>
                      </a:lnTo>
                      <a:lnTo>
                        <a:pt x="0" y="46"/>
                      </a:lnTo>
                      <a:lnTo>
                        <a:pt x="4" y="40"/>
                      </a:lnTo>
                      <a:lnTo>
                        <a:pt x="11" y="37"/>
                      </a:lnTo>
                      <a:lnTo>
                        <a:pt x="10" y="29"/>
                      </a:lnTo>
                      <a:lnTo>
                        <a:pt x="13" y="23"/>
                      </a:lnTo>
                      <a:lnTo>
                        <a:pt x="19" y="20"/>
                      </a:lnTo>
                      <a:lnTo>
                        <a:pt x="19" y="14"/>
                      </a:lnTo>
                      <a:lnTo>
                        <a:pt x="16" y="4"/>
                      </a:lnTo>
                      <a:lnTo>
                        <a:pt x="25" y="0"/>
                      </a:lnTo>
                      <a:lnTo>
                        <a:pt x="41" y="2"/>
                      </a:lnTo>
                      <a:lnTo>
                        <a:pt x="44" y="3"/>
                      </a:lnTo>
                      <a:lnTo>
                        <a:pt x="44" y="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2" name="Russia"/>
                <p:cNvSpPr>
                  <a:spLocks noChangeAspect="1"/>
                </p:cNvSpPr>
                <p:nvPr>
                  <p:custDataLst>
                    <p:tags r:id="rId299"/>
                  </p:custDataLst>
                </p:nvPr>
              </p:nvSpPr>
              <p:spPr bwMode="gray">
                <a:xfrm>
                  <a:off x="3158" y="1386"/>
                  <a:ext cx="22" cy="25"/>
                </a:xfrm>
                <a:custGeom>
                  <a:avLst/>
                  <a:gdLst/>
                  <a:ahLst/>
                  <a:cxnLst>
                    <a:cxn ang="0">
                      <a:pos x="15" y="75"/>
                    </a:cxn>
                    <a:cxn ang="0">
                      <a:pos x="12" y="75"/>
                    </a:cxn>
                    <a:cxn ang="0">
                      <a:pos x="7" y="57"/>
                    </a:cxn>
                    <a:cxn ang="0">
                      <a:pos x="7" y="49"/>
                    </a:cxn>
                    <a:cxn ang="0">
                      <a:pos x="3" y="47"/>
                    </a:cxn>
                    <a:cxn ang="0">
                      <a:pos x="0" y="36"/>
                    </a:cxn>
                    <a:cxn ang="0">
                      <a:pos x="10" y="41"/>
                    </a:cxn>
                    <a:cxn ang="0">
                      <a:pos x="19" y="38"/>
                    </a:cxn>
                    <a:cxn ang="0">
                      <a:pos x="6" y="25"/>
                    </a:cxn>
                    <a:cxn ang="0">
                      <a:pos x="10" y="23"/>
                    </a:cxn>
                    <a:cxn ang="0">
                      <a:pos x="15" y="15"/>
                    </a:cxn>
                    <a:cxn ang="0">
                      <a:pos x="19" y="3"/>
                    </a:cxn>
                    <a:cxn ang="0">
                      <a:pos x="27" y="0"/>
                    </a:cxn>
                    <a:cxn ang="0">
                      <a:pos x="37" y="16"/>
                    </a:cxn>
                    <a:cxn ang="0">
                      <a:pos x="46" y="23"/>
                    </a:cxn>
                    <a:cxn ang="0">
                      <a:pos x="52" y="38"/>
                    </a:cxn>
                    <a:cxn ang="0">
                      <a:pos x="68" y="46"/>
                    </a:cxn>
                    <a:cxn ang="0">
                      <a:pos x="82" y="62"/>
                    </a:cxn>
                    <a:cxn ang="0">
                      <a:pos x="109" y="98"/>
                    </a:cxn>
                    <a:cxn ang="0">
                      <a:pos x="112" y="108"/>
                    </a:cxn>
                    <a:cxn ang="0">
                      <a:pos x="103" y="123"/>
                    </a:cxn>
                    <a:cxn ang="0">
                      <a:pos x="96" y="118"/>
                    </a:cxn>
                    <a:cxn ang="0">
                      <a:pos x="89" y="117"/>
                    </a:cxn>
                    <a:cxn ang="0">
                      <a:pos x="85" y="122"/>
                    </a:cxn>
                    <a:cxn ang="0">
                      <a:pos x="74" y="122"/>
                    </a:cxn>
                    <a:cxn ang="0">
                      <a:pos x="60" y="112"/>
                    </a:cxn>
                    <a:cxn ang="0">
                      <a:pos x="64" y="103"/>
                    </a:cxn>
                    <a:cxn ang="0">
                      <a:pos x="54" y="96"/>
                    </a:cxn>
                    <a:cxn ang="0">
                      <a:pos x="44" y="95"/>
                    </a:cxn>
                    <a:cxn ang="0">
                      <a:pos x="26" y="82"/>
                    </a:cxn>
                    <a:cxn ang="0">
                      <a:pos x="31" y="95"/>
                    </a:cxn>
                    <a:cxn ang="0">
                      <a:pos x="39" y="106"/>
                    </a:cxn>
                    <a:cxn ang="0">
                      <a:pos x="37" y="113"/>
                    </a:cxn>
                    <a:cxn ang="0">
                      <a:pos x="28" y="95"/>
                    </a:cxn>
                    <a:cxn ang="0">
                      <a:pos x="15" y="75"/>
                    </a:cxn>
                  </a:cxnLst>
                  <a:rect l="0" t="0" r="r" b="b"/>
                  <a:pathLst>
                    <a:path w="112" h="123">
                      <a:moveTo>
                        <a:pt x="15" y="75"/>
                      </a:moveTo>
                      <a:lnTo>
                        <a:pt x="12" y="75"/>
                      </a:lnTo>
                      <a:lnTo>
                        <a:pt x="7" y="57"/>
                      </a:lnTo>
                      <a:lnTo>
                        <a:pt x="7" y="49"/>
                      </a:lnTo>
                      <a:lnTo>
                        <a:pt x="3" y="47"/>
                      </a:lnTo>
                      <a:lnTo>
                        <a:pt x="0" y="36"/>
                      </a:lnTo>
                      <a:lnTo>
                        <a:pt x="10" y="41"/>
                      </a:lnTo>
                      <a:lnTo>
                        <a:pt x="19" y="38"/>
                      </a:lnTo>
                      <a:lnTo>
                        <a:pt x="6" y="25"/>
                      </a:lnTo>
                      <a:lnTo>
                        <a:pt x="10" y="23"/>
                      </a:lnTo>
                      <a:lnTo>
                        <a:pt x="15" y="15"/>
                      </a:lnTo>
                      <a:lnTo>
                        <a:pt x="19" y="3"/>
                      </a:lnTo>
                      <a:lnTo>
                        <a:pt x="27" y="0"/>
                      </a:lnTo>
                      <a:lnTo>
                        <a:pt x="37" y="16"/>
                      </a:lnTo>
                      <a:lnTo>
                        <a:pt x="46" y="23"/>
                      </a:lnTo>
                      <a:lnTo>
                        <a:pt x="52" y="38"/>
                      </a:lnTo>
                      <a:lnTo>
                        <a:pt x="68" y="46"/>
                      </a:lnTo>
                      <a:lnTo>
                        <a:pt x="82" y="62"/>
                      </a:lnTo>
                      <a:lnTo>
                        <a:pt x="109" y="98"/>
                      </a:lnTo>
                      <a:lnTo>
                        <a:pt x="112" y="108"/>
                      </a:lnTo>
                      <a:lnTo>
                        <a:pt x="103" y="123"/>
                      </a:lnTo>
                      <a:lnTo>
                        <a:pt x="96" y="118"/>
                      </a:lnTo>
                      <a:lnTo>
                        <a:pt x="89" y="117"/>
                      </a:lnTo>
                      <a:lnTo>
                        <a:pt x="85" y="122"/>
                      </a:lnTo>
                      <a:lnTo>
                        <a:pt x="74" y="122"/>
                      </a:lnTo>
                      <a:lnTo>
                        <a:pt x="60" y="112"/>
                      </a:lnTo>
                      <a:lnTo>
                        <a:pt x="64" y="103"/>
                      </a:lnTo>
                      <a:lnTo>
                        <a:pt x="54" y="96"/>
                      </a:lnTo>
                      <a:lnTo>
                        <a:pt x="44" y="95"/>
                      </a:lnTo>
                      <a:lnTo>
                        <a:pt x="26" y="82"/>
                      </a:lnTo>
                      <a:lnTo>
                        <a:pt x="31" y="95"/>
                      </a:lnTo>
                      <a:lnTo>
                        <a:pt x="39" y="106"/>
                      </a:lnTo>
                      <a:lnTo>
                        <a:pt x="37" y="113"/>
                      </a:lnTo>
                      <a:lnTo>
                        <a:pt x="28" y="95"/>
                      </a:lnTo>
                      <a:lnTo>
                        <a:pt x="15" y="7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3" name="Russia"/>
                <p:cNvSpPr>
                  <a:spLocks noChangeAspect="1"/>
                </p:cNvSpPr>
                <p:nvPr>
                  <p:custDataLst>
                    <p:tags r:id="rId300"/>
                  </p:custDataLst>
                </p:nvPr>
              </p:nvSpPr>
              <p:spPr bwMode="gray">
                <a:xfrm>
                  <a:off x="3534" y="960"/>
                  <a:ext cx="81" cy="75"/>
                </a:xfrm>
                <a:custGeom>
                  <a:avLst/>
                  <a:gdLst/>
                  <a:ahLst/>
                  <a:cxnLst>
                    <a:cxn ang="0">
                      <a:pos x="81" y="49"/>
                    </a:cxn>
                    <a:cxn ang="0">
                      <a:pos x="90" y="63"/>
                    </a:cxn>
                    <a:cxn ang="0">
                      <a:pos x="54" y="79"/>
                    </a:cxn>
                    <a:cxn ang="0">
                      <a:pos x="47" y="106"/>
                    </a:cxn>
                    <a:cxn ang="0">
                      <a:pos x="0" y="138"/>
                    </a:cxn>
                    <a:cxn ang="0">
                      <a:pos x="17" y="168"/>
                    </a:cxn>
                    <a:cxn ang="0">
                      <a:pos x="19" y="154"/>
                    </a:cxn>
                    <a:cxn ang="0">
                      <a:pos x="31" y="142"/>
                    </a:cxn>
                    <a:cxn ang="0">
                      <a:pos x="45" y="154"/>
                    </a:cxn>
                    <a:cxn ang="0">
                      <a:pos x="51" y="168"/>
                    </a:cxn>
                    <a:cxn ang="0">
                      <a:pos x="71" y="160"/>
                    </a:cxn>
                    <a:cxn ang="0">
                      <a:pos x="75" y="181"/>
                    </a:cxn>
                    <a:cxn ang="0">
                      <a:pos x="76" y="220"/>
                    </a:cxn>
                    <a:cxn ang="0">
                      <a:pos x="83" y="247"/>
                    </a:cxn>
                    <a:cxn ang="0">
                      <a:pos x="103" y="276"/>
                    </a:cxn>
                    <a:cxn ang="0">
                      <a:pos x="120" y="302"/>
                    </a:cxn>
                    <a:cxn ang="0">
                      <a:pos x="157" y="255"/>
                    </a:cxn>
                    <a:cxn ang="0">
                      <a:pos x="161" y="298"/>
                    </a:cxn>
                    <a:cxn ang="0">
                      <a:pos x="176" y="300"/>
                    </a:cxn>
                    <a:cxn ang="0">
                      <a:pos x="185" y="313"/>
                    </a:cxn>
                    <a:cxn ang="0">
                      <a:pos x="233" y="338"/>
                    </a:cxn>
                    <a:cxn ang="0">
                      <a:pos x="260" y="354"/>
                    </a:cxn>
                    <a:cxn ang="0">
                      <a:pos x="327" y="373"/>
                    </a:cxn>
                    <a:cxn ang="0">
                      <a:pos x="350" y="366"/>
                    </a:cxn>
                    <a:cxn ang="0">
                      <a:pos x="365" y="348"/>
                    </a:cxn>
                    <a:cxn ang="0">
                      <a:pos x="375" y="322"/>
                    </a:cxn>
                    <a:cxn ang="0">
                      <a:pos x="377" y="295"/>
                    </a:cxn>
                    <a:cxn ang="0">
                      <a:pos x="366" y="262"/>
                    </a:cxn>
                    <a:cxn ang="0">
                      <a:pos x="339" y="232"/>
                    </a:cxn>
                    <a:cxn ang="0">
                      <a:pos x="371" y="232"/>
                    </a:cxn>
                    <a:cxn ang="0">
                      <a:pos x="376" y="190"/>
                    </a:cxn>
                    <a:cxn ang="0">
                      <a:pos x="377" y="160"/>
                    </a:cxn>
                    <a:cxn ang="0">
                      <a:pos x="383" y="139"/>
                    </a:cxn>
                    <a:cxn ang="0">
                      <a:pos x="405" y="107"/>
                    </a:cxn>
                    <a:cxn ang="0">
                      <a:pos x="386" y="103"/>
                    </a:cxn>
                    <a:cxn ang="0">
                      <a:pos x="390" y="72"/>
                    </a:cxn>
                    <a:cxn ang="0">
                      <a:pos x="384" y="65"/>
                    </a:cxn>
                    <a:cxn ang="0">
                      <a:pos x="367" y="18"/>
                    </a:cxn>
                    <a:cxn ang="0">
                      <a:pos x="359" y="0"/>
                    </a:cxn>
                    <a:cxn ang="0">
                      <a:pos x="335" y="2"/>
                    </a:cxn>
                    <a:cxn ang="0">
                      <a:pos x="306" y="0"/>
                    </a:cxn>
                    <a:cxn ang="0">
                      <a:pos x="306" y="32"/>
                    </a:cxn>
                    <a:cxn ang="0">
                      <a:pos x="269" y="75"/>
                    </a:cxn>
                    <a:cxn ang="0">
                      <a:pos x="237" y="95"/>
                    </a:cxn>
                    <a:cxn ang="0">
                      <a:pos x="255" y="66"/>
                    </a:cxn>
                    <a:cxn ang="0">
                      <a:pos x="265" y="45"/>
                    </a:cxn>
                    <a:cxn ang="0">
                      <a:pos x="291" y="2"/>
                    </a:cxn>
                    <a:cxn ang="0">
                      <a:pos x="97" y="0"/>
                    </a:cxn>
                    <a:cxn ang="0">
                      <a:pos x="77" y="32"/>
                    </a:cxn>
                  </a:cxnLst>
                  <a:rect l="0" t="0" r="r" b="b"/>
                  <a:pathLst>
                    <a:path w="405" h="373">
                      <a:moveTo>
                        <a:pt x="77" y="32"/>
                      </a:moveTo>
                      <a:lnTo>
                        <a:pt x="81" y="49"/>
                      </a:lnTo>
                      <a:lnTo>
                        <a:pt x="91" y="55"/>
                      </a:lnTo>
                      <a:lnTo>
                        <a:pt x="90" y="63"/>
                      </a:lnTo>
                      <a:lnTo>
                        <a:pt x="80" y="72"/>
                      </a:lnTo>
                      <a:lnTo>
                        <a:pt x="54" y="79"/>
                      </a:lnTo>
                      <a:lnTo>
                        <a:pt x="49" y="91"/>
                      </a:lnTo>
                      <a:lnTo>
                        <a:pt x="47" y="106"/>
                      </a:lnTo>
                      <a:lnTo>
                        <a:pt x="16" y="141"/>
                      </a:lnTo>
                      <a:lnTo>
                        <a:pt x="0" y="138"/>
                      </a:lnTo>
                      <a:lnTo>
                        <a:pt x="13" y="149"/>
                      </a:lnTo>
                      <a:lnTo>
                        <a:pt x="17" y="168"/>
                      </a:lnTo>
                      <a:lnTo>
                        <a:pt x="21" y="163"/>
                      </a:lnTo>
                      <a:lnTo>
                        <a:pt x="19" y="154"/>
                      </a:lnTo>
                      <a:lnTo>
                        <a:pt x="21" y="146"/>
                      </a:lnTo>
                      <a:lnTo>
                        <a:pt x="31" y="142"/>
                      </a:lnTo>
                      <a:lnTo>
                        <a:pt x="38" y="160"/>
                      </a:lnTo>
                      <a:lnTo>
                        <a:pt x="45" y="154"/>
                      </a:lnTo>
                      <a:lnTo>
                        <a:pt x="50" y="158"/>
                      </a:lnTo>
                      <a:lnTo>
                        <a:pt x="51" y="168"/>
                      </a:lnTo>
                      <a:lnTo>
                        <a:pt x="64" y="160"/>
                      </a:lnTo>
                      <a:lnTo>
                        <a:pt x="71" y="160"/>
                      </a:lnTo>
                      <a:lnTo>
                        <a:pt x="71" y="168"/>
                      </a:lnTo>
                      <a:lnTo>
                        <a:pt x="75" y="181"/>
                      </a:lnTo>
                      <a:lnTo>
                        <a:pt x="76" y="192"/>
                      </a:lnTo>
                      <a:lnTo>
                        <a:pt x="76" y="220"/>
                      </a:lnTo>
                      <a:lnTo>
                        <a:pt x="77" y="236"/>
                      </a:lnTo>
                      <a:lnTo>
                        <a:pt x="83" y="247"/>
                      </a:lnTo>
                      <a:lnTo>
                        <a:pt x="97" y="257"/>
                      </a:lnTo>
                      <a:lnTo>
                        <a:pt x="103" y="276"/>
                      </a:lnTo>
                      <a:lnTo>
                        <a:pt x="115" y="289"/>
                      </a:lnTo>
                      <a:lnTo>
                        <a:pt x="120" y="302"/>
                      </a:lnTo>
                      <a:lnTo>
                        <a:pt x="144" y="278"/>
                      </a:lnTo>
                      <a:lnTo>
                        <a:pt x="157" y="255"/>
                      </a:lnTo>
                      <a:lnTo>
                        <a:pt x="160" y="269"/>
                      </a:lnTo>
                      <a:lnTo>
                        <a:pt x="161" y="298"/>
                      </a:lnTo>
                      <a:lnTo>
                        <a:pt x="166" y="306"/>
                      </a:lnTo>
                      <a:lnTo>
                        <a:pt x="176" y="300"/>
                      </a:lnTo>
                      <a:lnTo>
                        <a:pt x="187" y="303"/>
                      </a:lnTo>
                      <a:lnTo>
                        <a:pt x="185" y="313"/>
                      </a:lnTo>
                      <a:lnTo>
                        <a:pt x="228" y="327"/>
                      </a:lnTo>
                      <a:lnTo>
                        <a:pt x="233" y="338"/>
                      </a:lnTo>
                      <a:lnTo>
                        <a:pt x="254" y="348"/>
                      </a:lnTo>
                      <a:lnTo>
                        <a:pt x="260" y="354"/>
                      </a:lnTo>
                      <a:lnTo>
                        <a:pt x="265" y="366"/>
                      </a:lnTo>
                      <a:lnTo>
                        <a:pt x="327" y="373"/>
                      </a:lnTo>
                      <a:lnTo>
                        <a:pt x="338" y="365"/>
                      </a:lnTo>
                      <a:lnTo>
                        <a:pt x="350" y="366"/>
                      </a:lnTo>
                      <a:lnTo>
                        <a:pt x="351" y="351"/>
                      </a:lnTo>
                      <a:lnTo>
                        <a:pt x="365" y="348"/>
                      </a:lnTo>
                      <a:lnTo>
                        <a:pt x="376" y="338"/>
                      </a:lnTo>
                      <a:lnTo>
                        <a:pt x="375" y="322"/>
                      </a:lnTo>
                      <a:lnTo>
                        <a:pt x="377" y="313"/>
                      </a:lnTo>
                      <a:lnTo>
                        <a:pt x="377" y="295"/>
                      </a:lnTo>
                      <a:lnTo>
                        <a:pt x="365" y="275"/>
                      </a:lnTo>
                      <a:lnTo>
                        <a:pt x="366" y="262"/>
                      </a:lnTo>
                      <a:lnTo>
                        <a:pt x="356" y="259"/>
                      </a:lnTo>
                      <a:lnTo>
                        <a:pt x="339" y="232"/>
                      </a:lnTo>
                      <a:lnTo>
                        <a:pt x="336" y="212"/>
                      </a:lnTo>
                      <a:lnTo>
                        <a:pt x="371" y="232"/>
                      </a:lnTo>
                      <a:lnTo>
                        <a:pt x="376" y="216"/>
                      </a:lnTo>
                      <a:lnTo>
                        <a:pt x="376" y="190"/>
                      </a:lnTo>
                      <a:lnTo>
                        <a:pt x="375" y="163"/>
                      </a:lnTo>
                      <a:lnTo>
                        <a:pt x="377" y="160"/>
                      </a:lnTo>
                      <a:lnTo>
                        <a:pt x="378" y="147"/>
                      </a:lnTo>
                      <a:lnTo>
                        <a:pt x="383" y="139"/>
                      </a:lnTo>
                      <a:lnTo>
                        <a:pt x="388" y="113"/>
                      </a:lnTo>
                      <a:lnTo>
                        <a:pt x="405" y="107"/>
                      </a:lnTo>
                      <a:lnTo>
                        <a:pt x="399" y="102"/>
                      </a:lnTo>
                      <a:lnTo>
                        <a:pt x="386" y="103"/>
                      </a:lnTo>
                      <a:lnTo>
                        <a:pt x="384" y="90"/>
                      </a:lnTo>
                      <a:lnTo>
                        <a:pt x="390" y="72"/>
                      </a:lnTo>
                      <a:lnTo>
                        <a:pt x="392" y="60"/>
                      </a:lnTo>
                      <a:lnTo>
                        <a:pt x="384" y="65"/>
                      </a:lnTo>
                      <a:lnTo>
                        <a:pt x="386" y="53"/>
                      </a:lnTo>
                      <a:lnTo>
                        <a:pt x="367" y="18"/>
                      </a:lnTo>
                      <a:lnTo>
                        <a:pt x="366" y="6"/>
                      </a:lnTo>
                      <a:lnTo>
                        <a:pt x="359" y="0"/>
                      </a:lnTo>
                      <a:lnTo>
                        <a:pt x="344" y="0"/>
                      </a:lnTo>
                      <a:lnTo>
                        <a:pt x="335" y="2"/>
                      </a:lnTo>
                      <a:lnTo>
                        <a:pt x="330" y="0"/>
                      </a:lnTo>
                      <a:lnTo>
                        <a:pt x="306" y="0"/>
                      </a:lnTo>
                      <a:lnTo>
                        <a:pt x="308" y="2"/>
                      </a:lnTo>
                      <a:lnTo>
                        <a:pt x="306" y="32"/>
                      </a:lnTo>
                      <a:lnTo>
                        <a:pt x="282" y="50"/>
                      </a:lnTo>
                      <a:lnTo>
                        <a:pt x="269" y="75"/>
                      </a:lnTo>
                      <a:lnTo>
                        <a:pt x="253" y="77"/>
                      </a:lnTo>
                      <a:lnTo>
                        <a:pt x="237" y="95"/>
                      </a:lnTo>
                      <a:lnTo>
                        <a:pt x="223" y="92"/>
                      </a:lnTo>
                      <a:lnTo>
                        <a:pt x="255" y="66"/>
                      </a:lnTo>
                      <a:lnTo>
                        <a:pt x="265" y="68"/>
                      </a:lnTo>
                      <a:lnTo>
                        <a:pt x="265" y="45"/>
                      </a:lnTo>
                      <a:lnTo>
                        <a:pt x="290" y="33"/>
                      </a:lnTo>
                      <a:lnTo>
                        <a:pt x="291" y="2"/>
                      </a:lnTo>
                      <a:lnTo>
                        <a:pt x="290" y="0"/>
                      </a:lnTo>
                      <a:lnTo>
                        <a:pt x="97" y="0"/>
                      </a:lnTo>
                      <a:lnTo>
                        <a:pt x="83" y="15"/>
                      </a:lnTo>
                      <a:lnTo>
                        <a:pt x="77" y="3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4" name="Russia"/>
                <p:cNvSpPr>
                  <a:spLocks noChangeAspect="1"/>
                </p:cNvSpPr>
                <p:nvPr>
                  <p:custDataLst>
                    <p:tags r:id="rId301"/>
                  </p:custDataLst>
                </p:nvPr>
              </p:nvSpPr>
              <p:spPr bwMode="gray">
                <a:xfrm>
                  <a:off x="4473" y="1348"/>
                  <a:ext cx="44" cy="25"/>
                </a:xfrm>
                <a:custGeom>
                  <a:avLst/>
                  <a:gdLst/>
                  <a:ahLst/>
                  <a:cxnLst>
                    <a:cxn ang="0">
                      <a:pos x="82" y="99"/>
                    </a:cxn>
                    <a:cxn ang="0">
                      <a:pos x="78" y="98"/>
                    </a:cxn>
                    <a:cxn ang="0">
                      <a:pos x="69" y="103"/>
                    </a:cxn>
                    <a:cxn ang="0">
                      <a:pos x="63" y="110"/>
                    </a:cxn>
                    <a:cxn ang="0">
                      <a:pos x="60" y="119"/>
                    </a:cxn>
                    <a:cxn ang="0">
                      <a:pos x="38" y="121"/>
                    </a:cxn>
                    <a:cxn ang="0">
                      <a:pos x="36" y="118"/>
                    </a:cxn>
                    <a:cxn ang="0">
                      <a:pos x="16" y="125"/>
                    </a:cxn>
                    <a:cxn ang="0">
                      <a:pos x="15" y="116"/>
                    </a:cxn>
                    <a:cxn ang="0">
                      <a:pos x="4" y="100"/>
                    </a:cxn>
                    <a:cxn ang="0">
                      <a:pos x="0" y="91"/>
                    </a:cxn>
                    <a:cxn ang="0">
                      <a:pos x="4" y="78"/>
                    </a:cxn>
                    <a:cxn ang="0">
                      <a:pos x="12" y="72"/>
                    </a:cxn>
                    <a:cxn ang="0">
                      <a:pos x="16" y="60"/>
                    </a:cxn>
                    <a:cxn ang="0">
                      <a:pos x="36" y="43"/>
                    </a:cxn>
                    <a:cxn ang="0">
                      <a:pos x="42" y="33"/>
                    </a:cxn>
                    <a:cxn ang="0">
                      <a:pos x="55" y="19"/>
                    </a:cxn>
                    <a:cxn ang="0">
                      <a:pos x="63" y="19"/>
                    </a:cxn>
                    <a:cxn ang="0">
                      <a:pos x="66" y="10"/>
                    </a:cxn>
                    <a:cxn ang="0">
                      <a:pos x="82" y="5"/>
                    </a:cxn>
                    <a:cxn ang="0">
                      <a:pos x="82" y="3"/>
                    </a:cxn>
                    <a:cxn ang="0">
                      <a:pos x="82" y="5"/>
                    </a:cxn>
                    <a:cxn ang="0">
                      <a:pos x="84" y="3"/>
                    </a:cxn>
                    <a:cxn ang="0">
                      <a:pos x="84" y="5"/>
                    </a:cxn>
                    <a:cxn ang="0">
                      <a:pos x="90" y="6"/>
                    </a:cxn>
                    <a:cxn ang="0">
                      <a:pos x="101" y="1"/>
                    </a:cxn>
                    <a:cxn ang="0">
                      <a:pos x="114" y="10"/>
                    </a:cxn>
                    <a:cxn ang="0">
                      <a:pos x="127" y="1"/>
                    </a:cxn>
                    <a:cxn ang="0">
                      <a:pos x="133" y="3"/>
                    </a:cxn>
                    <a:cxn ang="0">
                      <a:pos x="135" y="0"/>
                    </a:cxn>
                    <a:cxn ang="0">
                      <a:pos x="156" y="11"/>
                    </a:cxn>
                    <a:cxn ang="0">
                      <a:pos x="184" y="19"/>
                    </a:cxn>
                    <a:cxn ang="0">
                      <a:pos x="188" y="24"/>
                    </a:cxn>
                    <a:cxn ang="0">
                      <a:pos x="186" y="28"/>
                    </a:cxn>
                    <a:cxn ang="0">
                      <a:pos x="186" y="32"/>
                    </a:cxn>
                    <a:cxn ang="0">
                      <a:pos x="214" y="55"/>
                    </a:cxn>
                    <a:cxn ang="0">
                      <a:pos x="218" y="67"/>
                    </a:cxn>
                    <a:cxn ang="0">
                      <a:pos x="214" y="77"/>
                    </a:cxn>
                    <a:cxn ang="0">
                      <a:pos x="193" y="91"/>
                    </a:cxn>
                    <a:cxn ang="0">
                      <a:pos x="143" y="107"/>
                    </a:cxn>
                    <a:cxn ang="0">
                      <a:pos x="133" y="113"/>
                    </a:cxn>
                    <a:cxn ang="0">
                      <a:pos x="113" y="109"/>
                    </a:cxn>
                    <a:cxn ang="0">
                      <a:pos x="107" y="104"/>
                    </a:cxn>
                    <a:cxn ang="0">
                      <a:pos x="82" y="100"/>
                    </a:cxn>
                    <a:cxn ang="0">
                      <a:pos x="82" y="99"/>
                    </a:cxn>
                  </a:cxnLst>
                  <a:rect l="0" t="0" r="r" b="b"/>
                  <a:pathLst>
                    <a:path w="218" h="125">
                      <a:moveTo>
                        <a:pt x="82" y="99"/>
                      </a:moveTo>
                      <a:lnTo>
                        <a:pt x="78" y="98"/>
                      </a:lnTo>
                      <a:lnTo>
                        <a:pt x="69" y="103"/>
                      </a:lnTo>
                      <a:lnTo>
                        <a:pt x="63" y="110"/>
                      </a:lnTo>
                      <a:lnTo>
                        <a:pt x="60" y="119"/>
                      </a:lnTo>
                      <a:lnTo>
                        <a:pt x="38" y="121"/>
                      </a:lnTo>
                      <a:lnTo>
                        <a:pt x="36" y="118"/>
                      </a:lnTo>
                      <a:lnTo>
                        <a:pt x="16" y="125"/>
                      </a:lnTo>
                      <a:lnTo>
                        <a:pt x="15" y="116"/>
                      </a:lnTo>
                      <a:lnTo>
                        <a:pt x="4" y="100"/>
                      </a:lnTo>
                      <a:lnTo>
                        <a:pt x="0" y="91"/>
                      </a:lnTo>
                      <a:lnTo>
                        <a:pt x="4" y="78"/>
                      </a:lnTo>
                      <a:lnTo>
                        <a:pt x="12" y="72"/>
                      </a:lnTo>
                      <a:lnTo>
                        <a:pt x="16" y="60"/>
                      </a:lnTo>
                      <a:lnTo>
                        <a:pt x="36" y="43"/>
                      </a:lnTo>
                      <a:lnTo>
                        <a:pt x="42" y="33"/>
                      </a:lnTo>
                      <a:lnTo>
                        <a:pt x="55" y="19"/>
                      </a:lnTo>
                      <a:lnTo>
                        <a:pt x="63" y="19"/>
                      </a:lnTo>
                      <a:lnTo>
                        <a:pt x="66" y="10"/>
                      </a:lnTo>
                      <a:lnTo>
                        <a:pt x="82" y="5"/>
                      </a:lnTo>
                      <a:lnTo>
                        <a:pt x="82" y="3"/>
                      </a:lnTo>
                      <a:lnTo>
                        <a:pt x="82" y="5"/>
                      </a:lnTo>
                      <a:lnTo>
                        <a:pt x="84" y="3"/>
                      </a:lnTo>
                      <a:lnTo>
                        <a:pt x="84" y="5"/>
                      </a:lnTo>
                      <a:lnTo>
                        <a:pt x="90" y="6"/>
                      </a:lnTo>
                      <a:lnTo>
                        <a:pt x="101" y="1"/>
                      </a:lnTo>
                      <a:lnTo>
                        <a:pt x="114" y="10"/>
                      </a:lnTo>
                      <a:lnTo>
                        <a:pt x="127" y="1"/>
                      </a:lnTo>
                      <a:lnTo>
                        <a:pt x="133" y="3"/>
                      </a:lnTo>
                      <a:lnTo>
                        <a:pt x="135" y="0"/>
                      </a:lnTo>
                      <a:lnTo>
                        <a:pt x="156" y="11"/>
                      </a:lnTo>
                      <a:lnTo>
                        <a:pt x="184" y="19"/>
                      </a:lnTo>
                      <a:lnTo>
                        <a:pt x="188" y="24"/>
                      </a:lnTo>
                      <a:lnTo>
                        <a:pt x="186" y="28"/>
                      </a:lnTo>
                      <a:lnTo>
                        <a:pt x="186" y="32"/>
                      </a:lnTo>
                      <a:lnTo>
                        <a:pt x="214" y="55"/>
                      </a:lnTo>
                      <a:lnTo>
                        <a:pt x="218" y="67"/>
                      </a:lnTo>
                      <a:lnTo>
                        <a:pt x="214" y="77"/>
                      </a:lnTo>
                      <a:lnTo>
                        <a:pt x="193" y="91"/>
                      </a:lnTo>
                      <a:lnTo>
                        <a:pt x="143" y="107"/>
                      </a:lnTo>
                      <a:lnTo>
                        <a:pt x="133" y="113"/>
                      </a:lnTo>
                      <a:lnTo>
                        <a:pt x="113" y="109"/>
                      </a:lnTo>
                      <a:lnTo>
                        <a:pt x="107" y="104"/>
                      </a:lnTo>
                      <a:lnTo>
                        <a:pt x="82" y="100"/>
                      </a:lnTo>
                      <a:lnTo>
                        <a:pt x="82" y="9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310" name="Russia"/>
              <p:cNvSpPr>
                <a:spLocks noChangeAspect="1"/>
              </p:cNvSpPr>
              <p:nvPr>
                <p:custDataLst>
                  <p:tags r:id="rId287"/>
                </p:custDataLst>
              </p:nvPr>
            </p:nvSpPr>
            <p:spPr bwMode="gray">
              <a:xfrm>
                <a:off x="8076931" y="2972581"/>
                <a:ext cx="79580" cy="337046"/>
              </a:xfrm>
              <a:custGeom>
                <a:avLst/>
                <a:gdLst/>
                <a:ahLst/>
                <a:cxnLst>
                  <a:cxn ang="0">
                    <a:pos x="55" y="0"/>
                  </a:cxn>
                  <a:cxn ang="0">
                    <a:pos x="69" y="22"/>
                  </a:cxn>
                  <a:cxn ang="0">
                    <a:pos x="76" y="79"/>
                  </a:cxn>
                  <a:cxn ang="0">
                    <a:pos x="92" y="144"/>
                  </a:cxn>
                  <a:cxn ang="0">
                    <a:pos x="90" y="187"/>
                  </a:cxn>
                  <a:cxn ang="0">
                    <a:pos x="84" y="210"/>
                  </a:cxn>
                  <a:cxn ang="0">
                    <a:pos x="90" y="243"/>
                  </a:cxn>
                  <a:cxn ang="0">
                    <a:pos x="92" y="257"/>
                  </a:cxn>
                  <a:cxn ang="0">
                    <a:pos x="102" y="289"/>
                  </a:cxn>
                  <a:cxn ang="0">
                    <a:pos x="116" y="344"/>
                  </a:cxn>
                  <a:cxn ang="0">
                    <a:pos x="139" y="425"/>
                  </a:cxn>
                  <a:cxn ang="0">
                    <a:pos x="150" y="459"/>
                  </a:cxn>
                  <a:cxn ang="0">
                    <a:pos x="168" y="487"/>
                  </a:cxn>
                  <a:cxn ang="0">
                    <a:pos x="149" y="466"/>
                  </a:cxn>
                  <a:cxn ang="0">
                    <a:pos x="119" y="448"/>
                  </a:cxn>
                  <a:cxn ang="0">
                    <a:pos x="92" y="447"/>
                  </a:cxn>
                  <a:cxn ang="0">
                    <a:pos x="75" y="475"/>
                  </a:cxn>
                  <a:cxn ang="0">
                    <a:pos x="65" y="509"/>
                  </a:cxn>
                  <a:cxn ang="0">
                    <a:pos x="53" y="566"/>
                  </a:cxn>
                  <a:cxn ang="0">
                    <a:pos x="61" y="602"/>
                  </a:cxn>
                  <a:cxn ang="0">
                    <a:pos x="80" y="635"/>
                  </a:cxn>
                  <a:cxn ang="0">
                    <a:pos x="89" y="651"/>
                  </a:cxn>
                  <a:cxn ang="0">
                    <a:pos x="100" y="654"/>
                  </a:cxn>
                  <a:cxn ang="0">
                    <a:pos x="108" y="684"/>
                  </a:cxn>
                  <a:cxn ang="0">
                    <a:pos x="102" y="713"/>
                  </a:cxn>
                  <a:cxn ang="0">
                    <a:pos x="69" y="663"/>
                  </a:cxn>
                  <a:cxn ang="0">
                    <a:pos x="46" y="673"/>
                  </a:cxn>
                  <a:cxn ang="0">
                    <a:pos x="31" y="721"/>
                  </a:cxn>
                  <a:cxn ang="0">
                    <a:pos x="15" y="689"/>
                  </a:cxn>
                  <a:cxn ang="0">
                    <a:pos x="21" y="623"/>
                  </a:cxn>
                  <a:cxn ang="0">
                    <a:pos x="32" y="554"/>
                  </a:cxn>
                  <a:cxn ang="0">
                    <a:pos x="23" y="522"/>
                  </a:cxn>
                  <a:cxn ang="0">
                    <a:pos x="17" y="479"/>
                  </a:cxn>
                  <a:cxn ang="0">
                    <a:pos x="28" y="425"/>
                  </a:cxn>
                  <a:cxn ang="0">
                    <a:pos x="32" y="392"/>
                  </a:cxn>
                  <a:cxn ang="0">
                    <a:pos x="30" y="375"/>
                  </a:cxn>
                  <a:cxn ang="0">
                    <a:pos x="25" y="348"/>
                  </a:cxn>
                  <a:cxn ang="0">
                    <a:pos x="31" y="297"/>
                  </a:cxn>
                  <a:cxn ang="0">
                    <a:pos x="21" y="260"/>
                  </a:cxn>
                  <a:cxn ang="0">
                    <a:pos x="4" y="243"/>
                  </a:cxn>
                  <a:cxn ang="0">
                    <a:pos x="3" y="226"/>
                  </a:cxn>
                  <a:cxn ang="0">
                    <a:pos x="0" y="188"/>
                  </a:cxn>
                  <a:cxn ang="0">
                    <a:pos x="12" y="125"/>
                  </a:cxn>
                  <a:cxn ang="0">
                    <a:pos x="9" y="96"/>
                  </a:cxn>
                  <a:cxn ang="0">
                    <a:pos x="25" y="79"/>
                  </a:cxn>
                  <a:cxn ang="0">
                    <a:pos x="37" y="87"/>
                  </a:cxn>
                  <a:cxn ang="0">
                    <a:pos x="50" y="81"/>
                  </a:cxn>
                  <a:cxn ang="0">
                    <a:pos x="50" y="66"/>
                  </a:cxn>
                  <a:cxn ang="0">
                    <a:pos x="59" y="64"/>
                  </a:cxn>
                  <a:cxn ang="0">
                    <a:pos x="49" y="33"/>
                  </a:cxn>
                  <a:cxn ang="0">
                    <a:pos x="38" y="9"/>
                  </a:cxn>
                  <a:cxn ang="0">
                    <a:pos x="47" y="6"/>
                  </a:cxn>
                </a:cxnLst>
                <a:rect l="0" t="0" r="r" b="b"/>
                <a:pathLst>
                  <a:path w="170" h="721">
                    <a:moveTo>
                      <a:pt x="52" y="3"/>
                    </a:moveTo>
                    <a:lnTo>
                      <a:pt x="55" y="0"/>
                    </a:lnTo>
                    <a:lnTo>
                      <a:pt x="63" y="4"/>
                    </a:lnTo>
                    <a:lnTo>
                      <a:pt x="69" y="22"/>
                    </a:lnTo>
                    <a:lnTo>
                      <a:pt x="73" y="59"/>
                    </a:lnTo>
                    <a:lnTo>
                      <a:pt x="76" y="79"/>
                    </a:lnTo>
                    <a:lnTo>
                      <a:pt x="87" y="113"/>
                    </a:lnTo>
                    <a:lnTo>
                      <a:pt x="92" y="144"/>
                    </a:lnTo>
                    <a:lnTo>
                      <a:pt x="93" y="166"/>
                    </a:lnTo>
                    <a:lnTo>
                      <a:pt x="90" y="187"/>
                    </a:lnTo>
                    <a:lnTo>
                      <a:pt x="82" y="192"/>
                    </a:lnTo>
                    <a:lnTo>
                      <a:pt x="84" y="210"/>
                    </a:lnTo>
                    <a:lnTo>
                      <a:pt x="89" y="229"/>
                    </a:lnTo>
                    <a:lnTo>
                      <a:pt x="90" y="243"/>
                    </a:lnTo>
                    <a:lnTo>
                      <a:pt x="89" y="258"/>
                    </a:lnTo>
                    <a:lnTo>
                      <a:pt x="92" y="257"/>
                    </a:lnTo>
                    <a:lnTo>
                      <a:pt x="98" y="272"/>
                    </a:lnTo>
                    <a:lnTo>
                      <a:pt x="102" y="289"/>
                    </a:lnTo>
                    <a:lnTo>
                      <a:pt x="103" y="292"/>
                    </a:lnTo>
                    <a:lnTo>
                      <a:pt x="116" y="344"/>
                    </a:lnTo>
                    <a:lnTo>
                      <a:pt x="135" y="407"/>
                    </a:lnTo>
                    <a:lnTo>
                      <a:pt x="139" y="425"/>
                    </a:lnTo>
                    <a:lnTo>
                      <a:pt x="144" y="445"/>
                    </a:lnTo>
                    <a:lnTo>
                      <a:pt x="150" y="459"/>
                    </a:lnTo>
                    <a:lnTo>
                      <a:pt x="157" y="474"/>
                    </a:lnTo>
                    <a:lnTo>
                      <a:pt x="168" y="487"/>
                    </a:lnTo>
                    <a:lnTo>
                      <a:pt x="170" y="496"/>
                    </a:lnTo>
                    <a:lnTo>
                      <a:pt x="149" y="466"/>
                    </a:lnTo>
                    <a:lnTo>
                      <a:pt x="135" y="456"/>
                    </a:lnTo>
                    <a:lnTo>
                      <a:pt x="119" y="448"/>
                    </a:lnTo>
                    <a:lnTo>
                      <a:pt x="104" y="445"/>
                    </a:lnTo>
                    <a:lnTo>
                      <a:pt x="92" y="447"/>
                    </a:lnTo>
                    <a:lnTo>
                      <a:pt x="80" y="457"/>
                    </a:lnTo>
                    <a:lnTo>
                      <a:pt x="75" y="475"/>
                    </a:lnTo>
                    <a:lnTo>
                      <a:pt x="73" y="491"/>
                    </a:lnTo>
                    <a:lnTo>
                      <a:pt x="65" y="509"/>
                    </a:lnTo>
                    <a:lnTo>
                      <a:pt x="55" y="549"/>
                    </a:lnTo>
                    <a:lnTo>
                      <a:pt x="53" y="566"/>
                    </a:lnTo>
                    <a:lnTo>
                      <a:pt x="53" y="586"/>
                    </a:lnTo>
                    <a:lnTo>
                      <a:pt x="61" y="602"/>
                    </a:lnTo>
                    <a:lnTo>
                      <a:pt x="77" y="623"/>
                    </a:lnTo>
                    <a:lnTo>
                      <a:pt x="80" y="635"/>
                    </a:lnTo>
                    <a:lnTo>
                      <a:pt x="84" y="645"/>
                    </a:lnTo>
                    <a:lnTo>
                      <a:pt x="89" y="651"/>
                    </a:lnTo>
                    <a:lnTo>
                      <a:pt x="97" y="656"/>
                    </a:lnTo>
                    <a:lnTo>
                      <a:pt x="100" y="654"/>
                    </a:lnTo>
                    <a:lnTo>
                      <a:pt x="103" y="657"/>
                    </a:lnTo>
                    <a:lnTo>
                      <a:pt x="108" y="684"/>
                    </a:lnTo>
                    <a:lnTo>
                      <a:pt x="107" y="700"/>
                    </a:lnTo>
                    <a:lnTo>
                      <a:pt x="102" y="713"/>
                    </a:lnTo>
                    <a:lnTo>
                      <a:pt x="95" y="674"/>
                    </a:lnTo>
                    <a:lnTo>
                      <a:pt x="69" y="663"/>
                    </a:lnTo>
                    <a:lnTo>
                      <a:pt x="55" y="662"/>
                    </a:lnTo>
                    <a:lnTo>
                      <a:pt x="46" y="673"/>
                    </a:lnTo>
                    <a:lnTo>
                      <a:pt x="36" y="706"/>
                    </a:lnTo>
                    <a:lnTo>
                      <a:pt x="31" y="721"/>
                    </a:lnTo>
                    <a:lnTo>
                      <a:pt x="18" y="714"/>
                    </a:lnTo>
                    <a:lnTo>
                      <a:pt x="15" y="689"/>
                    </a:lnTo>
                    <a:lnTo>
                      <a:pt x="15" y="666"/>
                    </a:lnTo>
                    <a:lnTo>
                      <a:pt x="21" y="623"/>
                    </a:lnTo>
                    <a:lnTo>
                      <a:pt x="26" y="565"/>
                    </a:lnTo>
                    <a:lnTo>
                      <a:pt x="32" y="554"/>
                    </a:lnTo>
                    <a:lnTo>
                      <a:pt x="31" y="539"/>
                    </a:lnTo>
                    <a:lnTo>
                      <a:pt x="23" y="522"/>
                    </a:lnTo>
                    <a:lnTo>
                      <a:pt x="17" y="499"/>
                    </a:lnTo>
                    <a:lnTo>
                      <a:pt x="17" y="479"/>
                    </a:lnTo>
                    <a:lnTo>
                      <a:pt x="22" y="463"/>
                    </a:lnTo>
                    <a:lnTo>
                      <a:pt x="28" y="425"/>
                    </a:lnTo>
                    <a:lnTo>
                      <a:pt x="28" y="394"/>
                    </a:lnTo>
                    <a:lnTo>
                      <a:pt x="32" y="392"/>
                    </a:lnTo>
                    <a:lnTo>
                      <a:pt x="30" y="386"/>
                    </a:lnTo>
                    <a:lnTo>
                      <a:pt x="30" y="375"/>
                    </a:lnTo>
                    <a:lnTo>
                      <a:pt x="28" y="360"/>
                    </a:lnTo>
                    <a:lnTo>
                      <a:pt x="25" y="348"/>
                    </a:lnTo>
                    <a:lnTo>
                      <a:pt x="25" y="331"/>
                    </a:lnTo>
                    <a:lnTo>
                      <a:pt x="31" y="297"/>
                    </a:lnTo>
                    <a:lnTo>
                      <a:pt x="31" y="284"/>
                    </a:lnTo>
                    <a:lnTo>
                      <a:pt x="21" y="260"/>
                    </a:lnTo>
                    <a:lnTo>
                      <a:pt x="11" y="249"/>
                    </a:lnTo>
                    <a:lnTo>
                      <a:pt x="4" y="243"/>
                    </a:lnTo>
                    <a:lnTo>
                      <a:pt x="6" y="237"/>
                    </a:lnTo>
                    <a:lnTo>
                      <a:pt x="3" y="226"/>
                    </a:lnTo>
                    <a:lnTo>
                      <a:pt x="0" y="205"/>
                    </a:lnTo>
                    <a:lnTo>
                      <a:pt x="0" y="188"/>
                    </a:lnTo>
                    <a:lnTo>
                      <a:pt x="10" y="160"/>
                    </a:lnTo>
                    <a:lnTo>
                      <a:pt x="12" y="125"/>
                    </a:lnTo>
                    <a:lnTo>
                      <a:pt x="11" y="108"/>
                    </a:lnTo>
                    <a:lnTo>
                      <a:pt x="9" y="96"/>
                    </a:lnTo>
                    <a:lnTo>
                      <a:pt x="14" y="85"/>
                    </a:lnTo>
                    <a:lnTo>
                      <a:pt x="25" y="79"/>
                    </a:lnTo>
                    <a:lnTo>
                      <a:pt x="31" y="81"/>
                    </a:lnTo>
                    <a:lnTo>
                      <a:pt x="37" y="87"/>
                    </a:lnTo>
                    <a:lnTo>
                      <a:pt x="48" y="86"/>
                    </a:lnTo>
                    <a:lnTo>
                      <a:pt x="50" y="81"/>
                    </a:lnTo>
                    <a:lnTo>
                      <a:pt x="48" y="75"/>
                    </a:lnTo>
                    <a:lnTo>
                      <a:pt x="50" y="66"/>
                    </a:lnTo>
                    <a:lnTo>
                      <a:pt x="57" y="66"/>
                    </a:lnTo>
                    <a:lnTo>
                      <a:pt x="59" y="64"/>
                    </a:lnTo>
                    <a:lnTo>
                      <a:pt x="54" y="52"/>
                    </a:lnTo>
                    <a:lnTo>
                      <a:pt x="49" y="33"/>
                    </a:lnTo>
                    <a:lnTo>
                      <a:pt x="39" y="16"/>
                    </a:lnTo>
                    <a:lnTo>
                      <a:pt x="38" y="9"/>
                    </a:lnTo>
                    <a:lnTo>
                      <a:pt x="41" y="6"/>
                    </a:lnTo>
                    <a:lnTo>
                      <a:pt x="47" y="6"/>
                    </a:lnTo>
                    <a:lnTo>
                      <a:pt x="52" y="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1" name="Russia"/>
              <p:cNvSpPr>
                <a:spLocks noChangeAspect="1"/>
              </p:cNvSpPr>
              <p:nvPr>
                <p:custDataLst>
                  <p:tags r:id="rId288"/>
                </p:custDataLst>
              </p:nvPr>
            </p:nvSpPr>
            <p:spPr bwMode="gray">
              <a:xfrm>
                <a:off x="5141818" y="1366930"/>
                <a:ext cx="4180312" cy="2108880"/>
              </a:xfrm>
              <a:custGeom>
                <a:avLst/>
                <a:gdLst/>
                <a:ahLst/>
                <a:cxnLst>
                  <a:cxn ang="0">
                    <a:pos x="3264" y="3913"/>
                  </a:cxn>
                  <a:cxn ang="0">
                    <a:pos x="4333" y="3788"/>
                  </a:cxn>
                  <a:cxn ang="0">
                    <a:pos x="5307" y="3536"/>
                  </a:cxn>
                  <a:cxn ang="0">
                    <a:pos x="5833" y="4138"/>
                  </a:cxn>
                  <a:cxn ang="0">
                    <a:pos x="6066" y="4138"/>
                  </a:cxn>
                  <a:cxn ang="0">
                    <a:pos x="6189" y="3482"/>
                  </a:cxn>
                  <a:cxn ang="0">
                    <a:pos x="5968" y="3336"/>
                  </a:cxn>
                  <a:cxn ang="0">
                    <a:pos x="6672" y="2912"/>
                  </a:cxn>
                  <a:cxn ang="0">
                    <a:pos x="6999" y="2815"/>
                  </a:cxn>
                  <a:cxn ang="0">
                    <a:pos x="7448" y="2593"/>
                  </a:cxn>
                  <a:cxn ang="0">
                    <a:pos x="7045" y="3206"/>
                  </a:cxn>
                  <a:cxn ang="0">
                    <a:pos x="7368" y="3293"/>
                  </a:cxn>
                  <a:cxn ang="0">
                    <a:pos x="7505" y="2864"/>
                  </a:cxn>
                  <a:cxn ang="0">
                    <a:pos x="7925" y="2760"/>
                  </a:cxn>
                  <a:cxn ang="0">
                    <a:pos x="8227" y="2553"/>
                  </a:cxn>
                  <a:cxn ang="0">
                    <a:pos x="8363" y="2256"/>
                  </a:cxn>
                  <a:cxn ang="0">
                    <a:pos x="8646" y="2287"/>
                  </a:cxn>
                  <a:cxn ang="0">
                    <a:pos x="8841" y="2201"/>
                  </a:cxn>
                  <a:cxn ang="0">
                    <a:pos x="8685" y="1981"/>
                  </a:cxn>
                  <a:cxn ang="0">
                    <a:pos x="8538" y="1863"/>
                  </a:cxn>
                  <a:cxn ang="0">
                    <a:pos x="7819" y="1608"/>
                  </a:cxn>
                  <a:cxn ang="0">
                    <a:pos x="7284" y="1590"/>
                  </a:cxn>
                  <a:cxn ang="0">
                    <a:pos x="6685" y="1267"/>
                  </a:cxn>
                  <a:cxn ang="0">
                    <a:pos x="6173" y="1286"/>
                  </a:cxn>
                  <a:cxn ang="0">
                    <a:pos x="5674" y="1395"/>
                  </a:cxn>
                  <a:cxn ang="0">
                    <a:pos x="5597" y="1031"/>
                  </a:cxn>
                  <a:cxn ang="0">
                    <a:pos x="5210" y="1036"/>
                  </a:cxn>
                  <a:cxn ang="0">
                    <a:pos x="4698" y="872"/>
                  </a:cxn>
                  <a:cxn ang="0">
                    <a:pos x="4354" y="1003"/>
                  </a:cxn>
                  <a:cxn ang="0">
                    <a:pos x="4584" y="721"/>
                  </a:cxn>
                  <a:cxn ang="0">
                    <a:pos x="4684" y="394"/>
                  </a:cxn>
                  <a:cxn ang="0">
                    <a:pos x="4372" y="204"/>
                  </a:cxn>
                  <a:cxn ang="0">
                    <a:pos x="4025" y="232"/>
                  </a:cxn>
                  <a:cxn ang="0">
                    <a:pos x="3791" y="419"/>
                  </a:cxn>
                  <a:cxn ang="0">
                    <a:pos x="3374" y="550"/>
                  </a:cxn>
                  <a:cxn ang="0">
                    <a:pos x="3254" y="832"/>
                  </a:cxn>
                  <a:cxn ang="0">
                    <a:pos x="2949" y="1149"/>
                  </a:cxn>
                  <a:cxn ang="0">
                    <a:pos x="2945" y="1235"/>
                  </a:cxn>
                  <a:cxn ang="0">
                    <a:pos x="2627" y="1222"/>
                  </a:cxn>
                  <a:cxn ang="0">
                    <a:pos x="2758" y="1734"/>
                  </a:cxn>
                  <a:cxn ang="0">
                    <a:pos x="2590" y="1842"/>
                  </a:cxn>
                  <a:cxn ang="0">
                    <a:pos x="2499" y="1888"/>
                  </a:cxn>
                  <a:cxn ang="0">
                    <a:pos x="2297" y="1040"/>
                  </a:cxn>
                  <a:cxn ang="0">
                    <a:pos x="2235" y="1800"/>
                  </a:cxn>
                  <a:cxn ang="0">
                    <a:pos x="1570" y="1757"/>
                  </a:cxn>
                  <a:cxn ang="0">
                    <a:pos x="1175" y="1897"/>
                  </a:cxn>
                  <a:cxn ang="0">
                    <a:pos x="933" y="2056"/>
                  </a:cxn>
                  <a:cxn ang="0">
                    <a:pos x="501" y="2289"/>
                  </a:cxn>
                  <a:cxn ang="0">
                    <a:pos x="306" y="2013"/>
                  </a:cxn>
                  <a:cxn ang="0">
                    <a:pos x="589" y="1783"/>
                  </a:cxn>
                  <a:cxn ang="0">
                    <a:pos x="191" y="1600"/>
                  </a:cxn>
                  <a:cxn ang="0">
                    <a:pos x="215" y="2548"/>
                  </a:cxn>
                  <a:cxn ang="0">
                    <a:pos x="14" y="3054"/>
                  </a:cxn>
                  <a:cxn ang="0">
                    <a:pos x="241" y="3470"/>
                  </a:cxn>
                  <a:cxn ang="0">
                    <a:pos x="440" y="3762"/>
                  </a:cxn>
                  <a:cxn ang="0">
                    <a:pos x="644" y="4043"/>
                  </a:cxn>
                  <a:cxn ang="0">
                    <a:pos x="898" y="4398"/>
                  </a:cxn>
                  <a:cxn ang="0">
                    <a:pos x="1107" y="4133"/>
                  </a:cxn>
                  <a:cxn ang="0">
                    <a:pos x="1169" y="3800"/>
                  </a:cxn>
                  <a:cxn ang="0">
                    <a:pos x="1520" y="3752"/>
                  </a:cxn>
                  <a:cxn ang="0">
                    <a:pos x="1831" y="3572"/>
                  </a:cxn>
                  <a:cxn ang="0">
                    <a:pos x="2183" y="3384"/>
                  </a:cxn>
                  <a:cxn ang="0">
                    <a:pos x="2523" y="3466"/>
                  </a:cxn>
                </a:cxnLst>
                <a:rect l="0" t="0" r="r" b="b"/>
                <a:pathLst>
                  <a:path w="8931" h="4504">
                    <a:moveTo>
                      <a:pt x="2688" y="3454"/>
                    </a:moveTo>
                    <a:lnTo>
                      <a:pt x="2691" y="3461"/>
                    </a:lnTo>
                    <a:lnTo>
                      <a:pt x="2695" y="3463"/>
                    </a:lnTo>
                    <a:lnTo>
                      <a:pt x="2768" y="3530"/>
                    </a:lnTo>
                    <a:lnTo>
                      <a:pt x="2887" y="3748"/>
                    </a:lnTo>
                    <a:lnTo>
                      <a:pt x="2902" y="3737"/>
                    </a:lnTo>
                    <a:lnTo>
                      <a:pt x="2904" y="3730"/>
                    </a:lnTo>
                    <a:lnTo>
                      <a:pt x="2904" y="3723"/>
                    </a:lnTo>
                    <a:lnTo>
                      <a:pt x="2915" y="3709"/>
                    </a:lnTo>
                    <a:lnTo>
                      <a:pt x="2923" y="3708"/>
                    </a:lnTo>
                    <a:lnTo>
                      <a:pt x="2928" y="3714"/>
                    </a:lnTo>
                    <a:lnTo>
                      <a:pt x="2936" y="3717"/>
                    </a:lnTo>
                    <a:lnTo>
                      <a:pt x="2950" y="3725"/>
                    </a:lnTo>
                    <a:lnTo>
                      <a:pt x="2946" y="3732"/>
                    </a:lnTo>
                    <a:lnTo>
                      <a:pt x="2951" y="3739"/>
                    </a:lnTo>
                    <a:lnTo>
                      <a:pt x="2956" y="3740"/>
                    </a:lnTo>
                    <a:lnTo>
                      <a:pt x="2961" y="3753"/>
                    </a:lnTo>
                    <a:lnTo>
                      <a:pt x="2985" y="3751"/>
                    </a:lnTo>
                    <a:lnTo>
                      <a:pt x="3003" y="3756"/>
                    </a:lnTo>
                    <a:lnTo>
                      <a:pt x="3010" y="3753"/>
                    </a:lnTo>
                    <a:lnTo>
                      <a:pt x="3026" y="3753"/>
                    </a:lnTo>
                    <a:lnTo>
                      <a:pt x="3028" y="3746"/>
                    </a:lnTo>
                    <a:lnTo>
                      <a:pt x="3033" y="3740"/>
                    </a:lnTo>
                    <a:lnTo>
                      <a:pt x="3042" y="3741"/>
                    </a:lnTo>
                    <a:lnTo>
                      <a:pt x="3049" y="3741"/>
                    </a:lnTo>
                    <a:lnTo>
                      <a:pt x="3053" y="3734"/>
                    </a:lnTo>
                    <a:lnTo>
                      <a:pt x="3060" y="3729"/>
                    </a:lnTo>
                    <a:lnTo>
                      <a:pt x="3075" y="3734"/>
                    </a:lnTo>
                    <a:lnTo>
                      <a:pt x="3082" y="3737"/>
                    </a:lnTo>
                    <a:lnTo>
                      <a:pt x="3086" y="3745"/>
                    </a:lnTo>
                    <a:lnTo>
                      <a:pt x="3093" y="3748"/>
                    </a:lnTo>
                    <a:lnTo>
                      <a:pt x="3103" y="3761"/>
                    </a:lnTo>
                    <a:lnTo>
                      <a:pt x="3112" y="3764"/>
                    </a:lnTo>
                    <a:lnTo>
                      <a:pt x="3114" y="3772"/>
                    </a:lnTo>
                    <a:lnTo>
                      <a:pt x="3112" y="3779"/>
                    </a:lnTo>
                    <a:lnTo>
                      <a:pt x="3113" y="3788"/>
                    </a:lnTo>
                    <a:lnTo>
                      <a:pt x="3117" y="3795"/>
                    </a:lnTo>
                    <a:lnTo>
                      <a:pt x="3125" y="3796"/>
                    </a:lnTo>
                    <a:lnTo>
                      <a:pt x="3146" y="3807"/>
                    </a:lnTo>
                    <a:lnTo>
                      <a:pt x="3150" y="3815"/>
                    </a:lnTo>
                    <a:lnTo>
                      <a:pt x="3150" y="3822"/>
                    </a:lnTo>
                    <a:lnTo>
                      <a:pt x="3157" y="3826"/>
                    </a:lnTo>
                    <a:lnTo>
                      <a:pt x="3162" y="3831"/>
                    </a:lnTo>
                    <a:lnTo>
                      <a:pt x="3170" y="3845"/>
                    </a:lnTo>
                    <a:lnTo>
                      <a:pt x="3176" y="3849"/>
                    </a:lnTo>
                    <a:lnTo>
                      <a:pt x="3193" y="3852"/>
                    </a:lnTo>
                    <a:lnTo>
                      <a:pt x="3199" y="3857"/>
                    </a:lnTo>
                    <a:lnTo>
                      <a:pt x="3208" y="3859"/>
                    </a:lnTo>
                    <a:lnTo>
                      <a:pt x="3215" y="3860"/>
                    </a:lnTo>
                    <a:lnTo>
                      <a:pt x="3224" y="3860"/>
                    </a:lnTo>
                    <a:lnTo>
                      <a:pt x="3226" y="3853"/>
                    </a:lnTo>
                    <a:lnTo>
                      <a:pt x="3231" y="3847"/>
                    </a:lnTo>
                    <a:lnTo>
                      <a:pt x="3246" y="3841"/>
                    </a:lnTo>
                    <a:lnTo>
                      <a:pt x="3248" y="3849"/>
                    </a:lnTo>
                    <a:lnTo>
                      <a:pt x="3252" y="3857"/>
                    </a:lnTo>
                    <a:lnTo>
                      <a:pt x="3259" y="3861"/>
                    </a:lnTo>
                    <a:lnTo>
                      <a:pt x="3267" y="3875"/>
                    </a:lnTo>
                    <a:lnTo>
                      <a:pt x="3273" y="3880"/>
                    </a:lnTo>
                    <a:lnTo>
                      <a:pt x="3277" y="3887"/>
                    </a:lnTo>
                    <a:lnTo>
                      <a:pt x="3264" y="3913"/>
                    </a:lnTo>
                    <a:lnTo>
                      <a:pt x="3289" y="3920"/>
                    </a:lnTo>
                    <a:lnTo>
                      <a:pt x="3305" y="3904"/>
                    </a:lnTo>
                    <a:lnTo>
                      <a:pt x="3310" y="3904"/>
                    </a:lnTo>
                    <a:lnTo>
                      <a:pt x="3322" y="3882"/>
                    </a:lnTo>
                    <a:lnTo>
                      <a:pt x="3338" y="3865"/>
                    </a:lnTo>
                    <a:lnTo>
                      <a:pt x="3356" y="3858"/>
                    </a:lnTo>
                    <a:lnTo>
                      <a:pt x="3375" y="3852"/>
                    </a:lnTo>
                    <a:lnTo>
                      <a:pt x="3394" y="3839"/>
                    </a:lnTo>
                    <a:lnTo>
                      <a:pt x="3414" y="3823"/>
                    </a:lnTo>
                    <a:lnTo>
                      <a:pt x="3439" y="3811"/>
                    </a:lnTo>
                    <a:lnTo>
                      <a:pt x="3464" y="3789"/>
                    </a:lnTo>
                    <a:lnTo>
                      <a:pt x="3505" y="3777"/>
                    </a:lnTo>
                    <a:lnTo>
                      <a:pt x="3530" y="3766"/>
                    </a:lnTo>
                    <a:lnTo>
                      <a:pt x="3553" y="3763"/>
                    </a:lnTo>
                    <a:lnTo>
                      <a:pt x="3575" y="3767"/>
                    </a:lnTo>
                    <a:lnTo>
                      <a:pt x="3591" y="3773"/>
                    </a:lnTo>
                    <a:lnTo>
                      <a:pt x="3604" y="3784"/>
                    </a:lnTo>
                    <a:lnTo>
                      <a:pt x="3623" y="3780"/>
                    </a:lnTo>
                    <a:lnTo>
                      <a:pt x="3644" y="3779"/>
                    </a:lnTo>
                    <a:lnTo>
                      <a:pt x="3661" y="3782"/>
                    </a:lnTo>
                    <a:lnTo>
                      <a:pt x="3692" y="3811"/>
                    </a:lnTo>
                    <a:lnTo>
                      <a:pt x="3697" y="3818"/>
                    </a:lnTo>
                    <a:lnTo>
                      <a:pt x="3714" y="3821"/>
                    </a:lnTo>
                    <a:lnTo>
                      <a:pt x="3761" y="3814"/>
                    </a:lnTo>
                    <a:lnTo>
                      <a:pt x="3774" y="3820"/>
                    </a:lnTo>
                    <a:lnTo>
                      <a:pt x="3818" y="3821"/>
                    </a:lnTo>
                    <a:lnTo>
                      <a:pt x="3856" y="3816"/>
                    </a:lnTo>
                    <a:lnTo>
                      <a:pt x="3866" y="3811"/>
                    </a:lnTo>
                    <a:lnTo>
                      <a:pt x="3866" y="3803"/>
                    </a:lnTo>
                    <a:lnTo>
                      <a:pt x="3862" y="3791"/>
                    </a:lnTo>
                    <a:lnTo>
                      <a:pt x="3865" y="3777"/>
                    </a:lnTo>
                    <a:lnTo>
                      <a:pt x="3875" y="3761"/>
                    </a:lnTo>
                    <a:lnTo>
                      <a:pt x="3875" y="3745"/>
                    </a:lnTo>
                    <a:lnTo>
                      <a:pt x="3864" y="3730"/>
                    </a:lnTo>
                    <a:lnTo>
                      <a:pt x="3860" y="3712"/>
                    </a:lnTo>
                    <a:lnTo>
                      <a:pt x="3862" y="3694"/>
                    </a:lnTo>
                    <a:lnTo>
                      <a:pt x="3878" y="3680"/>
                    </a:lnTo>
                    <a:lnTo>
                      <a:pt x="3892" y="3664"/>
                    </a:lnTo>
                    <a:lnTo>
                      <a:pt x="3910" y="3649"/>
                    </a:lnTo>
                    <a:lnTo>
                      <a:pt x="3921" y="3632"/>
                    </a:lnTo>
                    <a:lnTo>
                      <a:pt x="3935" y="3631"/>
                    </a:lnTo>
                    <a:lnTo>
                      <a:pt x="3955" y="3637"/>
                    </a:lnTo>
                    <a:lnTo>
                      <a:pt x="3969" y="3648"/>
                    </a:lnTo>
                    <a:lnTo>
                      <a:pt x="4006" y="3658"/>
                    </a:lnTo>
                    <a:lnTo>
                      <a:pt x="4017" y="3672"/>
                    </a:lnTo>
                    <a:lnTo>
                      <a:pt x="4041" y="3678"/>
                    </a:lnTo>
                    <a:lnTo>
                      <a:pt x="4065" y="3681"/>
                    </a:lnTo>
                    <a:lnTo>
                      <a:pt x="4082" y="3688"/>
                    </a:lnTo>
                    <a:lnTo>
                      <a:pt x="4092" y="3704"/>
                    </a:lnTo>
                    <a:lnTo>
                      <a:pt x="4097" y="3734"/>
                    </a:lnTo>
                    <a:lnTo>
                      <a:pt x="4097" y="3755"/>
                    </a:lnTo>
                    <a:lnTo>
                      <a:pt x="4102" y="3755"/>
                    </a:lnTo>
                    <a:lnTo>
                      <a:pt x="4117" y="3769"/>
                    </a:lnTo>
                    <a:lnTo>
                      <a:pt x="4140" y="3785"/>
                    </a:lnTo>
                    <a:lnTo>
                      <a:pt x="4174" y="3796"/>
                    </a:lnTo>
                    <a:lnTo>
                      <a:pt x="4202" y="3790"/>
                    </a:lnTo>
                    <a:lnTo>
                      <a:pt x="4229" y="3775"/>
                    </a:lnTo>
                    <a:lnTo>
                      <a:pt x="4254" y="3763"/>
                    </a:lnTo>
                    <a:lnTo>
                      <a:pt x="4285" y="3771"/>
                    </a:lnTo>
                    <a:lnTo>
                      <a:pt x="4333" y="3788"/>
                    </a:lnTo>
                    <a:lnTo>
                      <a:pt x="4343" y="3800"/>
                    </a:lnTo>
                    <a:lnTo>
                      <a:pt x="4344" y="3800"/>
                    </a:lnTo>
                    <a:lnTo>
                      <a:pt x="4350" y="3805"/>
                    </a:lnTo>
                    <a:lnTo>
                      <a:pt x="4372" y="3817"/>
                    </a:lnTo>
                    <a:lnTo>
                      <a:pt x="4393" y="3823"/>
                    </a:lnTo>
                    <a:lnTo>
                      <a:pt x="4414" y="3832"/>
                    </a:lnTo>
                    <a:lnTo>
                      <a:pt x="4428" y="3852"/>
                    </a:lnTo>
                    <a:lnTo>
                      <a:pt x="4455" y="3868"/>
                    </a:lnTo>
                    <a:lnTo>
                      <a:pt x="4487" y="3873"/>
                    </a:lnTo>
                    <a:lnTo>
                      <a:pt x="4510" y="3880"/>
                    </a:lnTo>
                    <a:lnTo>
                      <a:pt x="4528" y="3881"/>
                    </a:lnTo>
                    <a:lnTo>
                      <a:pt x="4553" y="3879"/>
                    </a:lnTo>
                    <a:lnTo>
                      <a:pt x="4571" y="3887"/>
                    </a:lnTo>
                    <a:lnTo>
                      <a:pt x="4627" y="3868"/>
                    </a:lnTo>
                    <a:lnTo>
                      <a:pt x="4661" y="3860"/>
                    </a:lnTo>
                    <a:lnTo>
                      <a:pt x="4688" y="3855"/>
                    </a:lnTo>
                    <a:lnTo>
                      <a:pt x="4725" y="3826"/>
                    </a:lnTo>
                    <a:lnTo>
                      <a:pt x="4749" y="3810"/>
                    </a:lnTo>
                    <a:lnTo>
                      <a:pt x="4774" y="3801"/>
                    </a:lnTo>
                    <a:lnTo>
                      <a:pt x="4799" y="3811"/>
                    </a:lnTo>
                    <a:lnTo>
                      <a:pt x="4817" y="3826"/>
                    </a:lnTo>
                    <a:lnTo>
                      <a:pt x="4838" y="3830"/>
                    </a:lnTo>
                    <a:lnTo>
                      <a:pt x="4855" y="3826"/>
                    </a:lnTo>
                    <a:lnTo>
                      <a:pt x="4869" y="3818"/>
                    </a:lnTo>
                    <a:lnTo>
                      <a:pt x="4875" y="3821"/>
                    </a:lnTo>
                    <a:lnTo>
                      <a:pt x="4886" y="3823"/>
                    </a:lnTo>
                    <a:lnTo>
                      <a:pt x="4899" y="3833"/>
                    </a:lnTo>
                    <a:lnTo>
                      <a:pt x="4931" y="3843"/>
                    </a:lnTo>
                    <a:lnTo>
                      <a:pt x="4956" y="3855"/>
                    </a:lnTo>
                    <a:lnTo>
                      <a:pt x="4967" y="3853"/>
                    </a:lnTo>
                    <a:lnTo>
                      <a:pt x="4982" y="3842"/>
                    </a:lnTo>
                    <a:lnTo>
                      <a:pt x="5032" y="3811"/>
                    </a:lnTo>
                    <a:lnTo>
                      <a:pt x="5033" y="3804"/>
                    </a:lnTo>
                    <a:lnTo>
                      <a:pt x="5031" y="3791"/>
                    </a:lnTo>
                    <a:lnTo>
                      <a:pt x="5034" y="3779"/>
                    </a:lnTo>
                    <a:lnTo>
                      <a:pt x="5045" y="3766"/>
                    </a:lnTo>
                    <a:lnTo>
                      <a:pt x="5052" y="3755"/>
                    </a:lnTo>
                    <a:lnTo>
                      <a:pt x="5059" y="3725"/>
                    </a:lnTo>
                    <a:lnTo>
                      <a:pt x="5064" y="3703"/>
                    </a:lnTo>
                    <a:lnTo>
                      <a:pt x="5071" y="3686"/>
                    </a:lnTo>
                    <a:lnTo>
                      <a:pt x="5090" y="3676"/>
                    </a:lnTo>
                    <a:lnTo>
                      <a:pt x="5114" y="3649"/>
                    </a:lnTo>
                    <a:lnTo>
                      <a:pt x="5114" y="3644"/>
                    </a:lnTo>
                    <a:lnTo>
                      <a:pt x="5109" y="3633"/>
                    </a:lnTo>
                    <a:lnTo>
                      <a:pt x="5111" y="3606"/>
                    </a:lnTo>
                    <a:lnTo>
                      <a:pt x="5104" y="3602"/>
                    </a:lnTo>
                    <a:lnTo>
                      <a:pt x="5093" y="3602"/>
                    </a:lnTo>
                    <a:lnTo>
                      <a:pt x="5075" y="3607"/>
                    </a:lnTo>
                    <a:lnTo>
                      <a:pt x="5071" y="3602"/>
                    </a:lnTo>
                    <a:lnTo>
                      <a:pt x="5076" y="3589"/>
                    </a:lnTo>
                    <a:lnTo>
                      <a:pt x="5100" y="3565"/>
                    </a:lnTo>
                    <a:lnTo>
                      <a:pt x="5108" y="3553"/>
                    </a:lnTo>
                    <a:lnTo>
                      <a:pt x="5124" y="3541"/>
                    </a:lnTo>
                    <a:lnTo>
                      <a:pt x="5158" y="3535"/>
                    </a:lnTo>
                    <a:lnTo>
                      <a:pt x="5199" y="3520"/>
                    </a:lnTo>
                    <a:lnTo>
                      <a:pt x="5224" y="3521"/>
                    </a:lnTo>
                    <a:lnTo>
                      <a:pt x="5259" y="3515"/>
                    </a:lnTo>
                    <a:lnTo>
                      <a:pt x="5271" y="3515"/>
                    </a:lnTo>
                    <a:lnTo>
                      <a:pt x="5290" y="3524"/>
                    </a:lnTo>
                    <a:lnTo>
                      <a:pt x="5307" y="3536"/>
                    </a:lnTo>
                    <a:lnTo>
                      <a:pt x="5318" y="3548"/>
                    </a:lnTo>
                    <a:lnTo>
                      <a:pt x="5334" y="3552"/>
                    </a:lnTo>
                    <a:lnTo>
                      <a:pt x="5353" y="3549"/>
                    </a:lnTo>
                    <a:lnTo>
                      <a:pt x="5369" y="3553"/>
                    </a:lnTo>
                    <a:lnTo>
                      <a:pt x="5383" y="3559"/>
                    </a:lnTo>
                    <a:lnTo>
                      <a:pt x="5391" y="3573"/>
                    </a:lnTo>
                    <a:lnTo>
                      <a:pt x="5403" y="3591"/>
                    </a:lnTo>
                    <a:lnTo>
                      <a:pt x="5404" y="3604"/>
                    </a:lnTo>
                    <a:lnTo>
                      <a:pt x="5412" y="3611"/>
                    </a:lnTo>
                    <a:lnTo>
                      <a:pt x="5421" y="3617"/>
                    </a:lnTo>
                    <a:lnTo>
                      <a:pt x="5423" y="3626"/>
                    </a:lnTo>
                    <a:lnTo>
                      <a:pt x="5424" y="3621"/>
                    </a:lnTo>
                    <a:lnTo>
                      <a:pt x="5426" y="3634"/>
                    </a:lnTo>
                    <a:lnTo>
                      <a:pt x="5431" y="3649"/>
                    </a:lnTo>
                    <a:lnTo>
                      <a:pt x="5434" y="3670"/>
                    </a:lnTo>
                    <a:lnTo>
                      <a:pt x="5442" y="3687"/>
                    </a:lnTo>
                    <a:lnTo>
                      <a:pt x="5447" y="3704"/>
                    </a:lnTo>
                    <a:lnTo>
                      <a:pt x="5468" y="3744"/>
                    </a:lnTo>
                    <a:lnTo>
                      <a:pt x="5474" y="3785"/>
                    </a:lnTo>
                    <a:lnTo>
                      <a:pt x="5483" y="3804"/>
                    </a:lnTo>
                    <a:lnTo>
                      <a:pt x="5482" y="3809"/>
                    </a:lnTo>
                    <a:lnTo>
                      <a:pt x="5483" y="3810"/>
                    </a:lnTo>
                    <a:lnTo>
                      <a:pt x="5485" y="3828"/>
                    </a:lnTo>
                    <a:lnTo>
                      <a:pt x="5485" y="3849"/>
                    </a:lnTo>
                    <a:lnTo>
                      <a:pt x="5498" y="3860"/>
                    </a:lnTo>
                    <a:lnTo>
                      <a:pt x="5521" y="3863"/>
                    </a:lnTo>
                    <a:lnTo>
                      <a:pt x="5542" y="3855"/>
                    </a:lnTo>
                    <a:lnTo>
                      <a:pt x="5558" y="3863"/>
                    </a:lnTo>
                    <a:lnTo>
                      <a:pt x="5577" y="3865"/>
                    </a:lnTo>
                    <a:lnTo>
                      <a:pt x="5595" y="3874"/>
                    </a:lnTo>
                    <a:lnTo>
                      <a:pt x="5627" y="3902"/>
                    </a:lnTo>
                    <a:lnTo>
                      <a:pt x="5642" y="3909"/>
                    </a:lnTo>
                    <a:lnTo>
                      <a:pt x="5654" y="3911"/>
                    </a:lnTo>
                    <a:lnTo>
                      <a:pt x="5658" y="3918"/>
                    </a:lnTo>
                    <a:lnTo>
                      <a:pt x="5658" y="3923"/>
                    </a:lnTo>
                    <a:lnTo>
                      <a:pt x="5660" y="3922"/>
                    </a:lnTo>
                    <a:lnTo>
                      <a:pt x="5661" y="3938"/>
                    </a:lnTo>
                    <a:lnTo>
                      <a:pt x="5668" y="3947"/>
                    </a:lnTo>
                    <a:lnTo>
                      <a:pt x="5667" y="3963"/>
                    </a:lnTo>
                    <a:lnTo>
                      <a:pt x="5668" y="3981"/>
                    </a:lnTo>
                    <a:lnTo>
                      <a:pt x="5678" y="3997"/>
                    </a:lnTo>
                    <a:lnTo>
                      <a:pt x="5684" y="4010"/>
                    </a:lnTo>
                    <a:lnTo>
                      <a:pt x="5703" y="4009"/>
                    </a:lnTo>
                    <a:lnTo>
                      <a:pt x="5722" y="4015"/>
                    </a:lnTo>
                    <a:lnTo>
                      <a:pt x="5740" y="4013"/>
                    </a:lnTo>
                    <a:lnTo>
                      <a:pt x="5771" y="3998"/>
                    </a:lnTo>
                    <a:lnTo>
                      <a:pt x="5805" y="3976"/>
                    </a:lnTo>
                    <a:lnTo>
                      <a:pt x="5823" y="3974"/>
                    </a:lnTo>
                    <a:lnTo>
                      <a:pt x="5856" y="3956"/>
                    </a:lnTo>
                    <a:lnTo>
                      <a:pt x="5888" y="3947"/>
                    </a:lnTo>
                    <a:lnTo>
                      <a:pt x="5889" y="3950"/>
                    </a:lnTo>
                    <a:lnTo>
                      <a:pt x="5881" y="3963"/>
                    </a:lnTo>
                    <a:lnTo>
                      <a:pt x="5881" y="3983"/>
                    </a:lnTo>
                    <a:lnTo>
                      <a:pt x="5886" y="3999"/>
                    </a:lnTo>
                    <a:lnTo>
                      <a:pt x="5883" y="4019"/>
                    </a:lnTo>
                    <a:lnTo>
                      <a:pt x="5871" y="4029"/>
                    </a:lnTo>
                    <a:lnTo>
                      <a:pt x="5857" y="4042"/>
                    </a:lnTo>
                    <a:lnTo>
                      <a:pt x="5855" y="4063"/>
                    </a:lnTo>
                    <a:lnTo>
                      <a:pt x="5841" y="4096"/>
                    </a:lnTo>
                    <a:lnTo>
                      <a:pt x="5833" y="4138"/>
                    </a:lnTo>
                    <a:lnTo>
                      <a:pt x="5814" y="4176"/>
                    </a:lnTo>
                    <a:lnTo>
                      <a:pt x="5801" y="4194"/>
                    </a:lnTo>
                    <a:lnTo>
                      <a:pt x="5796" y="4214"/>
                    </a:lnTo>
                    <a:lnTo>
                      <a:pt x="5784" y="4224"/>
                    </a:lnTo>
                    <a:lnTo>
                      <a:pt x="5779" y="4220"/>
                    </a:lnTo>
                    <a:lnTo>
                      <a:pt x="5728" y="4208"/>
                    </a:lnTo>
                    <a:lnTo>
                      <a:pt x="5715" y="4215"/>
                    </a:lnTo>
                    <a:lnTo>
                      <a:pt x="5679" y="4250"/>
                    </a:lnTo>
                    <a:lnTo>
                      <a:pt x="5687" y="4263"/>
                    </a:lnTo>
                    <a:lnTo>
                      <a:pt x="5693" y="4290"/>
                    </a:lnTo>
                    <a:lnTo>
                      <a:pt x="5693" y="4349"/>
                    </a:lnTo>
                    <a:lnTo>
                      <a:pt x="5677" y="4374"/>
                    </a:lnTo>
                    <a:lnTo>
                      <a:pt x="5657" y="4391"/>
                    </a:lnTo>
                    <a:lnTo>
                      <a:pt x="5657" y="4409"/>
                    </a:lnTo>
                    <a:lnTo>
                      <a:pt x="5657" y="4415"/>
                    </a:lnTo>
                    <a:lnTo>
                      <a:pt x="5661" y="4423"/>
                    </a:lnTo>
                    <a:lnTo>
                      <a:pt x="5669" y="4419"/>
                    </a:lnTo>
                    <a:lnTo>
                      <a:pt x="5667" y="4412"/>
                    </a:lnTo>
                    <a:lnTo>
                      <a:pt x="5665" y="4407"/>
                    </a:lnTo>
                    <a:lnTo>
                      <a:pt x="5673" y="4404"/>
                    </a:lnTo>
                    <a:lnTo>
                      <a:pt x="5693" y="4406"/>
                    </a:lnTo>
                    <a:lnTo>
                      <a:pt x="5699" y="4396"/>
                    </a:lnTo>
                    <a:lnTo>
                      <a:pt x="5705" y="4390"/>
                    </a:lnTo>
                    <a:lnTo>
                      <a:pt x="5709" y="4382"/>
                    </a:lnTo>
                    <a:lnTo>
                      <a:pt x="5721" y="4369"/>
                    </a:lnTo>
                    <a:lnTo>
                      <a:pt x="5728" y="4345"/>
                    </a:lnTo>
                    <a:lnTo>
                      <a:pt x="5730" y="4354"/>
                    </a:lnTo>
                    <a:lnTo>
                      <a:pt x="5737" y="4355"/>
                    </a:lnTo>
                    <a:lnTo>
                      <a:pt x="5732" y="4365"/>
                    </a:lnTo>
                    <a:lnTo>
                      <a:pt x="5736" y="4370"/>
                    </a:lnTo>
                    <a:lnTo>
                      <a:pt x="5748" y="4361"/>
                    </a:lnTo>
                    <a:lnTo>
                      <a:pt x="5754" y="4359"/>
                    </a:lnTo>
                    <a:lnTo>
                      <a:pt x="5754" y="4366"/>
                    </a:lnTo>
                    <a:lnTo>
                      <a:pt x="5753" y="4374"/>
                    </a:lnTo>
                    <a:lnTo>
                      <a:pt x="5753" y="4385"/>
                    </a:lnTo>
                    <a:lnTo>
                      <a:pt x="5755" y="4387"/>
                    </a:lnTo>
                    <a:lnTo>
                      <a:pt x="5764" y="4387"/>
                    </a:lnTo>
                    <a:lnTo>
                      <a:pt x="5774" y="4390"/>
                    </a:lnTo>
                    <a:lnTo>
                      <a:pt x="5784" y="4396"/>
                    </a:lnTo>
                    <a:lnTo>
                      <a:pt x="5787" y="4395"/>
                    </a:lnTo>
                    <a:lnTo>
                      <a:pt x="5794" y="4398"/>
                    </a:lnTo>
                    <a:lnTo>
                      <a:pt x="5806" y="4401"/>
                    </a:lnTo>
                    <a:lnTo>
                      <a:pt x="5828" y="4393"/>
                    </a:lnTo>
                    <a:lnTo>
                      <a:pt x="5835" y="4393"/>
                    </a:lnTo>
                    <a:lnTo>
                      <a:pt x="5846" y="4387"/>
                    </a:lnTo>
                    <a:lnTo>
                      <a:pt x="5860" y="4376"/>
                    </a:lnTo>
                    <a:lnTo>
                      <a:pt x="5903" y="4347"/>
                    </a:lnTo>
                    <a:lnTo>
                      <a:pt x="5916" y="4332"/>
                    </a:lnTo>
                    <a:lnTo>
                      <a:pt x="5925" y="4318"/>
                    </a:lnTo>
                    <a:lnTo>
                      <a:pt x="5939" y="4299"/>
                    </a:lnTo>
                    <a:lnTo>
                      <a:pt x="5940" y="4290"/>
                    </a:lnTo>
                    <a:lnTo>
                      <a:pt x="5947" y="4279"/>
                    </a:lnTo>
                    <a:lnTo>
                      <a:pt x="5957" y="4269"/>
                    </a:lnTo>
                    <a:lnTo>
                      <a:pt x="5968" y="4263"/>
                    </a:lnTo>
                    <a:lnTo>
                      <a:pt x="5982" y="4240"/>
                    </a:lnTo>
                    <a:lnTo>
                      <a:pt x="5989" y="4232"/>
                    </a:lnTo>
                    <a:lnTo>
                      <a:pt x="6000" y="4215"/>
                    </a:lnTo>
                    <a:lnTo>
                      <a:pt x="6050" y="4161"/>
                    </a:lnTo>
                    <a:lnTo>
                      <a:pt x="6055" y="4148"/>
                    </a:lnTo>
                    <a:lnTo>
                      <a:pt x="6066" y="4138"/>
                    </a:lnTo>
                    <a:lnTo>
                      <a:pt x="6069" y="4134"/>
                    </a:lnTo>
                    <a:lnTo>
                      <a:pt x="6083" y="4106"/>
                    </a:lnTo>
                    <a:lnTo>
                      <a:pt x="6095" y="4070"/>
                    </a:lnTo>
                    <a:lnTo>
                      <a:pt x="6102" y="4056"/>
                    </a:lnTo>
                    <a:lnTo>
                      <a:pt x="6123" y="4031"/>
                    </a:lnTo>
                    <a:lnTo>
                      <a:pt x="6140" y="4001"/>
                    </a:lnTo>
                    <a:lnTo>
                      <a:pt x="6160" y="3979"/>
                    </a:lnTo>
                    <a:lnTo>
                      <a:pt x="6169" y="3967"/>
                    </a:lnTo>
                    <a:lnTo>
                      <a:pt x="6172" y="3961"/>
                    </a:lnTo>
                    <a:lnTo>
                      <a:pt x="6179" y="3957"/>
                    </a:lnTo>
                    <a:lnTo>
                      <a:pt x="6188" y="3949"/>
                    </a:lnTo>
                    <a:lnTo>
                      <a:pt x="6192" y="3924"/>
                    </a:lnTo>
                    <a:lnTo>
                      <a:pt x="6194" y="3912"/>
                    </a:lnTo>
                    <a:lnTo>
                      <a:pt x="6193" y="3902"/>
                    </a:lnTo>
                    <a:lnTo>
                      <a:pt x="6195" y="3890"/>
                    </a:lnTo>
                    <a:lnTo>
                      <a:pt x="6204" y="3871"/>
                    </a:lnTo>
                    <a:lnTo>
                      <a:pt x="6205" y="3861"/>
                    </a:lnTo>
                    <a:lnTo>
                      <a:pt x="6201" y="3827"/>
                    </a:lnTo>
                    <a:lnTo>
                      <a:pt x="6210" y="3816"/>
                    </a:lnTo>
                    <a:lnTo>
                      <a:pt x="6209" y="3810"/>
                    </a:lnTo>
                    <a:lnTo>
                      <a:pt x="6205" y="3806"/>
                    </a:lnTo>
                    <a:lnTo>
                      <a:pt x="6199" y="3778"/>
                    </a:lnTo>
                    <a:lnTo>
                      <a:pt x="6199" y="3757"/>
                    </a:lnTo>
                    <a:lnTo>
                      <a:pt x="6205" y="3747"/>
                    </a:lnTo>
                    <a:lnTo>
                      <a:pt x="6208" y="3734"/>
                    </a:lnTo>
                    <a:lnTo>
                      <a:pt x="6209" y="3713"/>
                    </a:lnTo>
                    <a:lnTo>
                      <a:pt x="6214" y="3712"/>
                    </a:lnTo>
                    <a:lnTo>
                      <a:pt x="6214" y="3705"/>
                    </a:lnTo>
                    <a:lnTo>
                      <a:pt x="6219" y="3702"/>
                    </a:lnTo>
                    <a:lnTo>
                      <a:pt x="6216" y="3696"/>
                    </a:lnTo>
                    <a:lnTo>
                      <a:pt x="6228" y="3676"/>
                    </a:lnTo>
                    <a:lnTo>
                      <a:pt x="6236" y="3671"/>
                    </a:lnTo>
                    <a:lnTo>
                      <a:pt x="6241" y="3661"/>
                    </a:lnTo>
                    <a:lnTo>
                      <a:pt x="6247" y="3653"/>
                    </a:lnTo>
                    <a:lnTo>
                      <a:pt x="6248" y="3643"/>
                    </a:lnTo>
                    <a:lnTo>
                      <a:pt x="6253" y="3631"/>
                    </a:lnTo>
                    <a:lnTo>
                      <a:pt x="6233" y="3610"/>
                    </a:lnTo>
                    <a:lnTo>
                      <a:pt x="6241" y="3591"/>
                    </a:lnTo>
                    <a:lnTo>
                      <a:pt x="6238" y="3578"/>
                    </a:lnTo>
                    <a:lnTo>
                      <a:pt x="6235" y="3565"/>
                    </a:lnTo>
                    <a:lnTo>
                      <a:pt x="6225" y="3559"/>
                    </a:lnTo>
                    <a:lnTo>
                      <a:pt x="6214" y="3549"/>
                    </a:lnTo>
                    <a:lnTo>
                      <a:pt x="6203" y="3551"/>
                    </a:lnTo>
                    <a:lnTo>
                      <a:pt x="6190" y="3542"/>
                    </a:lnTo>
                    <a:lnTo>
                      <a:pt x="6176" y="3537"/>
                    </a:lnTo>
                    <a:lnTo>
                      <a:pt x="6168" y="3538"/>
                    </a:lnTo>
                    <a:lnTo>
                      <a:pt x="6174" y="3532"/>
                    </a:lnTo>
                    <a:lnTo>
                      <a:pt x="6188" y="3532"/>
                    </a:lnTo>
                    <a:lnTo>
                      <a:pt x="6200" y="3542"/>
                    </a:lnTo>
                    <a:lnTo>
                      <a:pt x="6209" y="3543"/>
                    </a:lnTo>
                    <a:lnTo>
                      <a:pt x="6219" y="3542"/>
                    </a:lnTo>
                    <a:lnTo>
                      <a:pt x="6237" y="3554"/>
                    </a:lnTo>
                    <a:lnTo>
                      <a:pt x="6241" y="3551"/>
                    </a:lnTo>
                    <a:lnTo>
                      <a:pt x="6249" y="3540"/>
                    </a:lnTo>
                    <a:lnTo>
                      <a:pt x="6248" y="3529"/>
                    </a:lnTo>
                    <a:lnTo>
                      <a:pt x="6241" y="3526"/>
                    </a:lnTo>
                    <a:lnTo>
                      <a:pt x="6215" y="3508"/>
                    </a:lnTo>
                    <a:lnTo>
                      <a:pt x="6203" y="3495"/>
                    </a:lnTo>
                    <a:lnTo>
                      <a:pt x="6192" y="3487"/>
                    </a:lnTo>
                    <a:lnTo>
                      <a:pt x="6189" y="3482"/>
                    </a:lnTo>
                    <a:lnTo>
                      <a:pt x="6189" y="3468"/>
                    </a:lnTo>
                    <a:lnTo>
                      <a:pt x="6182" y="3461"/>
                    </a:lnTo>
                    <a:lnTo>
                      <a:pt x="6173" y="3454"/>
                    </a:lnTo>
                    <a:lnTo>
                      <a:pt x="6163" y="3450"/>
                    </a:lnTo>
                    <a:lnTo>
                      <a:pt x="6161" y="3445"/>
                    </a:lnTo>
                    <a:lnTo>
                      <a:pt x="6161" y="3440"/>
                    </a:lnTo>
                    <a:lnTo>
                      <a:pt x="6158" y="3440"/>
                    </a:lnTo>
                    <a:lnTo>
                      <a:pt x="6150" y="3440"/>
                    </a:lnTo>
                    <a:lnTo>
                      <a:pt x="6135" y="3446"/>
                    </a:lnTo>
                    <a:lnTo>
                      <a:pt x="6124" y="3446"/>
                    </a:lnTo>
                    <a:lnTo>
                      <a:pt x="6103" y="3438"/>
                    </a:lnTo>
                    <a:lnTo>
                      <a:pt x="6103" y="3457"/>
                    </a:lnTo>
                    <a:lnTo>
                      <a:pt x="6106" y="3459"/>
                    </a:lnTo>
                    <a:lnTo>
                      <a:pt x="6103" y="3467"/>
                    </a:lnTo>
                    <a:lnTo>
                      <a:pt x="6101" y="3483"/>
                    </a:lnTo>
                    <a:lnTo>
                      <a:pt x="6093" y="3504"/>
                    </a:lnTo>
                    <a:lnTo>
                      <a:pt x="6082" y="3510"/>
                    </a:lnTo>
                    <a:lnTo>
                      <a:pt x="6086" y="3495"/>
                    </a:lnTo>
                    <a:lnTo>
                      <a:pt x="6095" y="3481"/>
                    </a:lnTo>
                    <a:lnTo>
                      <a:pt x="6090" y="3471"/>
                    </a:lnTo>
                    <a:lnTo>
                      <a:pt x="6071" y="3493"/>
                    </a:lnTo>
                    <a:lnTo>
                      <a:pt x="6058" y="3500"/>
                    </a:lnTo>
                    <a:lnTo>
                      <a:pt x="6038" y="3505"/>
                    </a:lnTo>
                    <a:lnTo>
                      <a:pt x="6023" y="3504"/>
                    </a:lnTo>
                    <a:lnTo>
                      <a:pt x="6023" y="3499"/>
                    </a:lnTo>
                    <a:lnTo>
                      <a:pt x="6032" y="3495"/>
                    </a:lnTo>
                    <a:lnTo>
                      <a:pt x="6038" y="3488"/>
                    </a:lnTo>
                    <a:lnTo>
                      <a:pt x="6045" y="3477"/>
                    </a:lnTo>
                    <a:lnTo>
                      <a:pt x="6043" y="3470"/>
                    </a:lnTo>
                    <a:lnTo>
                      <a:pt x="6033" y="3465"/>
                    </a:lnTo>
                    <a:lnTo>
                      <a:pt x="6028" y="3455"/>
                    </a:lnTo>
                    <a:lnTo>
                      <a:pt x="6034" y="3452"/>
                    </a:lnTo>
                    <a:lnTo>
                      <a:pt x="6043" y="3443"/>
                    </a:lnTo>
                    <a:lnTo>
                      <a:pt x="6044" y="3438"/>
                    </a:lnTo>
                    <a:lnTo>
                      <a:pt x="6028" y="3439"/>
                    </a:lnTo>
                    <a:lnTo>
                      <a:pt x="6018" y="3445"/>
                    </a:lnTo>
                    <a:lnTo>
                      <a:pt x="6015" y="3454"/>
                    </a:lnTo>
                    <a:lnTo>
                      <a:pt x="6021" y="3462"/>
                    </a:lnTo>
                    <a:lnTo>
                      <a:pt x="6018" y="3470"/>
                    </a:lnTo>
                    <a:lnTo>
                      <a:pt x="6010" y="3479"/>
                    </a:lnTo>
                    <a:lnTo>
                      <a:pt x="6001" y="3479"/>
                    </a:lnTo>
                    <a:lnTo>
                      <a:pt x="5996" y="3487"/>
                    </a:lnTo>
                    <a:lnTo>
                      <a:pt x="5994" y="3484"/>
                    </a:lnTo>
                    <a:lnTo>
                      <a:pt x="5993" y="3466"/>
                    </a:lnTo>
                    <a:lnTo>
                      <a:pt x="5995" y="3455"/>
                    </a:lnTo>
                    <a:lnTo>
                      <a:pt x="5996" y="3444"/>
                    </a:lnTo>
                    <a:lnTo>
                      <a:pt x="5997" y="3434"/>
                    </a:lnTo>
                    <a:lnTo>
                      <a:pt x="5996" y="3430"/>
                    </a:lnTo>
                    <a:lnTo>
                      <a:pt x="5997" y="3417"/>
                    </a:lnTo>
                    <a:lnTo>
                      <a:pt x="5995" y="3408"/>
                    </a:lnTo>
                    <a:lnTo>
                      <a:pt x="5985" y="3406"/>
                    </a:lnTo>
                    <a:lnTo>
                      <a:pt x="5962" y="3412"/>
                    </a:lnTo>
                    <a:lnTo>
                      <a:pt x="5939" y="3413"/>
                    </a:lnTo>
                    <a:lnTo>
                      <a:pt x="5929" y="3405"/>
                    </a:lnTo>
                    <a:lnTo>
                      <a:pt x="5910" y="3396"/>
                    </a:lnTo>
                    <a:lnTo>
                      <a:pt x="5910" y="3390"/>
                    </a:lnTo>
                    <a:lnTo>
                      <a:pt x="5915" y="3376"/>
                    </a:lnTo>
                    <a:lnTo>
                      <a:pt x="5942" y="3354"/>
                    </a:lnTo>
                    <a:lnTo>
                      <a:pt x="5950" y="3350"/>
                    </a:lnTo>
                    <a:lnTo>
                      <a:pt x="5968" y="3336"/>
                    </a:lnTo>
                    <a:lnTo>
                      <a:pt x="5977" y="3320"/>
                    </a:lnTo>
                    <a:lnTo>
                      <a:pt x="5983" y="3314"/>
                    </a:lnTo>
                    <a:lnTo>
                      <a:pt x="5989" y="3312"/>
                    </a:lnTo>
                    <a:lnTo>
                      <a:pt x="5999" y="3305"/>
                    </a:lnTo>
                    <a:lnTo>
                      <a:pt x="6047" y="3260"/>
                    </a:lnTo>
                    <a:lnTo>
                      <a:pt x="6056" y="3241"/>
                    </a:lnTo>
                    <a:lnTo>
                      <a:pt x="6065" y="3235"/>
                    </a:lnTo>
                    <a:lnTo>
                      <a:pt x="6069" y="3226"/>
                    </a:lnTo>
                    <a:lnTo>
                      <a:pt x="6070" y="3218"/>
                    </a:lnTo>
                    <a:lnTo>
                      <a:pt x="6076" y="3212"/>
                    </a:lnTo>
                    <a:lnTo>
                      <a:pt x="6083" y="3202"/>
                    </a:lnTo>
                    <a:lnTo>
                      <a:pt x="6087" y="3194"/>
                    </a:lnTo>
                    <a:lnTo>
                      <a:pt x="6093" y="3196"/>
                    </a:lnTo>
                    <a:lnTo>
                      <a:pt x="6099" y="3182"/>
                    </a:lnTo>
                    <a:lnTo>
                      <a:pt x="6114" y="3169"/>
                    </a:lnTo>
                    <a:lnTo>
                      <a:pt x="6130" y="3145"/>
                    </a:lnTo>
                    <a:lnTo>
                      <a:pt x="6140" y="3147"/>
                    </a:lnTo>
                    <a:lnTo>
                      <a:pt x="6158" y="3127"/>
                    </a:lnTo>
                    <a:lnTo>
                      <a:pt x="6166" y="3111"/>
                    </a:lnTo>
                    <a:lnTo>
                      <a:pt x="6169" y="3112"/>
                    </a:lnTo>
                    <a:lnTo>
                      <a:pt x="6182" y="3101"/>
                    </a:lnTo>
                    <a:lnTo>
                      <a:pt x="6193" y="3095"/>
                    </a:lnTo>
                    <a:lnTo>
                      <a:pt x="6201" y="3078"/>
                    </a:lnTo>
                    <a:lnTo>
                      <a:pt x="6204" y="3063"/>
                    </a:lnTo>
                    <a:lnTo>
                      <a:pt x="6219" y="3043"/>
                    </a:lnTo>
                    <a:lnTo>
                      <a:pt x="6258" y="3011"/>
                    </a:lnTo>
                    <a:lnTo>
                      <a:pt x="6270" y="2994"/>
                    </a:lnTo>
                    <a:lnTo>
                      <a:pt x="6280" y="2976"/>
                    </a:lnTo>
                    <a:lnTo>
                      <a:pt x="6298" y="2960"/>
                    </a:lnTo>
                    <a:lnTo>
                      <a:pt x="6316" y="2946"/>
                    </a:lnTo>
                    <a:lnTo>
                      <a:pt x="6345" y="2932"/>
                    </a:lnTo>
                    <a:lnTo>
                      <a:pt x="6400" y="2927"/>
                    </a:lnTo>
                    <a:lnTo>
                      <a:pt x="6436" y="2927"/>
                    </a:lnTo>
                    <a:lnTo>
                      <a:pt x="6456" y="2924"/>
                    </a:lnTo>
                    <a:lnTo>
                      <a:pt x="6464" y="2927"/>
                    </a:lnTo>
                    <a:lnTo>
                      <a:pt x="6475" y="2925"/>
                    </a:lnTo>
                    <a:lnTo>
                      <a:pt x="6488" y="2929"/>
                    </a:lnTo>
                    <a:lnTo>
                      <a:pt x="6495" y="2929"/>
                    </a:lnTo>
                    <a:lnTo>
                      <a:pt x="6495" y="2941"/>
                    </a:lnTo>
                    <a:lnTo>
                      <a:pt x="6500" y="2950"/>
                    </a:lnTo>
                    <a:lnTo>
                      <a:pt x="6507" y="2951"/>
                    </a:lnTo>
                    <a:lnTo>
                      <a:pt x="6518" y="2949"/>
                    </a:lnTo>
                    <a:lnTo>
                      <a:pt x="6521" y="2944"/>
                    </a:lnTo>
                    <a:lnTo>
                      <a:pt x="6522" y="2923"/>
                    </a:lnTo>
                    <a:lnTo>
                      <a:pt x="6527" y="2919"/>
                    </a:lnTo>
                    <a:lnTo>
                      <a:pt x="6585" y="2943"/>
                    </a:lnTo>
                    <a:lnTo>
                      <a:pt x="6602" y="2940"/>
                    </a:lnTo>
                    <a:lnTo>
                      <a:pt x="6602" y="2932"/>
                    </a:lnTo>
                    <a:lnTo>
                      <a:pt x="6610" y="2927"/>
                    </a:lnTo>
                    <a:lnTo>
                      <a:pt x="6630" y="2928"/>
                    </a:lnTo>
                    <a:lnTo>
                      <a:pt x="6638" y="2937"/>
                    </a:lnTo>
                    <a:lnTo>
                      <a:pt x="6641" y="2944"/>
                    </a:lnTo>
                    <a:lnTo>
                      <a:pt x="6646" y="2945"/>
                    </a:lnTo>
                    <a:lnTo>
                      <a:pt x="6660" y="2941"/>
                    </a:lnTo>
                    <a:lnTo>
                      <a:pt x="6660" y="2932"/>
                    </a:lnTo>
                    <a:lnTo>
                      <a:pt x="6656" y="2932"/>
                    </a:lnTo>
                    <a:lnTo>
                      <a:pt x="6651" y="2923"/>
                    </a:lnTo>
                    <a:lnTo>
                      <a:pt x="6660" y="2918"/>
                    </a:lnTo>
                    <a:lnTo>
                      <a:pt x="6673" y="2918"/>
                    </a:lnTo>
                    <a:lnTo>
                      <a:pt x="6672" y="2912"/>
                    </a:lnTo>
                    <a:lnTo>
                      <a:pt x="6667" y="2905"/>
                    </a:lnTo>
                    <a:lnTo>
                      <a:pt x="6668" y="2898"/>
                    </a:lnTo>
                    <a:lnTo>
                      <a:pt x="6679" y="2891"/>
                    </a:lnTo>
                    <a:lnTo>
                      <a:pt x="6692" y="2890"/>
                    </a:lnTo>
                    <a:lnTo>
                      <a:pt x="6705" y="2892"/>
                    </a:lnTo>
                    <a:lnTo>
                      <a:pt x="6737" y="2905"/>
                    </a:lnTo>
                    <a:lnTo>
                      <a:pt x="6747" y="2905"/>
                    </a:lnTo>
                    <a:lnTo>
                      <a:pt x="6760" y="2913"/>
                    </a:lnTo>
                    <a:lnTo>
                      <a:pt x="6762" y="2918"/>
                    </a:lnTo>
                    <a:lnTo>
                      <a:pt x="6770" y="2921"/>
                    </a:lnTo>
                    <a:lnTo>
                      <a:pt x="6775" y="2908"/>
                    </a:lnTo>
                    <a:lnTo>
                      <a:pt x="6785" y="2906"/>
                    </a:lnTo>
                    <a:lnTo>
                      <a:pt x="6798" y="2910"/>
                    </a:lnTo>
                    <a:lnTo>
                      <a:pt x="6808" y="2916"/>
                    </a:lnTo>
                    <a:lnTo>
                      <a:pt x="6817" y="2927"/>
                    </a:lnTo>
                    <a:lnTo>
                      <a:pt x="6822" y="2937"/>
                    </a:lnTo>
                    <a:lnTo>
                      <a:pt x="6841" y="2940"/>
                    </a:lnTo>
                    <a:lnTo>
                      <a:pt x="6845" y="2948"/>
                    </a:lnTo>
                    <a:lnTo>
                      <a:pt x="6833" y="2953"/>
                    </a:lnTo>
                    <a:lnTo>
                      <a:pt x="6817" y="2954"/>
                    </a:lnTo>
                    <a:lnTo>
                      <a:pt x="6795" y="2954"/>
                    </a:lnTo>
                    <a:lnTo>
                      <a:pt x="6784" y="2959"/>
                    </a:lnTo>
                    <a:lnTo>
                      <a:pt x="6785" y="2965"/>
                    </a:lnTo>
                    <a:lnTo>
                      <a:pt x="6800" y="2984"/>
                    </a:lnTo>
                    <a:lnTo>
                      <a:pt x="6816" y="2986"/>
                    </a:lnTo>
                    <a:lnTo>
                      <a:pt x="6829" y="2984"/>
                    </a:lnTo>
                    <a:lnTo>
                      <a:pt x="6843" y="2981"/>
                    </a:lnTo>
                    <a:lnTo>
                      <a:pt x="6849" y="2971"/>
                    </a:lnTo>
                    <a:lnTo>
                      <a:pt x="6859" y="2966"/>
                    </a:lnTo>
                    <a:lnTo>
                      <a:pt x="6866" y="2973"/>
                    </a:lnTo>
                    <a:lnTo>
                      <a:pt x="6878" y="2978"/>
                    </a:lnTo>
                    <a:lnTo>
                      <a:pt x="6886" y="2972"/>
                    </a:lnTo>
                    <a:lnTo>
                      <a:pt x="6892" y="2962"/>
                    </a:lnTo>
                    <a:lnTo>
                      <a:pt x="6905" y="2960"/>
                    </a:lnTo>
                    <a:lnTo>
                      <a:pt x="6907" y="2953"/>
                    </a:lnTo>
                    <a:lnTo>
                      <a:pt x="6919" y="2946"/>
                    </a:lnTo>
                    <a:lnTo>
                      <a:pt x="6935" y="2951"/>
                    </a:lnTo>
                    <a:lnTo>
                      <a:pt x="6942" y="2962"/>
                    </a:lnTo>
                    <a:lnTo>
                      <a:pt x="6951" y="2962"/>
                    </a:lnTo>
                    <a:lnTo>
                      <a:pt x="6963" y="2959"/>
                    </a:lnTo>
                    <a:lnTo>
                      <a:pt x="6967" y="2950"/>
                    </a:lnTo>
                    <a:lnTo>
                      <a:pt x="6981" y="2951"/>
                    </a:lnTo>
                    <a:lnTo>
                      <a:pt x="6988" y="2956"/>
                    </a:lnTo>
                    <a:lnTo>
                      <a:pt x="6991" y="2950"/>
                    </a:lnTo>
                    <a:lnTo>
                      <a:pt x="7001" y="2950"/>
                    </a:lnTo>
                    <a:lnTo>
                      <a:pt x="7002" y="2943"/>
                    </a:lnTo>
                    <a:lnTo>
                      <a:pt x="7000" y="2933"/>
                    </a:lnTo>
                    <a:lnTo>
                      <a:pt x="6993" y="2922"/>
                    </a:lnTo>
                    <a:lnTo>
                      <a:pt x="6972" y="2913"/>
                    </a:lnTo>
                    <a:lnTo>
                      <a:pt x="6951" y="2917"/>
                    </a:lnTo>
                    <a:lnTo>
                      <a:pt x="6952" y="2910"/>
                    </a:lnTo>
                    <a:lnTo>
                      <a:pt x="6958" y="2902"/>
                    </a:lnTo>
                    <a:lnTo>
                      <a:pt x="6950" y="2879"/>
                    </a:lnTo>
                    <a:lnTo>
                      <a:pt x="6953" y="2875"/>
                    </a:lnTo>
                    <a:lnTo>
                      <a:pt x="6959" y="2879"/>
                    </a:lnTo>
                    <a:lnTo>
                      <a:pt x="6962" y="2879"/>
                    </a:lnTo>
                    <a:lnTo>
                      <a:pt x="6975" y="2849"/>
                    </a:lnTo>
                    <a:lnTo>
                      <a:pt x="6983" y="2837"/>
                    </a:lnTo>
                    <a:lnTo>
                      <a:pt x="6986" y="2827"/>
                    </a:lnTo>
                    <a:lnTo>
                      <a:pt x="6999" y="2815"/>
                    </a:lnTo>
                    <a:lnTo>
                      <a:pt x="7011" y="2809"/>
                    </a:lnTo>
                    <a:lnTo>
                      <a:pt x="7047" y="2776"/>
                    </a:lnTo>
                    <a:lnTo>
                      <a:pt x="7047" y="2767"/>
                    </a:lnTo>
                    <a:lnTo>
                      <a:pt x="7051" y="2757"/>
                    </a:lnTo>
                    <a:lnTo>
                      <a:pt x="7074" y="2731"/>
                    </a:lnTo>
                    <a:lnTo>
                      <a:pt x="7083" y="2723"/>
                    </a:lnTo>
                    <a:lnTo>
                      <a:pt x="7088" y="2697"/>
                    </a:lnTo>
                    <a:lnTo>
                      <a:pt x="7099" y="2690"/>
                    </a:lnTo>
                    <a:lnTo>
                      <a:pt x="7118" y="2670"/>
                    </a:lnTo>
                    <a:lnTo>
                      <a:pt x="7128" y="2666"/>
                    </a:lnTo>
                    <a:lnTo>
                      <a:pt x="7137" y="2659"/>
                    </a:lnTo>
                    <a:lnTo>
                      <a:pt x="7165" y="2661"/>
                    </a:lnTo>
                    <a:lnTo>
                      <a:pt x="7205" y="2653"/>
                    </a:lnTo>
                    <a:lnTo>
                      <a:pt x="7211" y="2648"/>
                    </a:lnTo>
                    <a:lnTo>
                      <a:pt x="7215" y="2642"/>
                    </a:lnTo>
                    <a:lnTo>
                      <a:pt x="7221" y="2643"/>
                    </a:lnTo>
                    <a:lnTo>
                      <a:pt x="7235" y="2652"/>
                    </a:lnTo>
                    <a:lnTo>
                      <a:pt x="7241" y="2659"/>
                    </a:lnTo>
                    <a:lnTo>
                      <a:pt x="7244" y="2670"/>
                    </a:lnTo>
                    <a:lnTo>
                      <a:pt x="7260" y="2669"/>
                    </a:lnTo>
                    <a:lnTo>
                      <a:pt x="7270" y="2658"/>
                    </a:lnTo>
                    <a:lnTo>
                      <a:pt x="7290" y="2638"/>
                    </a:lnTo>
                    <a:lnTo>
                      <a:pt x="7281" y="2685"/>
                    </a:lnTo>
                    <a:lnTo>
                      <a:pt x="7273" y="2693"/>
                    </a:lnTo>
                    <a:lnTo>
                      <a:pt x="7269" y="2703"/>
                    </a:lnTo>
                    <a:lnTo>
                      <a:pt x="7263" y="2712"/>
                    </a:lnTo>
                    <a:lnTo>
                      <a:pt x="7263" y="2725"/>
                    </a:lnTo>
                    <a:lnTo>
                      <a:pt x="7269" y="2733"/>
                    </a:lnTo>
                    <a:lnTo>
                      <a:pt x="7268" y="2741"/>
                    </a:lnTo>
                    <a:lnTo>
                      <a:pt x="7263" y="2745"/>
                    </a:lnTo>
                    <a:lnTo>
                      <a:pt x="7260" y="2752"/>
                    </a:lnTo>
                    <a:lnTo>
                      <a:pt x="7265" y="2756"/>
                    </a:lnTo>
                    <a:lnTo>
                      <a:pt x="7280" y="2749"/>
                    </a:lnTo>
                    <a:lnTo>
                      <a:pt x="7292" y="2746"/>
                    </a:lnTo>
                    <a:lnTo>
                      <a:pt x="7281" y="2771"/>
                    </a:lnTo>
                    <a:lnTo>
                      <a:pt x="7278" y="2787"/>
                    </a:lnTo>
                    <a:lnTo>
                      <a:pt x="7279" y="2797"/>
                    </a:lnTo>
                    <a:lnTo>
                      <a:pt x="7286" y="2793"/>
                    </a:lnTo>
                    <a:lnTo>
                      <a:pt x="7300" y="2781"/>
                    </a:lnTo>
                    <a:lnTo>
                      <a:pt x="7309" y="2781"/>
                    </a:lnTo>
                    <a:lnTo>
                      <a:pt x="7345" y="2734"/>
                    </a:lnTo>
                    <a:lnTo>
                      <a:pt x="7355" y="2728"/>
                    </a:lnTo>
                    <a:lnTo>
                      <a:pt x="7367" y="2713"/>
                    </a:lnTo>
                    <a:lnTo>
                      <a:pt x="7378" y="2704"/>
                    </a:lnTo>
                    <a:lnTo>
                      <a:pt x="7399" y="2680"/>
                    </a:lnTo>
                    <a:lnTo>
                      <a:pt x="7414" y="2679"/>
                    </a:lnTo>
                    <a:lnTo>
                      <a:pt x="7420" y="2675"/>
                    </a:lnTo>
                    <a:lnTo>
                      <a:pt x="7422" y="2666"/>
                    </a:lnTo>
                    <a:lnTo>
                      <a:pt x="7430" y="2671"/>
                    </a:lnTo>
                    <a:lnTo>
                      <a:pt x="7429" y="2680"/>
                    </a:lnTo>
                    <a:lnTo>
                      <a:pt x="7431" y="2688"/>
                    </a:lnTo>
                    <a:lnTo>
                      <a:pt x="7438" y="2687"/>
                    </a:lnTo>
                    <a:lnTo>
                      <a:pt x="7447" y="2669"/>
                    </a:lnTo>
                    <a:lnTo>
                      <a:pt x="7437" y="2666"/>
                    </a:lnTo>
                    <a:lnTo>
                      <a:pt x="7434" y="2656"/>
                    </a:lnTo>
                    <a:lnTo>
                      <a:pt x="7437" y="2642"/>
                    </a:lnTo>
                    <a:lnTo>
                      <a:pt x="7438" y="2627"/>
                    </a:lnTo>
                    <a:lnTo>
                      <a:pt x="7438" y="2618"/>
                    </a:lnTo>
                    <a:lnTo>
                      <a:pt x="7448" y="2601"/>
                    </a:lnTo>
                    <a:lnTo>
                      <a:pt x="7448" y="2593"/>
                    </a:lnTo>
                    <a:lnTo>
                      <a:pt x="7452" y="2583"/>
                    </a:lnTo>
                    <a:lnTo>
                      <a:pt x="7467" y="2569"/>
                    </a:lnTo>
                    <a:lnTo>
                      <a:pt x="7511" y="2553"/>
                    </a:lnTo>
                    <a:lnTo>
                      <a:pt x="7526" y="2557"/>
                    </a:lnTo>
                    <a:lnTo>
                      <a:pt x="7542" y="2572"/>
                    </a:lnTo>
                    <a:lnTo>
                      <a:pt x="7535" y="2585"/>
                    </a:lnTo>
                    <a:lnTo>
                      <a:pt x="7524" y="2582"/>
                    </a:lnTo>
                    <a:lnTo>
                      <a:pt x="7506" y="2596"/>
                    </a:lnTo>
                    <a:lnTo>
                      <a:pt x="7496" y="2607"/>
                    </a:lnTo>
                    <a:lnTo>
                      <a:pt x="7494" y="2623"/>
                    </a:lnTo>
                    <a:lnTo>
                      <a:pt x="7490" y="2631"/>
                    </a:lnTo>
                    <a:lnTo>
                      <a:pt x="7489" y="2644"/>
                    </a:lnTo>
                    <a:lnTo>
                      <a:pt x="7489" y="2670"/>
                    </a:lnTo>
                    <a:lnTo>
                      <a:pt x="7478" y="2681"/>
                    </a:lnTo>
                    <a:lnTo>
                      <a:pt x="7477" y="2688"/>
                    </a:lnTo>
                    <a:lnTo>
                      <a:pt x="7478" y="2699"/>
                    </a:lnTo>
                    <a:lnTo>
                      <a:pt x="7480" y="2706"/>
                    </a:lnTo>
                    <a:lnTo>
                      <a:pt x="7479" y="2718"/>
                    </a:lnTo>
                    <a:lnTo>
                      <a:pt x="7472" y="2728"/>
                    </a:lnTo>
                    <a:lnTo>
                      <a:pt x="7465" y="2731"/>
                    </a:lnTo>
                    <a:lnTo>
                      <a:pt x="7464" y="2738"/>
                    </a:lnTo>
                    <a:lnTo>
                      <a:pt x="7463" y="2749"/>
                    </a:lnTo>
                    <a:lnTo>
                      <a:pt x="7472" y="2755"/>
                    </a:lnTo>
                    <a:lnTo>
                      <a:pt x="7472" y="2762"/>
                    </a:lnTo>
                    <a:lnTo>
                      <a:pt x="7462" y="2771"/>
                    </a:lnTo>
                    <a:lnTo>
                      <a:pt x="7451" y="2777"/>
                    </a:lnTo>
                    <a:lnTo>
                      <a:pt x="7440" y="2774"/>
                    </a:lnTo>
                    <a:lnTo>
                      <a:pt x="7427" y="2779"/>
                    </a:lnTo>
                    <a:lnTo>
                      <a:pt x="7415" y="2797"/>
                    </a:lnTo>
                    <a:lnTo>
                      <a:pt x="7402" y="2798"/>
                    </a:lnTo>
                    <a:lnTo>
                      <a:pt x="7376" y="2809"/>
                    </a:lnTo>
                    <a:lnTo>
                      <a:pt x="7372" y="2814"/>
                    </a:lnTo>
                    <a:lnTo>
                      <a:pt x="7372" y="2826"/>
                    </a:lnTo>
                    <a:lnTo>
                      <a:pt x="7367" y="2838"/>
                    </a:lnTo>
                    <a:lnTo>
                      <a:pt x="7356" y="2848"/>
                    </a:lnTo>
                    <a:lnTo>
                      <a:pt x="7343" y="2864"/>
                    </a:lnTo>
                    <a:lnTo>
                      <a:pt x="7318" y="2897"/>
                    </a:lnTo>
                    <a:lnTo>
                      <a:pt x="7293" y="2911"/>
                    </a:lnTo>
                    <a:lnTo>
                      <a:pt x="7286" y="2929"/>
                    </a:lnTo>
                    <a:lnTo>
                      <a:pt x="7276" y="2934"/>
                    </a:lnTo>
                    <a:lnTo>
                      <a:pt x="7258" y="2960"/>
                    </a:lnTo>
                    <a:lnTo>
                      <a:pt x="7255" y="2978"/>
                    </a:lnTo>
                    <a:lnTo>
                      <a:pt x="7236" y="3002"/>
                    </a:lnTo>
                    <a:lnTo>
                      <a:pt x="7225" y="3019"/>
                    </a:lnTo>
                    <a:lnTo>
                      <a:pt x="7210" y="3031"/>
                    </a:lnTo>
                    <a:lnTo>
                      <a:pt x="7195" y="3047"/>
                    </a:lnTo>
                    <a:lnTo>
                      <a:pt x="7182" y="3066"/>
                    </a:lnTo>
                    <a:lnTo>
                      <a:pt x="7162" y="3075"/>
                    </a:lnTo>
                    <a:lnTo>
                      <a:pt x="7144" y="3075"/>
                    </a:lnTo>
                    <a:lnTo>
                      <a:pt x="7137" y="3085"/>
                    </a:lnTo>
                    <a:lnTo>
                      <a:pt x="7128" y="3096"/>
                    </a:lnTo>
                    <a:lnTo>
                      <a:pt x="7108" y="3091"/>
                    </a:lnTo>
                    <a:lnTo>
                      <a:pt x="7098" y="3093"/>
                    </a:lnTo>
                    <a:lnTo>
                      <a:pt x="7103" y="3105"/>
                    </a:lnTo>
                    <a:lnTo>
                      <a:pt x="7106" y="3124"/>
                    </a:lnTo>
                    <a:lnTo>
                      <a:pt x="7093" y="3164"/>
                    </a:lnTo>
                    <a:lnTo>
                      <a:pt x="7077" y="3174"/>
                    </a:lnTo>
                    <a:lnTo>
                      <a:pt x="7065" y="3186"/>
                    </a:lnTo>
                    <a:lnTo>
                      <a:pt x="7051" y="3193"/>
                    </a:lnTo>
                    <a:lnTo>
                      <a:pt x="7045" y="3206"/>
                    </a:lnTo>
                    <a:lnTo>
                      <a:pt x="7040" y="3229"/>
                    </a:lnTo>
                    <a:lnTo>
                      <a:pt x="7028" y="3279"/>
                    </a:lnTo>
                    <a:lnTo>
                      <a:pt x="7027" y="3328"/>
                    </a:lnTo>
                    <a:lnTo>
                      <a:pt x="7028" y="3352"/>
                    </a:lnTo>
                    <a:lnTo>
                      <a:pt x="7031" y="3374"/>
                    </a:lnTo>
                    <a:lnTo>
                      <a:pt x="7032" y="3403"/>
                    </a:lnTo>
                    <a:lnTo>
                      <a:pt x="7036" y="3418"/>
                    </a:lnTo>
                    <a:lnTo>
                      <a:pt x="7040" y="3459"/>
                    </a:lnTo>
                    <a:lnTo>
                      <a:pt x="7042" y="3463"/>
                    </a:lnTo>
                    <a:lnTo>
                      <a:pt x="7044" y="3467"/>
                    </a:lnTo>
                    <a:lnTo>
                      <a:pt x="7051" y="3503"/>
                    </a:lnTo>
                    <a:lnTo>
                      <a:pt x="7056" y="3524"/>
                    </a:lnTo>
                    <a:lnTo>
                      <a:pt x="7058" y="3551"/>
                    </a:lnTo>
                    <a:lnTo>
                      <a:pt x="7061" y="3573"/>
                    </a:lnTo>
                    <a:lnTo>
                      <a:pt x="7066" y="3596"/>
                    </a:lnTo>
                    <a:lnTo>
                      <a:pt x="7075" y="3617"/>
                    </a:lnTo>
                    <a:lnTo>
                      <a:pt x="7081" y="3640"/>
                    </a:lnTo>
                    <a:lnTo>
                      <a:pt x="7081" y="3685"/>
                    </a:lnTo>
                    <a:lnTo>
                      <a:pt x="7082" y="3705"/>
                    </a:lnTo>
                    <a:lnTo>
                      <a:pt x="7092" y="3729"/>
                    </a:lnTo>
                    <a:lnTo>
                      <a:pt x="7094" y="3742"/>
                    </a:lnTo>
                    <a:lnTo>
                      <a:pt x="7108" y="3728"/>
                    </a:lnTo>
                    <a:lnTo>
                      <a:pt x="7120" y="3718"/>
                    </a:lnTo>
                    <a:lnTo>
                      <a:pt x="7131" y="3704"/>
                    </a:lnTo>
                    <a:lnTo>
                      <a:pt x="7139" y="3691"/>
                    </a:lnTo>
                    <a:lnTo>
                      <a:pt x="7150" y="3682"/>
                    </a:lnTo>
                    <a:lnTo>
                      <a:pt x="7172" y="3656"/>
                    </a:lnTo>
                    <a:lnTo>
                      <a:pt x="7184" y="3626"/>
                    </a:lnTo>
                    <a:lnTo>
                      <a:pt x="7185" y="3613"/>
                    </a:lnTo>
                    <a:lnTo>
                      <a:pt x="7184" y="3595"/>
                    </a:lnTo>
                    <a:lnTo>
                      <a:pt x="7188" y="3589"/>
                    </a:lnTo>
                    <a:lnTo>
                      <a:pt x="7192" y="3573"/>
                    </a:lnTo>
                    <a:lnTo>
                      <a:pt x="7187" y="3569"/>
                    </a:lnTo>
                    <a:lnTo>
                      <a:pt x="7192" y="3561"/>
                    </a:lnTo>
                    <a:lnTo>
                      <a:pt x="7198" y="3562"/>
                    </a:lnTo>
                    <a:lnTo>
                      <a:pt x="7203" y="3567"/>
                    </a:lnTo>
                    <a:lnTo>
                      <a:pt x="7212" y="3556"/>
                    </a:lnTo>
                    <a:lnTo>
                      <a:pt x="7228" y="3545"/>
                    </a:lnTo>
                    <a:lnTo>
                      <a:pt x="7252" y="3536"/>
                    </a:lnTo>
                    <a:lnTo>
                      <a:pt x="7269" y="3542"/>
                    </a:lnTo>
                    <a:lnTo>
                      <a:pt x="7268" y="3536"/>
                    </a:lnTo>
                    <a:lnTo>
                      <a:pt x="7264" y="3529"/>
                    </a:lnTo>
                    <a:lnTo>
                      <a:pt x="7262" y="3516"/>
                    </a:lnTo>
                    <a:lnTo>
                      <a:pt x="7262" y="3479"/>
                    </a:lnTo>
                    <a:lnTo>
                      <a:pt x="7263" y="3463"/>
                    </a:lnTo>
                    <a:lnTo>
                      <a:pt x="7273" y="3450"/>
                    </a:lnTo>
                    <a:lnTo>
                      <a:pt x="7301" y="3423"/>
                    </a:lnTo>
                    <a:lnTo>
                      <a:pt x="7319" y="3413"/>
                    </a:lnTo>
                    <a:lnTo>
                      <a:pt x="7335" y="3409"/>
                    </a:lnTo>
                    <a:lnTo>
                      <a:pt x="7341" y="3418"/>
                    </a:lnTo>
                    <a:lnTo>
                      <a:pt x="7354" y="3418"/>
                    </a:lnTo>
                    <a:lnTo>
                      <a:pt x="7366" y="3414"/>
                    </a:lnTo>
                    <a:lnTo>
                      <a:pt x="7382" y="3398"/>
                    </a:lnTo>
                    <a:lnTo>
                      <a:pt x="7384" y="3390"/>
                    </a:lnTo>
                    <a:lnTo>
                      <a:pt x="7365" y="3362"/>
                    </a:lnTo>
                    <a:lnTo>
                      <a:pt x="7360" y="3347"/>
                    </a:lnTo>
                    <a:lnTo>
                      <a:pt x="7357" y="3335"/>
                    </a:lnTo>
                    <a:lnTo>
                      <a:pt x="7359" y="3322"/>
                    </a:lnTo>
                    <a:lnTo>
                      <a:pt x="7362" y="3305"/>
                    </a:lnTo>
                    <a:lnTo>
                      <a:pt x="7368" y="3293"/>
                    </a:lnTo>
                    <a:lnTo>
                      <a:pt x="7372" y="3279"/>
                    </a:lnTo>
                    <a:lnTo>
                      <a:pt x="7381" y="3267"/>
                    </a:lnTo>
                    <a:lnTo>
                      <a:pt x="7397" y="3256"/>
                    </a:lnTo>
                    <a:lnTo>
                      <a:pt x="7394" y="3247"/>
                    </a:lnTo>
                    <a:lnTo>
                      <a:pt x="7391" y="3242"/>
                    </a:lnTo>
                    <a:lnTo>
                      <a:pt x="7389" y="3237"/>
                    </a:lnTo>
                    <a:lnTo>
                      <a:pt x="7405" y="3231"/>
                    </a:lnTo>
                    <a:lnTo>
                      <a:pt x="7422" y="3229"/>
                    </a:lnTo>
                    <a:lnTo>
                      <a:pt x="7429" y="3222"/>
                    </a:lnTo>
                    <a:lnTo>
                      <a:pt x="7431" y="3226"/>
                    </a:lnTo>
                    <a:lnTo>
                      <a:pt x="7424" y="3237"/>
                    </a:lnTo>
                    <a:lnTo>
                      <a:pt x="7416" y="3242"/>
                    </a:lnTo>
                    <a:lnTo>
                      <a:pt x="7413" y="3251"/>
                    </a:lnTo>
                    <a:lnTo>
                      <a:pt x="7422" y="3271"/>
                    </a:lnTo>
                    <a:lnTo>
                      <a:pt x="7431" y="3274"/>
                    </a:lnTo>
                    <a:lnTo>
                      <a:pt x="7435" y="3274"/>
                    </a:lnTo>
                    <a:lnTo>
                      <a:pt x="7445" y="3258"/>
                    </a:lnTo>
                    <a:lnTo>
                      <a:pt x="7447" y="3247"/>
                    </a:lnTo>
                    <a:lnTo>
                      <a:pt x="7442" y="3212"/>
                    </a:lnTo>
                    <a:lnTo>
                      <a:pt x="7437" y="3203"/>
                    </a:lnTo>
                    <a:lnTo>
                      <a:pt x="7421" y="3206"/>
                    </a:lnTo>
                    <a:lnTo>
                      <a:pt x="7419" y="3202"/>
                    </a:lnTo>
                    <a:lnTo>
                      <a:pt x="7419" y="3180"/>
                    </a:lnTo>
                    <a:lnTo>
                      <a:pt x="7416" y="3159"/>
                    </a:lnTo>
                    <a:lnTo>
                      <a:pt x="7418" y="3147"/>
                    </a:lnTo>
                    <a:lnTo>
                      <a:pt x="7421" y="3137"/>
                    </a:lnTo>
                    <a:lnTo>
                      <a:pt x="7434" y="3126"/>
                    </a:lnTo>
                    <a:lnTo>
                      <a:pt x="7445" y="3106"/>
                    </a:lnTo>
                    <a:lnTo>
                      <a:pt x="7443" y="3097"/>
                    </a:lnTo>
                    <a:lnTo>
                      <a:pt x="7413" y="3079"/>
                    </a:lnTo>
                    <a:lnTo>
                      <a:pt x="7400" y="3083"/>
                    </a:lnTo>
                    <a:lnTo>
                      <a:pt x="7397" y="3096"/>
                    </a:lnTo>
                    <a:lnTo>
                      <a:pt x="7394" y="3100"/>
                    </a:lnTo>
                    <a:lnTo>
                      <a:pt x="7387" y="3097"/>
                    </a:lnTo>
                    <a:lnTo>
                      <a:pt x="7381" y="3093"/>
                    </a:lnTo>
                    <a:lnTo>
                      <a:pt x="7377" y="3081"/>
                    </a:lnTo>
                    <a:lnTo>
                      <a:pt x="7377" y="3063"/>
                    </a:lnTo>
                    <a:lnTo>
                      <a:pt x="7381" y="3051"/>
                    </a:lnTo>
                    <a:lnTo>
                      <a:pt x="7386" y="3032"/>
                    </a:lnTo>
                    <a:lnTo>
                      <a:pt x="7393" y="3019"/>
                    </a:lnTo>
                    <a:lnTo>
                      <a:pt x="7407" y="2999"/>
                    </a:lnTo>
                    <a:lnTo>
                      <a:pt x="7420" y="2983"/>
                    </a:lnTo>
                    <a:lnTo>
                      <a:pt x="7427" y="2970"/>
                    </a:lnTo>
                    <a:lnTo>
                      <a:pt x="7426" y="2960"/>
                    </a:lnTo>
                    <a:lnTo>
                      <a:pt x="7430" y="2954"/>
                    </a:lnTo>
                    <a:lnTo>
                      <a:pt x="7440" y="2957"/>
                    </a:lnTo>
                    <a:lnTo>
                      <a:pt x="7437" y="2950"/>
                    </a:lnTo>
                    <a:lnTo>
                      <a:pt x="7437" y="2943"/>
                    </a:lnTo>
                    <a:lnTo>
                      <a:pt x="7446" y="2938"/>
                    </a:lnTo>
                    <a:lnTo>
                      <a:pt x="7450" y="2932"/>
                    </a:lnTo>
                    <a:lnTo>
                      <a:pt x="7446" y="2918"/>
                    </a:lnTo>
                    <a:lnTo>
                      <a:pt x="7447" y="2905"/>
                    </a:lnTo>
                    <a:lnTo>
                      <a:pt x="7454" y="2892"/>
                    </a:lnTo>
                    <a:lnTo>
                      <a:pt x="7456" y="2881"/>
                    </a:lnTo>
                    <a:lnTo>
                      <a:pt x="7462" y="2875"/>
                    </a:lnTo>
                    <a:lnTo>
                      <a:pt x="7472" y="2871"/>
                    </a:lnTo>
                    <a:lnTo>
                      <a:pt x="7485" y="2862"/>
                    </a:lnTo>
                    <a:lnTo>
                      <a:pt x="7492" y="2867"/>
                    </a:lnTo>
                    <a:lnTo>
                      <a:pt x="7496" y="2876"/>
                    </a:lnTo>
                    <a:lnTo>
                      <a:pt x="7505" y="2864"/>
                    </a:lnTo>
                    <a:lnTo>
                      <a:pt x="7517" y="2855"/>
                    </a:lnTo>
                    <a:lnTo>
                      <a:pt x="7527" y="2865"/>
                    </a:lnTo>
                    <a:lnTo>
                      <a:pt x="7532" y="2879"/>
                    </a:lnTo>
                    <a:lnTo>
                      <a:pt x="7542" y="2881"/>
                    </a:lnTo>
                    <a:lnTo>
                      <a:pt x="7547" y="2864"/>
                    </a:lnTo>
                    <a:lnTo>
                      <a:pt x="7547" y="2852"/>
                    </a:lnTo>
                    <a:lnTo>
                      <a:pt x="7556" y="2840"/>
                    </a:lnTo>
                    <a:lnTo>
                      <a:pt x="7563" y="2836"/>
                    </a:lnTo>
                    <a:lnTo>
                      <a:pt x="7581" y="2830"/>
                    </a:lnTo>
                    <a:lnTo>
                      <a:pt x="7588" y="2824"/>
                    </a:lnTo>
                    <a:lnTo>
                      <a:pt x="7598" y="2809"/>
                    </a:lnTo>
                    <a:lnTo>
                      <a:pt x="7604" y="2803"/>
                    </a:lnTo>
                    <a:lnTo>
                      <a:pt x="7609" y="2806"/>
                    </a:lnTo>
                    <a:lnTo>
                      <a:pt x="7612" y="2814"/>
                    </a:lnTo>
                    <a:lnTo>
                      <a:pt x="7607" y="2821"/>
                    </a:lnTo>
                    <a:lnTo>
                      <a:pt x="7610" y="2841"/>
                    </a:lnTo>
                    <a:lnTo>
                      <a:pt x="7606" y="2855"/>
                    </a:lnTo>
                    <a:lnTo>
                      <a:pt x="7606" y="2864"/>
                    </a:lnTo>
                    <a:lnTo>
                      <a:pt x="7604" y="2870"/>
                    </a:lnTo>
                    <a:lnTo>
                      <a:pt x="7602" y="2875"/>
                    </a:lnTo>
                    <a:lnTo>
                      <a:pt x="7602" y="2880"/>
                    </a:lnTo>
                    <a:lnTo>
                      <a:pt x="7606" y="2880"/>
                    </a:lnTo>
                    <a:lnTo>
                      <a:pt x="7618" y="2863"/>
                    </a:lnTo>
                    <a:lnTo>
                      <a:pt x="7647" y="2835"/>
                    </a:lnTo>
                    <a:lnTo>
                      <a:pt x="7649" y="2828"/>
                    </a:lnTo>
                    <a:lnTo>
                      <a:pt x="7647" y="2819"/>
                    </a:lnTo>
                    <a:lnTo>
                      <a:pt x="7650" y="2815"/>
                    </a:lnTo>
                    <a:lnTo>
                      <a:pt x="7658" y="2822"/>
                    </a:lnTo>
                    <a:lnTo>
                      <a:pt x="7667" y="2814"/>
                    </a:lnTo>
                    <a:lnTo>
                      <a:pt x="7678" y="2812"/>
                    </a:lnTo>
                    <a:lnTo>
                      <a:pt x="7694" y="2800"/>
                    </a:lnTo>
                    <a:lnTo>
                      <a:pt x="7706" y="2799"/>
                    </a:lnTo>
                    <a:lnTo>
                      <a:pt x="7714" y="2790"/>
                    </a:lnTo>
                    <a:lnTo>
                      <a:pt x="7720" y="2795"/>
                    </a:lnTo>
                    <a:lnTo>
                      <a:pt x="7726" y="2794"/>
                    </a:lnTo>
                    <a:lnTo>
                      <a:pt x="7755" y="2795"/>
                    </a:lnTo>
                    <a:lnTo>
                      <a:pt x="7770" y="2799"/>
                    </a:lnTo>
                    <a:lnTo>
                      <a:pt x="7781" y="2804"/>
                    </a:lnTo>
                    <a:lnTo>
                      <a:pt x="7795" y="2815"/>
                    </a:lnTo>
                    <a:lnTo>
                      <a:pt x="7800" y="2827"/>
                    </a:lnTo>
                    <a:lnTo>
                      <a:pt x="7819" y="2857"/>
                    </a:lnTo>
                    <a:lnTo>
                      <a:pt x="7820" y="2863"/>
                    </a:lnTo>
                    <a:lnTo>
                      <a:pt x="7833" y="2865"/>
                    </a:lnTo>
                    <a:lnTo>
                      <a:pt x="7836" y="2863"/>
                    </a:lnTo>
                    <a:lnTo>
                      <a:pt x="7836" y="2846"/>
                    </a:lnTo>
                    <a:lnTo>
                      <a:pt x="7848" y="2820"/>
                    </a:lnTo>
                    <a:lnTo>
                      <a:pt x="7848" y="2814"/>
                    </a:lnTo>
                    <a:lnTo>
                      <a:pt x="7845" y="2811"/>
                    </a:lnTo>
                    <a:lnTo>
                      <a:pt x="7852" y="2809"/>
                    </a:lnTo>
                    <a:lnTo>
                      <a:pt x="7865" y="2800"/>
                    </a:lnTo>
                    <a:lnTo>
                      <a:pt x="7871" y="2799"/>
                    </a:lnTo>
                    <a:lnTo>
                      <a:pt x="7875" y="2792"/>
                    </a:lnTo>
                    <a:lnTo>
                      <a:pt x="7879" y="2795"/>
                    </a:lnTo>
                    <a:lnTo>
                      <a:pt x="7886" y="2795"/>
                    </a:lnTo>
                    <a:lnTo>
                      <a:pt x="7899" y="2778"/>
                    </a:lnTo>
                    <a:lnTo>
                      <a:pt x="7903" y="2777"/>
                    </a:lnTo>
                    <a:lnTo>
                      <a:pt x="7903" y="2772"/>
                    </a:lnTo>
                    <a:lnTo>
                      <a:pt x="7913" y="2765"/>
                    </a:lnTo>
                    <a:lnTo>
                      <a:pt x="7921" y="2763"/>
                    </a:lnTo>
                    <a:lnTo>
                      <a:pt x="7925" y="2760"/>
                    </a:lnTo>
                    <a:lnTo>
                      <a:pt x="7931" y="2758"/>
                    </a:lnTo>
                    <a:lnTo>
                      <a:pt x="7932" y="2754"/>
                    </a:lnTo>
                    <a:lnTo>
                      <a:pt x="7931" y="2749"/>
                    </a:lnTo>
                    <a:lnTo>
                      <a:pt x="7926" y="2744"/>
                    </a:lnTo>
                    <a:lnTo>
                      <a:pt x="7927" y="2739"/>
                    </a:lnTo>
                    <a:lnTo>
                      <a:pt x="7936" y="2746"/>
                    </a:lnTo>
                    <a:lnTo>
                      <a:pt x="7941" y="2749"/>
                    </a:lnTo>
                    <a:lnTo>
                      <a:pt x="7946" y="2745"/>
                    </a:lnTo>
                    <a:lnTo>
                      <a:pt x="7948" y="2733"/>
                    </a:lnTo>
                    <a:lnTo>
                      <a:pt x="7946" y="2727"/>
                    </a:lnTo>
                    <a:lnTo>
                      <a:pt x="7957" y="2727"/>
                    </a:lnTo>
                    <a:lnTo>
                      <a:pt x="7968" y="2719"/>
                    </a:lnTo>
                    <a:lnTo>
                      <a:pt x="7970" y="2719"/>
                    </a:lnTo>
                    <a:lnTo>
                      <a:pt x="7973" y="2714"/>
                    </a:lnTo>
                    <a:lnTo>
                      <a:pt x="7968" y="2703"/>
                    </a:lnTo>
                    <a:lnTo>
                      <a:pt x="7972" y="2701"/>
                    </a:lnTo>
                    <a:lnTo>
                      <a:pt x="7978" y="2706"/>
                    </a:lnTo>
                    <a:lnTo>
                      <a:pt x="7981" y="2706"/>
                    </a:lnTo>
                    <a:lnTo>
                      <a:pt x="7988" y="2702"/>
                    </a:lnTo>
                    <a:lnTo>
                      <a:pt x="7992" y="2696"/>
                    </a:lnTo>
                    <a:lnTo>
                      <a:pt x="7996" y="2688"/>
                    </a:lnTo>
                    <a:lnTo>
                      <a:pt x="8000" y="2688"/>
                    </a:lnTo>
                    <a:lnTo>
                      <a:pt x="8002" y="2684"/>
                    </a:lnTo>
                    <a:lnTo>
                      <a:pt x="8004" y="2671"/>
                    </a:lnTo>
                    <a:lnTo>
                      <a:pt x="8006" y="2664"/>
                    </a:lnTo>
                    <a:lnTo>
                      <a:pt x="8012" y="2665"/>
                    </a:lnTo>
                    <a:lnTo>
                      <a:pt x="8017" y="2674"/>
                    </a:lnTo>
                    <a:lnTo>
                      <a:pt x="8022" y="2675"/>
                    </a:lnTo>
                    <a:lnTo>
                      <a:pt x="8027" y="2672"/>
                    </a:lnTo>
                    <a:lnTo>
                      <a:pt x="8040" y="2660"/>
                    </a:lnTo>
                    <a:lnTo>
                      <a:pt x="8067" y="2652"/>
                    </a:lnTo>
                    <a:lnTo>
                      <a:pt x="8075" y="2644"/>
                    </a:lnTo>
                    <a:lnTo>
                      <a:pt x="8090" y="2637"/>
                    </a:lnTo>
                    <a:lnTo>
                      <a:pt x="8093" y="2629"/>
                    </a:lnTo>
                    <a:lnTo>
                      <a:pt x="8094" y="2623"/>
                    </a:lnTo>
                    <a:lnTo>
                      <a:pt x="8094" y="2616"/>
                    </a:lnTo>
                    <a:lnTo>
                      <a:pt x="8103" y="2614"/>
                    </a:lnTo>
                    <a:lnTo>
                      <a:pt x="8102" y="2618"/>
                    </a:lnTo>
                    <a:lnTo>
                      <a:pt x="8099" y="2625"/>
                    </a:lnTo>
                    <a:lnTo>
                      <a:pt x="8103" y="2625"/>
                    </a:lnTo>
                    <a:lnTo>
                      <a:pt x="8126" y="2612"/>
                    </a:lnTo>
                    <a:lnTo>
                      <a:pt x="8133" y="2612"/>
                    </a:lnTo>
                    <a:lnTo>
                      <a:pt x="8146" y="2605"/>
                    </a:lnTo>
                    <a:lnTo>
                      <a:pt x="8182" y="2579"/>
                    </a:lnTo>
                    <a:lnTo>
                      <a:pt x="8209" y="2569"/>
                    </a:lnTo>
                    <a:lnTo>
                      <a:pt x="8212" y="2566"/>
                    </a:lnTo>
                    <a:lnTo>
                      <a:pt x="8210" y="2563"/>
                    </a:lnTo>
                    <a:lnTo>
                      <a:pt x="8205" y="2559"/>
                    </a:lnTo>
                    <a:lnTo>
                      <a:pt x="8199" y="2543"/>
                    </a:lnTo>
                    <a:lnTo>
                      <a:pt x="8196" y="2534"/>
                    </a:lnTo>
                    <a:lnTo>
                      <a:pt x="8200" y="2530"/>
                    </a:lnTo>
                    <a:lnTo>
                      <a:pt x="8204" y="2536"/>
                    </a:lnTo>
                    <a:lnTo>
                      <a:pt x="8209" y="2548"/>
                    </a:lnTo>
                    <a:lnTo>
                      <a:pt x="8215" y="2557"/>
                    </a:lnTo>
                    <a:lnTo>
                      <a:pt x="8219" y="2557"/>
                    </a:lnTo>
                    <a:lnTo>
                      <a:pt x="8219" y="2563"/>
                    </a:lnTo>
                    <a:lnTo>
                      <a:pt x="8221" y="2566"/>
                    </a:lnTo>
                    <a:lnTo>
                      <a:pt x="8232" y="2567"/>
                    </a:lnTo>
                    <a:lnTo>
                      <a:pt x="8231" y="2559"/>
                    </a:lnTo>
                    <a:lnTo>
                      <a:pt x="8227" y="2553"/>
                    </a:lnTo>
                    <a:lnTo>
                      <a:pt x="8233" y="2553"/>
                    </a:lnTo>
                    <a:lnTo>
                      <a:pt x="8237" y="2561"/>
                    </a:lnTo>
                    <a:lnTo>
                      <a:pt x="8243" y="2568"/>
                    </a:lnTo>
                    <a:lnTo>
                      <a:pt x="8253" y="2568"/>
                    </a:lnTo>
                    <a:lnTo>
                      <a:pt x="8266" y="2573"/>
                    </a:lnTo>
                    <a:lnTo>
                      <a:pt x="8275" y="2582"/>
                    </a:lnTo>
                    <a:lnTo>
                      <a:pt x="8290" y="2591"/>
                    </a:lnTo>
                    <a:lnTo>
                      <a:pt x="8306" y="2596"/>
                    </a:lnTo>
                    <a:lnTo>
                      <a:pt x="8309" y="2594"/>
                    </a:lnTo>
                    <a:lnTo>
                      <a:pt x="8313" y="2582"/>
                    </a:lnTo>
                    <a:lnTo>
                      <a:pt x="8320" y="2580"/>
                    </a:lnTo>
                    <a:lnTo>
                      <a:pt x="8334" y="2558"/>
                    </a:lnTo>
                    <a:lnTo>
                      <a:pt x="8338" y="2545"/>
                    </a:lnTo>
                    <a:lnTo>
                      <a:pt x="8334" y="2535"/>
                    </a:lnTo>
                    <a:lnTo>
                      <a:pt x="8324" y="2526"/>
                    </a:lnTo>
                    <a:lnTo>
                      <a:pt x="8311" y="2521"/>
                    </a:lnTo>
                    <a:lnTo>
                      <a:pt x="8308" y="2518"/>
                    </a:lnTo>
                    <a:lnTo>
                      <a:pt x="8307" y="2512"/>
                    </a:lnTo>
                    <a:lnTo>
                      <a:pt x="8309" y="2512"/>
                    </a:lnTo>
                    <a:lnTo>
                      <a:pt x="8316" y="2509"/>
                    </a:lnTo>
                    <a:lnTo>
                      <a:pt x="8327" y="2510"/>
                    </a:lnTo>
                    <a:lnTo>
                      <a:pt x="8332" y="2507"/>
                    </a:lnTo>
                    <a:lnTo>
                      <a:pt x="8324" y="2491"/>
                    </a:lnTo>
                    <a:lnTo>
                      <a:pt x="8317" y="2491"/>
                    </a:lnTo>
                    <a:lnTo>
                      <a:pt x="8308" y="2478"/>
                    </a:lnTo>
                    <a:lnTo>
                      <a:pt x="8301" y="2464"/>
                    </a:lnTo>
                    <a:lnTo>
                      <a:pt x="8297" y="2443"/>
                    </a:lnTo>
                    <a:lnTo>
                      <a:pt x="8295" y="2435"/>
                    </a:lnTo>
                    <a:lnTo>
                      <a:pt x="8291" y="2396"/>
                    </a:lnTo>
                    <a:lnTo>
                      <a:pt x="8280" y="2402"/>
                    </a:lnTo>
                    <a:lnTo>
                      <a:pt x="8271" y="2390"/>
                    </a:lnTo>
                    <a:lnTo>
                      <a:pt x="8270" y="2384"/>
                    </a:lnTo>
                    <a:lnTo>
                      <a:pt x="8280" y="2381"/>
                    </a:lnTo>
                    <a:lnTo>
                      <a:pt x="8284" y="2384"/>
                    </a:lnTo>
                    <a:lnTo>
                      <a:pt x="8280" y="2369"/>
                    </a:lnTo>
                    <a:lnTo>
                      <a:pt x="8273" y="2347"/>
                    </a:lnTo>
                    <a:lnTo>
                      <a:pt x="8266" y="2359"/>
                    </a:lnTo>
                    <a:lnTo>
                      <a:pt x="8260" y="2363"/>
                    </a:lnTo>
                    <a:lnTo>
                      <a:pt x="8249" y="2358"/>
                    </a:lnTo>
                    <a:lnTo>
                      <a:pt x="8242" y="2349"/>
                    </a:lnTo>
                    <a:lnTo>
                      <a:pt x="8231" y="2346"/>
                    </a:lnTo>
                    <a:lnTo>
                      <a:pt x="8222" y="2335"/>
                    </a:lnTo>
                    <a:lnTo>
                      <a:pt x="8221" y="2321"/>
                    </a:lnTo>
                    <a:lnTo>
                      <a:pt x="8221" y="2311"/>
                    </a:lnTo>
                    <a:lnTo>
                      <a:pt x="8222" y="2300"/>
                    </a:lnTo>
                    <a:lnTo>
                      <a:pt x="8230" y="2292"/>
                    </a:lnTo>
                    <a:lnTo>
                      <a:pt x="8239" y="2300"/>
                    </a:lnTo>
                    <a:lnTo>
                      <a:pt x="8258" y="2305"/>
                    </a:lnTo>
                    <a:lnTo>
                      <a:pt x="8268" y="2298"/>
                    </a:lnTo>
                    <a:lnTo>
                      <a:pt x="8266" y="2302"/>
                    </a:lnTo>
                    <a:lnTo>
                      <a:pt x="8271" y="2309"/>
                    </a:lnTo>
                    <a:lnTo>
                      <a:pt x="8289" y="2305"/>
                    </a:lnTo>
                    <a:lnTo>
                      <a:pt x="8285" y="2314"/>
                    </a:lnTo>
                    <a:lnTo>
                      <a:pt x="8286" y="2319"/>
                    </a:lnTo>
                    <a:lnTo>
                      <a:pt x="8298" y="2310"/>
                    </a:lnTo>
                    <a:lnTo>
                      <a:pt x="8306" y="2299"/>
                    </a:lnTo>
                    <a:lnTo>
                      <a:pt x="8320" y="2292"/>
                    </a:lnTo>
                    <a:lnTo>
                      <a:pt x="8335" y="2288"/>
                    </a:lnTo>
                    <a:lnTo>
                      <a:pt x="8355" y="2263"/>
                    </a:lnTo>
                    <a:lnTo>
                      <a:pt x="8363" y="2256"/>
                    </a:lnTo>
                    <a:lnTo>
                      <a:pt x="8363" y="2254"/>
                    </a:lnTo>
                    <a:lnTo>
                      <a:pt x="8377" y="2243"/>
                    </a:lnTo>
                    <a:lnTo>
                      <a:pt x="8393" y="2219"/>
                    </a:lnTo>
                    <a:lnTo>
                      <a:pt x="8395" y="2204"/>
                    </a:lnTo>
                    <a:lnTo>
                      <a:pt x="8404" y="2193"/>
                    </a:lnTo>
                    <a:lnTo>
                      <a:pt x="8403" y="2179"/>
                    </a:lnTo>
                    <a:lnTo>
                      <a:pt x="8390" y="2170"/>
                    </a:lnTo>
                    <a:lnTo>
                      <a:pt x="8373" y="2149"/>
                    </a:lnTo>
                    <a:lnTo>
                      <a:pt x="8372" y="2130"/>
                    </a:lnTo>
                    <a:lnTo>
                      <a:pt x="8370" y="2115"/>
                    </a:lnTo>
                    <a:lnTo>
                      <a:pt x="8378" y="2115"/>
                    </a:lnTo>
                    <a:lnTo>
                      <a:pt x="8384" y="2111"/>
                    </a:lnTo>
                    <a:lnTo>
                      <a:pt x="8389" y="2119"/>
                    </a:lnTo>
                    <a:lnTo>
                      <a:pt x="8402" y="2112"/>
                    </a:lnTo>
                    <a:lnTo>
                      <a:pt x="8400" y="2088"/>
                    </a:lnTo>
                    <a:lnTo>
                      <a:pt x="8408" y="2095"/>
                    </a:lnTo>
                    <a:lnTo>
                      <a:pt x="8410" y="2085"/>
                    </a:lnTo>
                    <a:lnTo>
                      <a:pt x="8413" y="2096"/>
                    </a:lnTo>
                    <a:lnTo>
                      <a:pt x="8424" y="2110"/>
                    </a:lnTo>
                    <a:lnTo>
                      <a:pt x="8431" y="2107"/>
                    </a:lnTo>
                    <a:lnTo>
                      <a:pt x="8437" y="2095"/>
                    </a:lnTo>
                    <a:lnTo>
                      <a:pt x="8440" y="2085"/>
                    </a:lnTo>
                    <a:lnTo>
                      <a:pt x="8446" y="2084"/>
                    </a:lnTo>
                    <a:lnTo>
                      <a:pt x="8447" y="2087"/>
                    </a:lnTo>
                    <a:lnTo>
                      <a:pt x="8443" y="2106"/>
                    </a:lnTo>
                    <a:lnTo>
                      <a:pt x="8445" y="2120"/>
                    </a:lnTo>
                    <a:lnTo>
                      <a:pt x="8436" y="2126"/>
                    </a:lnTo>
                    <a:lnTo>
                      <a:pt x="8430" y="2126"/>
                    </a:lnTo>
                    <a:lnTo>
                      <a:pt x="8422" y="2123"/>
                    </a:lnTo>
                    <a:lnTo>
                      <a:pt x="8427" y="2137"/>
                    </a:lnTo>
                    <a:lnTo>
                      <a:pt x="8432" y="2147"/>
                    </a:lnTo>
                    <a:lnTo>
                      <a:pt x="8437" y="2158"/>
                    </a:lnTo>
                    <a:lnTo>
                      <a:pt x="8443" y="2159"/>
                    </a:lnTo>
                    <a:lnTo>
                      <a:pt x="8448" y="2173"/>
                    </a:lnTo>
                    <a:lnTo>
                      <a:pt x="8448" y="2190"/>
                    </a:lnTo>
                    <a:lnTo>
                      <a:pt x="8459" y="2195"/>
                    </a:lnTo>
                    <a:lnTo>
                      <a:pt x="8473" y="2195"/>
                    </a:lnTo>
                    <a:lnTo>
                      <a:pt x="8491" y="2200"/>
                    </a:lnTo>
                    <a:lnTo>
                      <a:pt x="8511" y="2193"/>
                    </a:lnTo>
                    <a:lnTo>
                      <a:pt x="8516" y="2185"/>
                    </a:lnTo>
                    <a:lnTo>
                      <a:pt x="8526" y="2184"/>
                    </a:lnTo>
                    <a:lnTo>
                      <a:pt x="8546" y="2187"/>
                    </a:lnTo>
                    <a:lnTo>
                      <a:pt x="8556" y="2185"/>
                    </a:lnTo>
                    <a:lnTo>
                      <a:pt x="8564" y="2192"/>
                    </a:lnTo>
                    <a:lnTo>
                      <a:pt x="8569" y="2200"/>
                    </a:lnTo>
                    <a:lnTo>
                      <a:pt x="8578" y="2200"/>
                    </a:lnTo>
                    <a:lnTo>
                      <a:pt x="8589" y="2204"/>
                    </a:lnTo>
                    <a:lnTo>
                      <a:pt x="8588" y="2222"/>
                    </a:lnTo>
                    <a:lnTo>
                      <a:pt x="8593" y="2233"/>
                    </a:lnTo>
                    <a:lnTo>
                      <a:pt x="8593" y="2247"/>
                    </a:lnTo>
                    <a:lnTo>
                      <a:pt x="8591" y="2259"/>
                    </a:lnTo>
                    <a:lnTo>
                      <a:pt x="8613" y="2278"/>
                    </a:lnTo>
                    <a:lnTo>
                      <a:pt x="8618" y="2286"/>
                    </a:lnTo>
                    <a:lnTo>
                      <a:pt x="8619" y="2293"/>
                    </a:lnTo>
                    <a:lnTo>
                      <a:pt x="8630" y="2294"/>
                    </a:lnTo>
                    <a:lnTo>
                      <a:pt x="8640" y="2299"/>
                    </a:lnTo>
                    <a:lnTo>
                      <a:pt x="8645" y="2298"/>
                    </a:lnTo>
                    <a:lnTo>
                      <a:pt x="8637" y="2292"/>
                    </a:lnTo>
                    <a:lnTo>
                      <a:pt x="8644" y="2281"/>
                    </a:lnTo>
                    <a:lnTo>
                      <a:pt x="8646" y="2287"/>
                    </a:lnTo>
                    <a:lnTo>
                      <a:pt x="8656" y="2288"/>
                    </a:lnTo>
                    <a:lnTo>
                      <a:pt x="8656" y="2272"/>
                    </a:lnTo>
                    <a:lnTo>
                      <a:pt x="8660" y="2266"/>
                    </a:lnTo>
                    <a:lnTo>
                      <a:pt x="8661" y="2270"/>
                    </a:lnTo>
                    <a:lnTo>
                      <a:pt x="8660" y="2286"/>
                    </a:lnTo>
                    <a:lnTo>
                      <a:pt x="8652" y="2295"/>
                    </a:lnTo>
                    <a:lnTo>
                      <a:pt x="8668" y="2309"/>
                    </a:lnTo>
                    <a:lnTo>
                      <a:pt x="8678" y="2309"/>
                    </a:lnTo>
                    <a:lnTo>
                      <a:pt x="8684" y="2313"/>
                    </a:lnTo>
                    <a:lnTo>
                      <a:pt x="8682" y="2319"/>
                    </a:lnTo>
                    <a:lnTo>
                      <a:pt x="8693" y="2329"/>
                    </a:lnTo>
                    <a:lnTo>
                      <a:pt x="8693" y="2340"/>
                    </a:lnTo>
                    <a:lnTo>
                      <a:pt x="8705" y="2340"/>
                    </a:lnTo>
                    <a:lnTo>
                      <a:pt x="8709" y="2330"/>
                    </a:lnTo>
                    <a:lnTo>
                      <a:pt x="8707" y="2345"/>
                    </a:lnTo>
                    <a:lnTo>
                      <a:pt x="8718" y="2348"/>
                    </a:lnTo>
                    <a:lnTo>
                      <a:pt x="8727" y="2343"/>
                    </a:lnTo>
                    <a:lnTo>
                      <a:pt x="8731" y="2331"/>
                    </a:lnTo>
                    <a:lnTo>
                      <a:pt x="8732" y="2317"/>
                    </a:lnTo>
                    <a:lnTo>
                      <a:pt x="8737" y="2324"/>
                    </a:lnTo>
                    <a:lnTo>
                      <a:pt x="8736" y="2332"/>
                    </a:lnTo>
                    <a:lnTo>
                      <a:pt x="8728" y="2351"/>
                    </a:lnTo>
                    <a:lnTo>
                      <a:pt x="8736" y="2358"/>
                    </a:lnTo>
                    <a:lnTo>
                      <a:pt x="8744" y="2360"/>
                    </a:lnTo>
                    <a:lnTo>
                      <a:pt x="8749" y="2359"/>
                    </a:lnTo>
                    <a:lnTo>
                      <a:pt x="8757" y="2352"/>
                    </a:lnTo>
                    <a:lnTo>
                      <a:pt x="8757" y="2335"/>
                    </a:lnTo>
                    <a:lnTo>
                      <a:pt x="8747" y="2333"/>
                    </a:lnTo>
                    <a:lnTo>
                      <a:pt x="8746" y="2329"/>
                    </a:lnTo>
                    <a:lnTo>
                      <a:pt x="8755" y="2326"/>
                    </a:lnTo>
                    <a:lnTo>
                      <a:pt x="8764" y="2331"/>
                    </a:lnTo>
                    <a:lnTo>
                      <a:pt x="8773" y="2341"/>
                    </a:lnTo>
                    <a:lnTo>
                      <a:pt x="8785" y="2337"/>
                    </a:lnTo>
                    <a:lnTo>
                      <a:pt x="8776" y="2319"/>
                    </a:lnTo>
                    <a:lnTo>
                      <a:pt x="8776" y="2315"/>
                    </a:lnTo>
                    <a:lnTo>
                      <a:pt x="8770" y="2309"/>
                    </a:lnTo>
                    <a:lnTo>
                      <a:pt x="8758" y="2311"/>
                    </a:lnTo>
                    <a:lnTo>
                      <a:pt x="8758" y="2309"/>
                    </a:lnTo>
                    <a:lnTo>
                      <a:pt x="8752" y="2305"/>
                    </a:lnTo>
                    <a:lnTo>
                      <a:pt x="8750" y="2300"/>
                    </a:lnTo>
                    <a:lnTo>
                      <a:pt x="8761" y="2299"/>
                    </a:lnTo>
                    <a:lnTo>
                      <a:pt x="8764" y="2293"/>
                    </a:lnTo>
                    <a:lnTo>
                      <a:pt x="8758" y="2287"/>
                    </a:lnTo>
                    <a:lnTo>
                      <a:pt x="8744" y="2290"/>
                    </a:lnTo>
                    <a:lnTo>
                      <a:pt x="8753" y="2283"/>
                    </a:lnTo>
                    <a:lnTo>
                      <a:pt x="8765" y="2283"/>
                    </a:lnTo>
                    <a:lnTo>
                      <a:pt x="8770" y="2278"/>
                    </a:lnTo>
                    <a:lnTo>
                      <a:pt x="8769" y="2270"/>
                    </a:lnTo>
                    <a:lnTo>
                      <a:pt x="8779" y="2276"/>
                    </a:lnTo>
                    <a:lnTo>
                      <a:pt x="8801" y="2256"/>
                    </a:lnTo>
                    <a:lnTo>
                      <a:pt x="8796" y="2249"/>
                    </a:lnTo>
                    <a:lnTo>
                      <a:pt x="8790" y="2236"/>
                    </a:lnTo>
                    <a:lnTo>
                      <a:pt x="8780" y="2238"/>
                    </a:lnTo>
                    <a:lnTo>
                      <a:pt x="8769" y="2233"/>
                    </a:lnTo>
                    <a:lnTo>
                      <a:pt x="8795" y="2232"/>
                    </a:lnTo>
                    <a:lnTo>
                      <a:pt x="8792" y="2220"/>
                    </a:lnTo>
                    <a:lnTo>
                      <a:pt x="8796" y="2209"/>
                    </a:lnTo>
                    <a:lnTo>
                      <a:pt x="8811" y="2197"/>
                    </a:lnTo>
                    <a:lnTo>
                      <a:pt x="8824" y="2195"/>
                    </a:lnTo>
                    <a:lnTo>
                      <a:pt x="8841" y="2201"/>
                    </a:lnTo>
                    <a:lnTo>
                      <a:pt x="8852" y="2201"/>
                    </a:lnTo>
                    <a:lnTo>
                      <a:pt x="8857" y="2195"/>
                    </a:lnTo>
                    <a:lnTo>
                      <a:pt x="8854" y="2186"/>
                    </a:lnTo>
                    <a:lnTo>
                      <a:pt x="8839" y="2176"/>
                    </a:lnTo>
                    <a:lnTo>
                      <a:pt x="8835" y="2160"/>
                    </a:lnTo>
                    <a:lnTo>
                      <a:pt x="8840" y="2153"/>
                    </a:lnTo>
                    <a:lnTo>
                      <a:pt x="8850" y="2166"/>
                    </a:lnTo>
                    <a:lnTo>
                      <a:pt x="8861" y="2173"/>
                    </a:lnTo>
                    <a:lnTo>
                      <a:pt x="8867" y="2182"/>
                    </a:lnTo>
                    <a:lnTo>
                      <a:pt x="8881" y="2184"/>
                    </a:lnTo>
                    <a:lnTo>
                      <a:pt x="8883" y="2174"/>
                    </a:lnTo>
                    <a:lnTo>
                      <a:pt x="8882" y="2164"/>
                    </a:lnTo>
                    <a:lnTo>
                      <a:pt x="8886" y="2142"/>
                    </a:lnTo>
                    <a:lnTo>
                      <a:pt x="8898" y="2137"/>
                    </a:lnTo>
                    <a:lnTo>
                      <a:pt x="8906" y="2126"/>
                    </a:lnTo>
                    <a:lnTo>
                      <a:pt x="8916" y="2125"/>
                    </a:lnTo>
                    <a:lnTo>
                      <a:pt x="8926" y="2127"/>
                    </a:lnTo>
                    <a:lnTo>
                      <a:pt x="8931" y="2116"/>
                    </a:lnTo>
                    <a:lnTo>
                      <a:pt x="8921" y="2114"/>
                    </a:lnTo>
                    <a:lnTo>
                      <a:pt x="8917" y="2116"/>
                    </a:lnTo>
                    <a:lnTo>
                      <a:pt x="8909" y="2110"/>
                    </a:lnTo>
                    <a:lnTo>
                      <a:pt x="8902" y="2109"/>
                    </a:lnTo>
                    <a:lnTo>
                      <a:pt x="8904" y="2101"/>
                    </a:lnTo>
                    <a:lnTo>
                      <a:pt x="8895" y="2091"/>
                    </a:lnTo>
                    <a:lnTo>
                      <a:pt x="8883" y="2104"/>
                    </a:lnTo>
                    <a:lnTo>
                      <a:pt x="8878" y="2098"/>
                    </a:lnTo>
                    <a:lnTo>
                      <a:pt x="8886" y="2093"/>
                    </a:lnTo>
                    <a:lnTo>
                      <a:pt x="8886" y="2089"/>
                    </a:lnTo>
                    <a:lnTo>
                      <a:pt x="8874" y="2078"/>
                    </a:lnTo>
                    <a:lnTo>
                      <a:pt x="8862" y="2071"/>
                    </a:lnTo>
                    <a:lnTo>
                      <a:pt x="8856" y="2058"/>
                    </a:lnTo>
                    <a:lnTo>
                      <a:pt x="8841" y="2046"/>
                    </a:lnTo>
                    <a:lnTo>
                      <a:pt x="8834" y="2035"/>
                    </a:lnTo>
                    <a:lnTo>
                      <a:pt x="8834" y="2026"/>
                    </a:lnTo>
                    <a:lnTo>
                      <a:pt x="8823" y="2020"/>
                    </a:lnTo>
                    <a:lnTo>
                      <a:pt x="8819" y="2013"/>
                    </a:lnTo>
                    <a:lnTo>
                      <a:pt x="8817" y="2002"/>
                    </a:lnTo>
                    <a:lnTo>
                      <a:pt x="8769" y="1992"/>
                    </a:lnTo>
                    <a:lnTo>
                      <a:pt x="8759" y="1996"/>
                    </a:lnTo>
                    <a:lnTo>
                      <a:pt x="8781" y="2002"/>
                    </a:lnTo>
                    <a:lnTo>
                      <a:pt x="8777" y="2009"/>
                    </a:lnTo>
                    <a:lnTo>
                      <a:pt x="8766" y="2010"/>
                    </a:lnTo>
                    <a:lnTo>
                      <a:pt x="8755" y="2008"/>
                    </a:lnTo>
                    <a:lnTo>
                      <a:pt x="8737" y="1997"/>
                    </a:lnTo>
                    <a:lnTo>
                      <a:pt x="8741" y="2010"/>
                    </a:lnTo>
                    <a:lnTo>
                      <a:pt x="8737" y="2019"/>
                    </a:lnTo>
                    <a:lnTo>
                      <a:pt x="8732" y="2019"/>
                    </a:lnTo>
                    <a:lnTo>
                      <a:pt x="8728" y="2009"/>
                    </a:lnTo>
                    <a:lnTo>
                      <a:pt x="8723" y="2002"/>
                    </a:lnTo>
                    <a:lnTo>
                      <a:pt x="8726" y="1992"/>
                    </a:lnTo>
                    <a:lnTo>
                      <a:pt x="8734" y="1990"/>
                    </a:lnTo>
                    <a:lnTo>
                      <a:pt x="8723" y="1983"/>
                    </a:lnTo>
                    <a:lnTo>
                      <a:pt x="8717" y="1983"/>
                    </a:lnTo>
                    <a:lnTo>
                      <a:pt x="8715" y="1977"/>
                    </a:lnTo>
                    <a:lnTo>
                      <a:pt x="8707" y="1975"/>
                    </a:lnTo>
                    <a:lnTo>
                      <a:pt x="8709" y="1982"/>
                    </a:lnTo>
                    <a:lnTo>
                      <a:pt x="8704" y="1993"/>
                    </a:lnTo>
                    <a:lnTo>
                      <a:pt x="8700" y="1991"/>
                    </a:lnTo>
                    <a:lnTo>
                      <a:pt x="8698" y="1985"/>
                    </a:lnTo>
                    <a:lnTo>
                      <a:pt x="8685" y="1981"/>
                    </a:lnTo>
                    <a:lnTo>
                      <a:pt x="8674" y="1982"/>
                    </a:lnTo>
                    <a:lnTo>
                      <a:pt x="8663" y="1987"/>
                    </a:lnTo>
                    <a:lnTo>
                      <a:pt x="8668" y="1994"/>
                    </a:lnTo>
                    <a:lnTo>
                      <a:pt x="8671" y="1987"/>
                    </a:lnTo>
                    <a:lnTo>
                      <a:pt x="8683" y="1983"/>
                    </a:lnTo>
                    <a:lnTo>
                      <a:pt x="8684" y="1988"/>
                    </a:lnTo>
                    <a:lnTo>
                      <a:pt x="8677" y="1992"/>
                    </a:lnTo>
                    <a:lnTo>
                      <a:pt x="8690" y="1997"/>
                    </a:lnTo>
                    <a:lnTo>
                      <a:pt x="8690" y="2023"/>
                    </a:lnTo>
                    <a:lnTo>
                      <a:pt x="8685" y="2046"/>
                    </a:lnTo>
                    <a:lnTo>
                      <a:pt x="8693" y="2048"/>
                    </a:lnTo>
                    <a:lnTo>
                      <a:pt x="8696" y="2044"/>
                    </a:lnTo>
                    <a:lnTo>
                      <a:pt x="8700" y="2047"/>
                    </a:lnTo>
                    <a:lnTo>
                      <a:pt x="8706" y="2060"/>
                    </a:lnTo>
                    <a:lnTo>
                      <a:pt x="8706" y="2069"/>
                    </a:lnTo>
                    <a:lnTo>
                      <a:pt x="8704" y="2079"/>
                    </a:lnTo>
                    <a:lnTo>
                      <a:pt x="8696" y="2080"/>
                    </a:lnTo>
                    <a:lnTo>
                      <a:pt x="8693" y="2088"/>
                    </a:lnTo>
                    <a:lnTo>
                      <a:pt x="8693" y="2080"/>
                    </a:lnTo>
                    <a:lnTo>
                      <a:pt x="8695" y="2076"/>
                    </a:lnTo>
                    <a:lnTo>
                      <a:pt x="8695" y="2061"/>
                    </a:lnTo>
                    <a:lnTo>
                      <a:pt x="8683" y="2056"/>
                    </a:lnTo>
                    <a:lnTo>
                      <a:pt x="8673" y="2057"/>
                    </a:lnTo>
                    <a:lnTo>
                      <a:pt x="8671" y="2047"/>
                    </a:lnTo>
                    <a:lnTo>
                      <a:pt x="8672" y="2041"/>
                    </a:lnTo>
                    <a:lnTo>
                      <a:pt x="8660" y="2034"/>
                    </a:lnTo>
                    <a:lnTo>
                      <a:pt x="8655" y="2025"/>
                    </a:lnTo>
                    <a:lnTo>
                      <a:pt x="8657" y="2013"/>
                    </a:lnTo>
                    <a:lnTo>
                      <a:pt x="8656" y="2002"/>
                    </a:lnTo>
                    <a:lnTo>
                      <a:pt x="8650" y="1987"/>
                    </a:lnTo>
                    <a:lnTo>
                      <a:pt x="8647" y="1971"/>
                    </a:lnTo>
                    <a:lnTo>
                      <a:pt x="8642" y="1949"/>
                    </a:lnTo>
                    <a:lnTo>
                      <a:pt x="8637" y="1940"/>
                    </a:lnTo>
                    <a:lnTo>
                      <a:pt x="8640" y="1932"/>
                    </a:lnTo>
                    <a:lnTo>
                      <a:pt x="8647" y="1940"/>
                    </a:lnTo>
                    <a:lnTo>
                      <a:pt x="8648" y="1951"/>
                    </a:lnTo>
                    <a:lnTo>
                      <a:pt x="8651" y="1947"/>
                    </a:lnTo>
                    <a:lnTo>
                      <a:pt x="8647" y="1938"/>
                    </a:lnTo>
                    <a:lnTo>
                      <a:pt x="8623" y="1920"/>
                    </a:lnTo>
                    <a:lnTo>
                      <a:pt x="8619" y="1906"/>
                    </a:lnTo>
                    <a:lnTo>
                      <a:pt x="8618" y="1897"/>
                    </a:lnTo>
                    <a:lnTo>
                      <a:pt x="8592" y="1884"/>
                    </a:lnTo>
                    <a:lnTo>
                      <a:pt x="8588" y="1886"/>
                    </a:lnTo>
                    <a:lnTo>
                      <a:pt x="8592" y="1897"/>
                    </a:lnTo>
                    <a:lnTo>
                      <a:pt x="8599" y="1910"/>
                    </a:lnTo>
                    <a:lnTo>
                      <a:pt x="8605" y="1916"/>
                    </a:lnTo>
                    <a:lnTo>
                      <a:pt x="8610" y="1916"/>
                    </a:lnTo>
                    <a:lnTo>
                      <a:pt x="8615" y="1923"/>
                    </a:lnTo>
                    <a:lnTo>
                      <a:pt x="8617" y="1932"/>
                    </a:lnTo>
                    <a:lnTo>
                      <a:pt x="8608" y="1928"/>
                    </a:lnTo>
                    <a:lnTo>
                      <a:pt x="8578" y="1906"/>
                    </a:lnTo>
                    <a:lnTo>
                      <a:pt x="8569" y="1904"/>
                    </a:lnTo>
                    <a:lnTo>
                      <a:pt x="8559" y="1897"/>
                    </a:lnTo>
                    <a:lnTo>
                      <a:pt x="8564" y="1891"/>
                    </a:lnTo>
                    <a:lnTo>
                      <a:pt x="8574" y="1889"/>
                    </a:lnTo>
                    <a:lnTo>
                      <a:pt x="8575" y="1879"/>
                    </a:lnTo>
                    <a:lnTo>
                      <a:pt x="8577" y="1874"/>
                    </a:lnTo>
                    <a:lnTo>
                      <a:pt x="8556" y="1869"/>
                    </a:lnTo>
                    <a:lnTo>
                      <a:pt x="8545" y="1869"/>
                    </a:lnTo>
                    <a:lnTo>
                      <a:pt x="8538" y="1863"/>
                    </a:lnTo>
                    <a:lnTo>
                      <a:pt x="8527" y="1859"/>
                    </a:lnTo>
                    <a:lnTo>
                      <a:pt x="8532" y="1852"/>
                    </a:lnTo>
                    <a:lnTo>
                      <a:pt x="8537" y="1851"/>
                    </a:lnTo>
                    <a:lnTo>
                      <a:pt x="8534" y="1845"/>
                    </a:lnTo>
                    <a:lnTo>
                      <a:pt x="8532" y="1836"/>
                    </a:lnTo>
                    <a:lnTo>
                      <a:pt x="8515" y="1836"/>
                    </a:lnTo>
                    <a:lnTo>
                      <a:pt x="8517" y="1829"/>
                    </a:lnTo>
                    <a:lnTo>
                      <a:pt x="8510" y="1818"/>
                    </a:lnTo>
                    <a:lnTo>
                      <a:pt x="8501" y="1820"/>
                    </a:lnTo>
                    <a:lnTo>
                      <a:pt x="8501" y="1816"/>
                    </a:lnTo>
                    <a:lnTo>
                      <a:pt x="8489" y="1808"/>
                    </a:lnTo>
                    <a:lnTo>
                      <a:pt x="8470" y="1816"/>
                    </a:lnTo>
                    <a:lnTo>
                      <a:pt x="8469" y="1810"/>
                    </a:lnTo>
                    <a:lnTo>
                      <a:pt x="8472" y="1802"/>
                    </a:lnTo>
                    <a:lnTo>
                      <a:pt x="8470" y="1795"/>
                    </a:lnTo>
                    <a:lnTo>
                      <a:pt x="8465" y="1787"/>
                    </a:lnTo>
                    <a:lnTo>
                      <a:pt x="8453" y="1776"/>
                    </a:lnTo>
                    <a:lnTo>
                      <a:pt x="8463" y="1789"/>
                    </a:lnTo>
                    <a:lnTo>
                      <a:pt x="8448" y="1782"/>
                    </a:lnTo>
                    <a:lnTo>
                      <a:pt x="8442" y="1782"/>
                    </a:lnTo>
                    <a:lnTo>
                      <a:pt x="8433" y="1773"/>
                    </a:lnTo>
                    <a:lnTo>
                      <a:pt x="8431" y="1752"/>
                    </a:lnTo>
                    <a:lnTo>
                      <a:pt x="8425" y="1740"/>
                    </a:lnTo>
                    <a:lnTo>
                      <a:pt x="8419" y="1740"/>
                    </a:lnTo>
                    <a:lnTo>
                      <a:pt x="8394" y="1729"/>
                    </a:lnTo>
                    <a:lnTo>
                      <a:pt x="8387" y="1721"/>
                    </a:lnTo>
                    <a:lnTo>
                      <a:pt x="8375" y="1722"/>
                    </a:lnTo>
                    <a:lnTo>
                      <a:pt x="8363" y="1716"/>
                    </a:lnTo>
                    <a:lnTo>
                      <a:pt x="8363" y="1716"/>
                    </a:lnTo>
                    <a:lnTo>
                      <a:pt x="8317" y="1666"/>
                    </a:lnTo>
                    <a:lnTo>
                      <a:pt x="8295" y="1652"/>
                    </a:lnTo>
                    <a:lnTo>
                      <a:pt x="8282" y="1648"/>
                    </a:lnTo>
                    <a:lnTo>
                      <a:pt x="8276" y="1637"/>
                    </a:lnTo>
                    <a:lnTo>
                      <a:pt x="8271" y="1641"/>
                    </a:lnTo>
                    <a:lnTo>
                      <a:pt x="8234" y="1622"/>
                    </a:lnTo>
                    <a:lnTo>
                      <a:pt x="8220" y="1606"/>
                    </a:lnTo>
                    <a:lnTo>
                      <a:pt x="8212" y="1609"/>
                    </a:lnTo>
                    <a:lnTo>
                      <a:pt x="8191" y="1599"/>
                    </a:lnTo>
                    <a:lnTo>
                      <a:pt x="8179" y="1598"/>
                    </a:lnTo>
                    <a:lnTo>
                      <a:pt x="8150" y="1569"/>
                    </a:lnTo>
                    <a:lnTo>
                      <a:pt x="8137" y="1567"/>
                    </a:lnTo>
                    <a:lnTo>
                      <a:pt x="8086" y="1566"/>
                    </a:lnTo>
                    <a:lnTo>
                      <a:pt x="8081" y="1571"/>
                    </a:lnTo>
                    <a:lnTo>
                      <a:pt x="8066" y="1574"/>
                    </a:lnTo>
                    <a:lnTo>
                      <a:pt x="8056" y="1568"/>
                    </a:lnTo>
                    <a:lnTo>
                      <a:pt x="8042" y="1563"/>
                    </a:lnTo>
                    <a:lnTo>
                      <a:pt x="8028" y="1567"/>
                    </a:lnTo>
                    <a:lnTo>
                      <a:pt x="8005" y="1565"/>
                    </a:lnTo>
                    <a:lnTo>
                      <a:pt x="7992" y="1571"/>
                    </a:lnTo>
                    <a:lnTo>
                      <a:pt x="7978" y="1568"/>
                    </a:lnTo>
                    <a:lnTo>
                      <a:pt x="7952" y="1553"/>
                    </a:lnTo>
                    <a:lnTo>
                      <a:pt x="7945" y="1556"/>
                    </a:lnTo>
                    <a:lnTo>
                      <a:pt x="7877" y="1539"/>
                    </a:lnTo>
                    <a:lnTo>
                      <a:pt x="7850" y="1539"/>
                    </a:lnTo>
                    <a:lnTo>
                      <a:pt x="7840" y="1545"/>
                    </a:lnTo>
                    <a:lnTo>
                      <a:pt x="7839" y="1557"/>
                    </a:lnTo>
                    <a:lnTo>
                      <a:pt x="7843" y="1567"/>
                    </a:lnTo>
                    <a:lnTo>
                      <a:pt x="7841" y="1589"/>
                    </a:lnTo>
                    <a:lnTo>
                      <a:pt x="7824" y="1595"/>
                    </a:lnTo>
                    <a:lnTo>
                      <a:pt x="7819" y="1608"/>
                    </a:lnTo>
                    <a:lnTo>
                      <a:pt x="7849" y="1615"/>
                    </a:lnTo>
                    <a:lnTo>
                      <a:pt x="7860" y="1651"/>
                    </a:lnTo>
                    <a:lnTo>
                      <a:pt x="7866" y="1657"/>
                    </a:lnTo>
                    <a:lnTo>
                      <a:pt x="7866" y="1666"/>
                    </a:lnTo>
                    <a:lnTo>
                      <a:pt x="7871" y="1689"/>
                    </a:lnTo>
                    <a:lnTo>
                      <a:pt x="7840" y="1725"/>
                    </a:lnTo>
                    <a:lnTo>
                      <a:pt x="7820" y="1739"/>
                    </a:lnTo>
                    <a:lnTo>
                      <a:pt x="7797" y="1738"/>
                    </a:lnTo>
                    <a:lnTo>
                      <a:pt x="7790" y="1733"/>
                    </a:lnTo>
                    <a:lnTo>
                      <a:pt x="7782" y="1711"/>
                    </a:lnTo>
                    <a:lnTo>
                      <a:pt x="7777" y="1700"/>
                    </a:lnTo>
                    <a:lnTo>
                      <a:pt x="7762" y="1690"/>
                    </a:lnTo>
                    <a:lnTo>
                      <a:pt x="7760" y="1684"/>
                    </a:lnTo>
                    <a:lnTo>
                      <a:pt x="7750" y="1678"/>
                    </a:lnTo>
                    <a:lnTo>
                      <a:pt x="7727" y="1675"/>
                    </a:lnTo>
                    <a:lnTo>
                      <a:pt x="7721" y="1670"/>
                    </a:lnTo>
                    <a:lnTo>
                      <a:pt x="7719" y="1663"/>
                    </a:lnTo>
                    <a:lnTo>
                      <a:pt x="7717" y="1655"/>
                    </a:lnTo>
                    <a:lnTo>
                      <a:pt x="7720" y="1625"/>
                    </a:lnTo>
                    <a:lnTo>
                      <a:pt x="7716" y="1614"/>
                    </a:lnTo>
                    <a:lnTo>
                      <a:pt x="7698" y="1608"/>
                    </a:lnTo>
                    <a:lnTo>
                      <a:pt x="7700" y="1598"/>
                    </a:lnTo>
                    <a:lnTo>
                      <a:pt x="7707" y="1595"/>
                    </a:lnTo>
                    <a:lnTo>
                      <a:pt x="7706" y="1590"/>
                    </a:lnTo>
                    <a:lnTo>
                      <a:pt x="7693" y="1582"/>
                    </a:lnTo>
                    <a:lnTo>
                      <a:pt x="7685" y="1584"/>
                    </a:lnTo>
                    <a:lnTo>
                      <a:pt x="7679" y="1590"/>
                    </a:lnTo>
                    <a:lnTo>
                      <a:pt x="7650" y="1627"/>
                    </a:lnTo>
                    <a:lnTo>
                      <a:pt x="7641" y="1628"/>
                    </a:lnTo>
                    <a:lnTo>
                      <a:pt x="7635" y="1626"/>
                    </a:lnTo>
                    <a:lnTo>
                      <a:pt x="7613" y="1626"/>
                    </a:lnTo>
                    <a:lnTo>
                      <a:pt x="7591" y="1614"/>
                    </a:lnTo>
                    <a:lnTo>
                      <a:pt x="7559" y="1610"/>
                    </a:lnTo>
                    <a:lnTo>
                      <a:pt x="7547" y="1614"/>
                    </a:lnTo>
                    <a:lnTo>
                      <a:pt x="7544" y="1617"/>
                    </a:lnTo>
                    <a:lnTo>
                      <a:pt x="7542" y="1614"/>
                    </a:lnTo>
                    <a:lnTo>
                      <a:pt x="7518" y="1616"/>
                    </a:lnTo>
                    <a:lnTo>
                      <a:pt x="7504" y="1606"/>
                    </a:lnTo>
                    <a:lnTo>
                      <a:pt x="7489" y="1582"/>
                    </a:lnTo>
                    <a:lnTo>
                      <a:pt x="7469" y="1594"/>
                    </a:lnTo>
                    <a:lnTo>
                      <a:pt x="7438" y="1590"/>
                    </a:lnTo>
                    <a:lnTo>
                      <a:pt x="7420" y="1600"/>
                    </a:lnTo>
                    <a:lnTo>
                      <a:pt x="7405" y="1594"/>
                    </a:lnTo>
                    <a:lnTo>
                      <a:pt x="7398" y="1594"/>
                    </a:lnTo>
                    <a:lnTo>
                      <a:pt x="7393" y="1599"/>
                    </a:lnTo>
                    <a:lnTo>
                      <a:pt x="7389" y="1606"/>
                    </a:lnTo>
                    <a:lnTo>
                      <a:pt x="7382" y="1606"/>
                    </a:lnTo>
                    <a:lnTo>
                      <a:pt x="7378" y="1623"/>
                    </a:lnTo>
                    <a:lnTo>
                      <a:pt x="7362" y="1622"/>
                    </a:lnTo>
                    <a:lnTo>
                      <a:pt x="7356" y="1635"/>
                    </a:lnTo>
                    <a:lnTo>
                      <a:pt x="7346" y="1646"/>
                    </a:lnTo>
                    <a:lnTo>
                      <a:pt x="7338" y="1643"/>
                    </a:lnTo>
                    <a:lnTo>
                      <a:pt x="7339" y="1626"/>
                    </a:lnTo>
                    <a:lnTo>
                      <a:pt x="7336" y="1616"/>
                    </a:lnTo>
                    <a:lnTo>
                      <a:pt x="7327" y="1620"/>
                    </a:lnTo>
                    <a:lnTo>
                      <a:pt x="7322" y="1617"/>
                    </a:lnTo>
                    <a:lnTo>
                      <a:pt x="7314" y="1605"/>
                    </a:lnTo>
                    <a:lnTo>
                      <a:pt x="7306" y="1596"/>
                    </a:lnTo>
                    <a:lnTo>
                      <a:pt x="7293" y="1590"/>
                    </a:lnTo>
                    <a:lnTo>
                      <a:pt x="7284" y="1590"/>
                    </a:lnTo>
                    <a:lnTo>
                      <a:pt x="7273" y="1590"/>
                    </a:lnTo>
                    <a:lnTo>
                      <a:pt x="7268" y="1582"/>
                    </a:lnTo>
                    <a:lnTo>
                      <a:pt x="7250" y="1578"/>
                    </a:lnTo>
                    <a:lnTo>
                      <a:pt x="7250" y="1569"/>
                    </a:lnTo>
                    <a:lnTo>
                      <a:pt x="7270" y="1509"/>
                    </a:lnTo>
                    <a:lnTo>
                      <a:pt x="7270" y="1497"/>
                    </a:lnTo>
                    <a:lnTo>
                      <a:pt x="7268" y="1486"/>
                    </a:lnTo>
                    <a:lnTo>
                      <a:pt x="7268" y="1480"/>
                    </a:lnTo>
                    <a:lnTo>
                      <a:pt x="7258" y="1459"/>
                    </a:lnTo>
                    <a:lnTo>
                      <a:pt x="7258" y="1455"/>
                    </a:lnTo>
                    <a:lnTo>
                      <a:pt x="7247" y="1444"/>
                    </a:lnTo>
                    <a:lnTo>
                      <a:pt x="7238" y="1431"/>
                    </a:lnTo>
                    <a:lnTo>
                      <a:pt x="7232" y="1426"/>
                    </a:lnTo>
                    <a:lnTo>
                      <a:pt x="7222" y="1409"/>
                    </a:lnTo>
                    <a:lnTo>
                      <a:pt x="7212" y="1402"/>
                    </a:lnTo>
                    <a:lnTo>
                      <a:pt x="7204" y="1393"/>
                    </a:lnTo>
                    <a:lnTo>
                      <a:pt x="7192" y="1388"/>
                    </a:lnTo>
                    <a:lnTo>
                      <a:pt x="7152" y="1384"/>
                    </a:lnTo>
                    <a:lnTo>
                      <a:pt x="7139" y="1379"/>
                    </a:lnTo>
                    <a:lnTo>
                      <a:pt x="7112" y="1378"/>
                    </a:lnTo>
                    <a:lnTo>
                      <a:pt x="7090" y="1382"/>
                    </a:lnTo>
                    <a:lnTo>
                      <a:pt x="7064" y="1380"/>
                    </a:lnTo>
                    <a:lnTo>
                      <a:pt x="7051" y="1383"/>
                    </a:lnTo>
                    <a:lnTo>
                      <a:pt x="7047" y="1388"/>
                    </a:lnTo>
                    <a:lnTo>
                      <a:pt x="7024" y="1385"/>
                    </a:lnTo>
                    <a:lnTo>
                      <a:pt x="7017" y="1393"/>
                    </a:lnTo>
                    <a:lnTo>
                      <a:pt x="7006" y="1393"/>
                    </a:lnTo>
                    <a:lnTo>
                      <a:pt x="6979" y="1386"/>
                    </a:lnTo>
                    <a:lnTo>
                      <a:pt x="6973" y="1388"/>
                    </a:lnTo>
                    <a:lnTo>
                      <a:pt x="6964" y="1396"/>
                    </a:lnTo>
                    <a:lnTo>
                      <a:pt x="6951" y="1400"/>
                    </a:lnTo>
                    <a:lnTo>
                      <a:pt x="6941" y="1395"/>
                    </a:lnTo>
                    <a:lnTo>
                      <a:pt x="6920" y="1396"/>
                    </a:lnTo>
                    <a:lnTo>
                      <a:pt x="6913" y="1400"/>
                    </a:lnTo>
                    <a:lnTo>
                      <a:pt x="6905" y="1397"/>
                    </a:lnTo>
                    <a:lnTo>
                      <a:pt x="6881" y="1410"/>
                    </a:lnTo>
                    <a:lnTo>
                      <a:pt x="6870" y="1410"/>
                    </a:lnTo>
                    <a:lnTo>
                      <a:pt x="6861" y="1417"/>
                    </a:lnTo>
                    <a:lnTo>
                      <a:pt x="6855" y="1409"/>
                    </a:lnTo>
                    <a:lnTo>
                      <a:pt x="6837" y="1393"/>
                    </a:lnTo>
                    <a:lnTo>
                      <a:pt x="6823" y="1391"/>
                    </a:lnTo>
                    <a:lnTo>
                      <a:pt x="6817" y="1386"/>
                    </a:lnTo>
                    <a:lnTo>
                      <a:pt x="6840" y="1379"/>
                    </a:lnTo>
                    <a:lnTo>
                      <a:pt x="6848" y="1368"/>
                    </a:lnTo>
                    <a:lnTo>
                      <a:pt x="6850" y="1354"/>
                    </a:lnTo>
                    <a:lnTo>
                      <a:pt x="6814" y="1323"/>
                    </a:lnTo>
                    <a:lnTo>
                      <a:pt x="6811" y="1315"/>
                    </a:lnTo>
                    <a:lnTo>
                      <a:pt x="6808" y="1307"/>
                    </a:lnTo>
                    <a:lnTo>
                      <a:pt x="6786" y="1310"/>
                    </a:lnTo>
                    <a:lnTo>
                      <a:pt x="6769" y="1316"/>
                    </a:lnTo>
                    <a:lnTo>
                      <a:pt x="6759" y="1316"/>
                    </a:lnTo>
                    <a:lnTo>
                      <a:pt x="6755" y="1307"/>
                    </a:lnTo>
                    <a:lnTo>
                      <a:pt x="6755" y="1299"/>
                    </a:lnTo>
                    <a:lnTo>
                      <a:pt x="6737" y="1288"/>
                    </a:lnTo>
                    <a:lnTo>
                      <a:pt x="6732" y="1276"/>
                    </a:lnTo>
                    <a:lnTo>
                      <a:pt x="6725" y="1275"/>
                    </a:lnTo>
                    <a:lnTo>
                      <a:pt x="6706" y="1264"/>
                    </a:lnTo>
                    <a:lnTo>
                      <a:pt x="6701" y="1271"/>
                    </a:lnTo>
                    <a:lnTo>
                      <a:pt x="6692" y="1272"/>
                    </a:lnTo>
                    <a:lnTo>
                      <a:pt x="6685" y="1267"/>
                    </a:lnTo>
                    <a:lnTo>
                      <a:pt x="6671" y="1264"/>
                    </a:lnTo>
                    <a:lnTo>
                      <a:pt x="6665" y="1266"/>
                    </a:lnTo>
                    <a:lnTo>
                      <a:pt x="6665" y="1260"/>
                    </a:lnTo>
                    <a:lnTo>
                      <a:pt x="6684" y="1232"/>
                    </a:lnTo>
                    <a:lnTo>
                      <a:pt x="6690" y="1227"/>
                    </a:lnTo>
                    <a:lnTo>
                      <a:pt x="6703" y="1237"/>
                    </a:lnTo>
                    <a:lnTo>
                      <a:pt x="6709" y="1245"/>
                    </a:lnTo>
                    <a:lnTo>
                      <a:pt x="6722" y="1237"/>
                    </a:lnTo>
                    <a:lnTo>
                      <a:pt x="6722" y="1226"/>
                    </a:lnTo>
                    <a:lnTo>
                      <a:pt x="6721" y="1217"/>
                    </a:lnTo>
                    <a:lnTo>
                      <a:pt x="6708" y="1181"/>
                    </a:lnTo>
                    <a:lnTo>
                      <a:pt x="6689" y="1169"/>
                    </a:lnTo>
                    <a:lnTo>
                      <a:pt x="6678" y="1162"/>
                    </a:lnTo>
                    <a:lnTo>
                      <a:pt x="6662" y="1159"/>
                    </a:lnTo>
                    <a:lnTo>
                      <a:pt x="6656" y="1153"/>
                    </a:lnTo>
                    <a:lnTo>
                      <a:pt x="6636" y="1143"/>
                    </a:lnTo>
                    <a:lnTo>
                      <a:pt x="6617" y="1147"/>
                    </a:lnTo>
                    <a:lnTo>
                      <a:pt x="6615" y="1151"/>
                    </a:lnTo>
                    <a:lnTo>
                      <a:pt x="6612" y="1144"/>
                    </a:lnTo>
                    <a:lnTo>
                      <a:pt x="6603" y="1143"/>
                    </a:lnTo>
                    <a:lnTo>
                      <a:pt x="6575" y="1143"/>
                    </a:lnTo>
                    <a:lnTo>
                      <a:pt x="6565" y="1148"/>
                    </a:lnTo>
                    <a:lnTo>
                      <a:pt x="6540" y="1142"/>
                    </a:lnTo>
                    <a:lnTo>
                      <a:pt x="6528" y="1131"/>
                    </a:lnTo>
                    <a:lnTo>
                      <a:pt x="6512" y="1131"/>
                    </a:lnTo>
                    <a:lnTo>
                      <a:pt x="6490" y="1109"/>
                    </a:lnTo>
                    <a:lnTo>
                      <a:pt x="6484" y="1111"/>
                    </a:lnTo>
                    <a:lnTo>
                      <a:pt x="6443" y="1106"/>
                    </a:lnTo>
                    <a:lnTo>
                      <a:pt x="6419" y="1092"/>
                    </a:lnTo>
                    <a:lnTo>
                      <a:pt x="6378" y="1089"/>
                    </a:lnTo>
                    <a:lnTo>
                      <a:pt x="6365" y="1084"/>
                    </a:lnTo>
                    <a:lnTo>
                      <a:pt x="6319" y="1086"/>
                    </a:lnTo>
                    <a:lnTo>
                      <a:pt x="6264" y="1079"/>
                    </a:lnTo>
                    <a:lnTo>
                      <a:pt x="6257" y="1073"/>
                    </a:lnTo>
                    <a:lnTo>
                      <a:pt x="6252" y="1066"/>
                    </a:lnTo>
                    <a:lnTo>
                      <a:pt x="6242" y="1060"/>
                    </a:lnTo>
                    <a:lnTo>
                      <a:pt x="6232" y="1058"/>
                    </a:lnTo>
                    <a:lnTo>
                      <a:pt x="6225" y="1057"/>
                    </a:lnTo>
                    <a:lnTo>
                      <a:pt x="6217" y="1068"/>
                    </a:lnTo>
                    <a:lnTo>
                      <a:pt x="6216" y="1074"/>
                    </a:lnTo>
                    <a:lnTo>
                      <a:pt x="6226" y="1084"/>
                    </a:lnTo>
                    <a:lnTo>
                      <a:pt x="6227" y="1093"/>
                    </a:lnTo>
                    <a:lnTo>
                      <a:pt x="6235" y="1105"/>
                    </a:lnTo>
                    <a:lnTo>
                      <a:pt x="6227" y="1109"/>
                    </a:lnTo>
                    <a:lnTo>
                      <a:pt x="6216" y="1119"/>
                    </a:lnTo>
                    <a:lnTo>
                      <a:pt x="6211" y="1127"/>
                    </a:lnTo>
                    <a:lnTo>
                      <a:pt x="6206" y="1152"/>
                    </a:lnTo>
                    <a:lnTo>
                      <a:pt x="6199" y="1167"/>
                    </a:lnTo>
                    <a:lnTo>
                      <a:pt x="6192" y="1176"/>
                    </a:lnTo>
                    <a:lnTo>
                      <a:pt x="6179" y="1179"/>
                    </a:lnTo>
                    <a:lnTo>
                      <a:pt x="6166" y="1191"/>
                    </a:lnTo>
                    <a:lnTo>
                      <a:pt x="6158" y="1205"/>
                    </a:lnTo>
                    <a:lnTo>
                      <a:pt x="6157" y="1212"/>
                    </a:lnTo>
                    <a:lnTo>
                      <a:pt x="6163" y="1226"/>
                    </a:lnTo>
                    <a:lnTo>
                      <a:pt x="6165" y="1234"/>
                    </a:lnTo>
                    <a:lnTo>
                      <a:pt x="6155" y="1235"/>
                    </a:lnTo>
                    <a:lnTo>
                      <a:pt x="6156" y="1255"/>
                    </a:lnTo>
                    <a:lnTo>
                      <a:pt x="6161" y="1269"/>
                    </a:lnTo>
                    <a:lnTo>
                      <a:pt x="6171" y="1280"/>
                    </a:lnTo>
                    <a:lnTo>
                      <a:pt x="6173" y="1286"/>
                    </a:lnTo>
                    <a:lnTo>
                      <a:pt x="6173" y="1298"/>
                    </a:lnTo>
                    <a:lnTo>
                      <a:pt x="6171" y="1307"/>
                    </a:lnTo>
                    <a:lnTo>
                      <a:pt x="6161" y="1307"/>
                    </a:lnTo>
                    <a:lnTo>
                      <a:pt x="6141" y="1294"/>
                    </a:lnTo>
                    <a:lnTo>
                      <a:pt x="6135" y="1313"/>
                    </a:lnTo>
                    <a:lnTo>
                      <a:pt x="6120" y="1307"/>
                    </a:lnTo>
                    <a:lnTo>
                      <a:pt x="6115" y="1314"/>
                    </a:lnTo>
                    <a:lnTo>
                      <a:pt x="6113" y="1309"/>
                    </a:lnTo>
                    <a:lnTo>
                      <a:pt x="6093" y="1325"/>
                    </a:lnTo>
                    <a:lnTo>
                      <a:pt x="6088" y="1334"/>
                    </a:lnTo>
                    <a:lnTo>
                      <a:pt x="6080" y="1340"/>
                    </a:lnTo>
                    <a:lnTo>
                      <a:pt x="6076" y="1352"/>
                    </a:lnTo>
                    <a:lnTo>
                      <a:pt x="6065" y="1351"/>
                    </a:lnTo>
                    <a:lnTo>
                      <a:pt x="6060" y="1357"/>
                    </a:lnTo>
                    <a:lnTo>
                      <a:pt x="6054" y="1350"/>
                    </a:lnTo>
                    <a:lnTo>
                      <a:pt x="6047" y="1348"/>
                    </a:lnTo>
                    <a:lnTo>
                      <a:pt x="6042" y="1343"/>
                    </a:lnTo>
                    <a:lnTo>
                      <a:pt x="6042" y="1334"/>
                    </a:lnTo>
                    <a:lnTo>
                      <a:pt x="6033" y="1331"/>
                    </a:lnTo>
                    <a:lnTo>
                      <a:pt x="6029" y="1320"/>
                    </a:lnTo>
                    <a:lnTo>
                      <a:pt x="6021" y="1314"/>
                    </a:lnTo>
                    <a:lnTo>
                      <a:pt x="6013" y="1314"/>
                    </a:lnTo>
                    <a:lnTo>
                      <a:pt x="5985" y="1293"/>
                    </a:lnTo>
                    <a:lnTo>
                      <a:pt x="5972" y="1294"/>
                    </a:lnTo>
                    <a:lnTo>
                      <a:pt x="5956" y="1288"/>
                    </a:lnTo>
                    <a:lnTo>
                      <a:pt x="5950" y="1281"/>
                    </a:lnTo>
                    <a:lnTo>
                      <a:pt x="5941" y="1280"/>
                    </a:lnTo>
                    <a:lnTo>
                      <a:pt x="5929" y="1272"/>
                    </a:lnTo>
                    <a:lnTo>
                      <a:pt x="5898" y="1276"/>
                    </a:lnTo>
                    <a:lnTo>
                      <a:pt x="5887" y="1294"/>
                    </a:lnTo>
                    <a:lnTo>
                      <a:pt x="5886" y="1304"/>
                    </a:lnTo>
                    <a:lnTo>
                      <a:pt x="5888" y="1318"/>
                    </a:lnTo>
                    <a:lnTo>
                      <a:pt x="5887" y="1324"/>
                    </a:lnTo>
                    <a:lnTo>
                      <a:pt x="5877" y="1309"/>
                    </a:lnTo>
                    <a:lnTo>
                      <a:pt x="5872" y="1314"/>
                    </a:lnTo>
                    <a:lnTo>
                      <a:pt x="5845" y="1309"/>
                    </a:lnTo>
                    <a:lnTo>
                      <a:pt x="5834" y="1314"/>
                    </a:lnTo>
                    <a:lnTo>
                      <a:pt x="5824" y="1312"/>
                    </a:lnTo>
                    <a:lnTo>
                      <a:pt x="5811" y="1292"/>
                    </a:lnTo>
                    <a:lnTo>
                      <a:pt x="5802" y="1287"/>
                    </a:lnTo>
                    <a:lnTo>
                      <a:pt x="5792" y="1264"/>
                    </a:lnTo>
                    <a:lnTo>
                      <a:pt x="5783" y="1254"/>
                    </a:lnTo>
                    <a:lnTo>
                      <a:pt x="5775" y="1232"/>
                    </a:lnTo>
                    <a:lnTo>
                      <a:pt x="5774" y="1217"/>
                    </a:lnTo>
                    <a:lnTo>
                      <a:pt x="5773" y="1214"/>
                    </a:lnTo>
                    <a:lnTo>
                      <a:pt x="5767" y="1218"/>
                    </a:lnTo>
                    <a:lnTo>
                      <a:pt x="5762" y="1232"/>
                    </a:lnTo>
                    <a:lnTo>
                      <a:pt x="5744" y="1275"/>
                    </a:lnTo>
                    <a:lnTo>
                      <a:pt x="5737" y="1289"/>
                    </a:lnTo>
                    <a:lnTo>
                      <a:pt x="5736" y="1307"/>
                    </a:lnTo>
                    <a:lnTo>
                      <a:pt x="5733" y="1319"/>
                    </a:lnTo>
                    <a:lnTo>
                      <a:pt x="5735" y="1353"/>
                    </a:lnTo>
                    <a:lnTo>
                      <a:pt x="5727" y="1358"/>
                    </a:lnTo>
                    <a:lnTo>
                      <a:pt x="5719" y="1380"/>
                    </a:lnTo>
                    <a:lnTo>
                      <a:pt x="5712" y="1388"/>
                    </a:lnTo>
                    <a:lnTo>
                      <a:pt x="5710" y="1406"/>
                    </a:lnTo>
                    <a:lnTo>
                      <a:pt x="5700" y="1418"/>
                    </a:lnTo>
                    <a:lnTo>
                      <a:pt x="5697" y="1433"/>
                    </a:lnTo>
                    <a:lnTo>
                      <a:pt x="5684" y="1427"/>
                    </a:lnTo>
                    <a:lnTo>
                      <a:pt x="5674" y="1395"/>
                    </a:lnTo>
                    <a:lnTo>
                      <a:pt x="5671" y="1393"/>
                    </a:lnTo>
                    <a:lnTo>
                      <a:pt x="5669" y="1405"/>
                    </a:lnTo>
                    <a:lnTo>
                      <a:pt x="5662" y="1406"/>
                    </a:lnTo>
                    <a:lnTo>
                      <a:pt x="5656" y="1397"/>
                    </a:lnTo>
                    <a:lnTo>
                      <a:pt x="5649" y="1399"/>
                    </a:lnTo>
                    <a:lnTo>
                      <a:pt x="5641" y="1394"/>
                    </a:lnTo>
                    <a:lnTo>
                      <a:pt x="5636" y="1386"/>
                    </a:lnTo>
                    <a:lnTo>
                      <a:pt x="5636" y="1379"/>
                    </a:lnTo>
                    <a:lnTo>
                      <a:pt x="5627" y="1368"/>
                    </a:lnTo>
                    <a:lnTo>
                      <a:pt x="5620" y="1375"/>
                    </a:lnTo>
                    <a:lnTo>
                      <a:pt x="5618" y="1369"/>
                    </a:lnTo>
                    <a:lnTo>
                      <a:pt x="5613" y="1364"/>
                    </a:lnTo>
                    <a:lnTo>
                      <a:pt x="5609" y="1354"/>
                    </a:lnTo>
                    <a:lnTo>
                      <a:pt x="5607" y="1340"/>
                    </a:lnTo>
                    <a:lnTo>
                      <a:pt x="5599" y="1336"/>
                    </a:lnTo>
                    <a:lnTo>
                      <a:pt x="5596" y="1340"/>
                    </a:lnTo>
                    <a:lnTo>
                      <a:pt x="5596" y="1332"/>
                    </a:lnTo>
                    <a:lnTo>
                      <a:pt x="5588" y="1318"/>
                    </a:lnTo>
                    <a:lnTo>
                      <a:pt x="5586" y="1303"/>
                    </a:lnTo>
                    <a:lnTo>
                      <a:pt x="5582" y="1299"/>
                    </a:lnTo>
                    <a:lnTo>
                      <a:pt x="5582" y="1288"/>
                    </a:lnTo>
                    <a:lnTo>
                      <a:pt x="5579" y="1282"/>
                    </a:lnTo>
                    <a:lnTo>
                      <a:pt x="5576" y="1270"/>
                    </a:lnTo>
                    <a:lnTo>
                      <a:pt x="5575" y="1273"/>
                    </a:lnTo>
                    <a:lnTo>
                      <a:pt x="5565" y="1280"/>
                    </a:lnTo>
                    <a:lnTo>
                      <a:pt x="5559" y="1272"/>
                    </a:lnTo>
                    <a:lnTo>
                      <a:pt x="5561" y="1264"/>
                    </a:lnTo>
                    <a:lnTo>
                      <a:pt x="5559" y="1255"/>
                    </a:lnTo>
                    <a:lnTo>
                      <a:pt x="5555" y="1251"/>
                    </a:lnTo>
                    <a:lnTo>
                      <a:pt x="5554" y="1245"/>
                    </a:lnTo>
                    <a:lnTo>
                      <a:pt x="5553" y="1229"/>
                    </a:lnTo>
                    <a:lnTo>
                      <a:pt x="5572" y="1200"/>
                    </a:lnTo>
                    <a:lnTo>
                      <a:pt x="5577" y="1205"/>
                    </a:lnTo>
                    <a:lnTo>
                      <a:pt x="5582" y="1203"/>
                    </a:lnTo>
                    <a:lnTo>
                      <a:pt x="5579" y="1199"/>
                    </a:lnTo>
                    <a:lnTo>
                      <a:pt x="5580" y="1192"/>
                    </a:lnTo>
                    <a:lnTo>
                      <a:pt x="5591" y="1187"/>
                    </a:lnTo>
                    <a:lnTo>
                      <a:pt x="5597" y="1180"/>
                    </a:lnTo>
                    <a:lnTo>
                      <a:pt x="5591" y="1181"/>
                    </a:lnTo>
                    <a:lnTo>
                      <a:pt x="5591" y="1178"/>
                    </a:lnTo>
                    <a:lnTo>
                      <a:pt x="5596" y="1173"/>
                    </a:lnTo>
                    <a:lnTo>
                      <a:pt x="5593" y="1169"/>
                    </a:lnTo>
                    <a:lnTo>
                      <a:pt x="5593" y="1159"/>
                    </a:lnTo>
                    <a:lnTo>
                      <a:pt x="5603" y="1141"/>
                    </a:lnTo>
                    <a:lnTo>
                      <a:pt x="5581" y="1125"/>
                    </a:lnTo>
                    <a:lnTo>
                      <a:pt x="5582" y="1120"/>
                    </a:lnTo>
                    <a:lnTo>
                      <a:pt x="5590" y="1111"/>
                    </a:lnTo>
                    <a:lnTo>
                      <a:pt x="5580" y="1104"/>
                    </a:lnTo>
                    <a:lnTo>
                      <a:pt x="5582" y="1094"/>
                    </a:lnTo>
                    <a:lnTo>
                      <a:pt x="5588" y="1090"/>
                    </a:lnTo>
                    <a:lnTo>
                      <a:pt x="5588" y="1077"/>
                    </a:lnTo>
                    <a:lnTo>
                      <a:pt x="5591" y="1074"/>
                    </a:lnTo>
                    <a:lnTo>
                      <a:pt x="5587" y="1072"/>
                    </a:lnTo>
                    <a:lnTo>
                      <a:pt x="5586" y="1066"/>
                    </a:lnTo>
                    <a:lnTo>
                      <a:pt x="5587" y="1058"/>
                    </a:lnTo>
                    <a:lnTo>
                      <a:pt x="5585" y="1050"/>
                    </a:lnTo>
                    <a:lnTo>
                      <a:pt x="5592" y="1049"/>
                    </a:lnTo>
                    <a:lnTo>
                      <a:pt x="5593" y="1045"/>
                    </a:lnTo>
                    <a:lnTo>
                      <a:pt x="5595" y="1038"/>
                    </a:lnTo>
                    <a:lnTo>
                      <a:pt x="5597" y="1031"/>
                    </a:lnTo>
                    <a:lnTo>
                      <a:pt x="5593" y="1028"/>
                    </a:lnTo>
                    <a:lnTo>
                      <a:pt x="5593" y="1022"/>
                    </a:lnTo>
                    <a:lnTo>
                      <a:pt x="5577" y="1012"/>
                    </a:lnTo>
                    <a:lnTo>
                      <a:pt x="5572" y="1001"/>
                    </a:lnTo>
                    <a:lnTo>
                      <a:pt x="5565" y="992"/>
                    </a:lnTo>
                    <a:lnTo>
                      <a:pt x="5565" y="985"/>
                    </a:lnTo>
                    <a:lnTo>
                      <a:pt x="5541" y="971"/>
                    </a:lnTo>
                    <a:lnTo>
                      <a:pt x="5542" y="964"/>
                    </a:lnTo>
                    <a:lnTo>
                      <a:pt x="5541" y="957"/>
                    </a:lnTo>
                    <a:lnTo>
                      <a:pt x="5528" y="955"/>
                    </a:lnTo>
                    <a:lnTo>
                      <a:pt x="5523" y="952"/>
                    </a:lnTo>
                    <a:lnTo>
                      <a:pt x="5527" y="948"/>
                    </a:lnTo>
                    <a:lnTo>
                      <a:pt x="5521" y="939"/>
                    </a:lnTo>
                    <a:lnTo>
                      <a:pt x="5504" y="932"/>
                    </a:lnTo>
                    <a:lnTo>
                      <a:pt x="5494" y="936"/>
                    </a:lnTo>
                    <a:lnTo>
                      <a:pt x="5478" y="933"/>
                    </a:lnTo>
                    <a:lnTo>
                      <a:pt x="5461" y="925"/>
                    </a:lnTo>
                    <a:lnTo>
                      <a:pt x="5457" y="930"/>
                    </a:lnTo>
                    <a:lnTo>
                      <a:pt x="5455" y="938"/>
                    </a:lnTo>
                    <a:lnTo>
                      <a:pt x="5447" y="938"/>
                    </a:lnTo>
                    <a:lnTo>
                      <a:pt x="5437" y="950"/>
                    </a:lnTo>
                    <a:lnTo>
                      <a:pt x="5435" y="947"/>
                    </a:lnTo>
                    <a:lnTo>
                      <a:pt x="5434" y="941"/>
                    </a:lnTo>
                    <a:lnTo>
                      <a:pt x="5415" y="918"/>
                    </a:lnTo>
                    <a:lnTo>
                      <a:pt x="5408" y="925"/>
                    </a:lnTo>
                    <a:lnTo>
                      <a:pt x="5399" y="920"/>
                    </a:lnTo>
                    <a:lnTo>
                      <a:pt x="5392" y="922"/>
                    </a:lnTo>
                    <a:lnTo>
                      <a:pt x="5385" y="912"/>
                    </a:lnTo>
                    <a:lnTo>
                      <a:pt x="5380" y="916"/>
                    </a:lnTo>
                    <a:lnTo>
                      <a:pt x="5373" y="910"/>
                    </a:lnTo>
                    <a:lnTo>
                      <a:pt x="5370" y="918"/>
                    </a:lnTo>
                    <a:lnTo>
                      <a:pt x="5361" y="910"/>
                    </a:lnTo>
                    <a:lnTo>
                      <a:pt x="5361" y="904"/>
                    </a:lnTo>
                    <a:lnTo>
                      <a:pt x="5359" y="895"/>
                    </a:lnTo>
                    <a:lnTo>
                      <a:pt x="5354" y="891"/>
                    </a:lnTo>
                    <a:lnTo>
                      <a:pt x="5350" y="896"/>
                    </a:lnTo>
                    <a:lnTo>
                      <a:pt x="5339" y="883"/>
                    </a:lnTo>
                    <a:lnTo>
                      <a:pt x="5333" y="885"/>
                    </a:lnTo>
                    <a:lnTo>
                      <a:pt x="5323" y="879"/>
                    </a:lnTo>
                    <a:lnTo>
                      <a:pt x="5305" y="875"/>
                    </a:lnTo>
                    <a:lnTo>
                      <a:pt x="5292" y="866"/>
                    </a:lnTo>
                    <a:lnTo>
                      <a:pt x="5286" y="866"/>
                    </a:lnTo>
                    <a:lnTo>
                      <a:pt x="5285" y="873"/>
                    </a:lnTo>
                    <a:lnTo>
                      <a:pt x="5285" y="880"/>
                    </a:lnTo>
                    <a:lnTo>
                      <a:pt x="5286" y="890"/>
                    </a:lnTo>
                    <a:lnTo>
                      <a:pt x="5284" y="895"/>
                    </a:lnTo>
                    <a:lnTo>
                      <a:pt x="5268" y="893"/>
                    </a:lnTo>
                    <a:lnTo>
                      <a:pt x="5258" y="877"/>
                    </a:lnTo>
                    <a:lnTo>
                      <a:pt x="5257" y="883"/>
                    </a:lnTo>
                    <a:lnTo>
                      <a:pt x="5256" y="900"/>
                    </a:lnTo>
                    <a:lnTo>
                      <a:pt x="5247" y="942"/>
                    </a:lnTo>
                    <a:lnTo>
                      <a:pt x="5252" y="944"/>
                    </a:lnTo>
                    <a:lnTo>
                      <a:pt x="5249" y="950"/>
                    </a:lnTo>
                    <a:lnTo>
                      <a:pt x="5248" y="955"/>
                    </a:lnTo>
                    <a:lnTo>
                      <a:pt x="5251" y="970"/>
                    </a:lnTo>
                    <a:lnTo>
                      <a:pt x="5264" y="1003"/>
                    </a:lnTo>
                    <a:lnTo>
                      <a:pt x="5260" y="1011"/>
                    </a:lnTo>
                    <a:lnTo>
                      <a:pt x="5252" y="1019"/>
                    </a:lnTo>
                    <a:lnTo>
                      <a:pt x="5225" y="1024"/>
                    </a:lnTo>
                    <a:lnTo>
                      <a:pt x="5210" y="1036"/>
                    </a:lnTo>
                    <a:lnTo>
                      <a:pt x="5204" y="1031"/>
                    </a:lnTo>
                    <a:lnTo>
                      <a:pt x="5200" y="1038"/>
                    </a:lnTo>
                    <a:lnTo>
                      <a:pt x="5195" y="1034"/>
                    </a:lnTo>
                    <a:lnTo>
                      <a:pt x="5179" y="1038"/>
                    </a:lnTo>
                    <a:lnTo>
                      <a:pt x="5168" y="1033"/>
                    </a:lnTo>
                    <a:lnTo>
                      <a:pt x="5161" y="1033"/>
                    </a:lnTo>
                    <a:lnTo>
                      <a:pt x="5136" y="1038"/>
                    </a:lnTo>
                    <a:lnTo>
                      <a:pt x="5131" y="1041"/>
                    </a:lnTo>
                    <a:lnTo>
                      <a:pt x="5112" y="1030"/>
                    </a:lnTo>
                    <a:lnTo>
                      <a:pt x="5082" y="1023"/>
                    </a:lnTo>
                    <a:lnTo>
                      <a:pt x="5074" y="1022"/>
                    </a:lnTo>
                    <a:lnTo>
                      <a:pt x="5074" y="1030"/>
                    </a:lnTo>
                    <a:lnTo>
                      <a:pt x="5071" y="1035"/>
                    </a:lnTo>
                    <a:lnTo>
                      <a:pt x="5042" y="1015"/>
                    </a:lnTo>
                    <a:lnTo>
                      <a:pt x="5023" y="1011"/>
                    </a:lnTo>
                    <a:lnTo>
                      <a:pt x="4994" y="995"/>
                    </a:lnTo>
                    <a:lnTo>
                      <a:pt x="4989" y="987"/>
                    </a:lnTo>
                    <a:lnTo>
                      <a:pt x="4989" y="980"/>
                    </a:lnTo>
                    <a:lnTo>
                      <a:pt x="4989" y="974"/>
                    </a:lnTo>
                    <a:lnTo>
                      <a:pt x="4990" y="969"/>
                    </a:lnTo>
                    <a:lnTo>
                      <a:pt x="4988" y="955"/>
                    </a:lnTo>
                    <a:lnTo>
                      <a:pt x="4990" y="948"/>
                    </a:lnTo>
                    <a:lnTo>
                      <a:pt x="4996" y="944"/>
                    </a:lnTo>
                    <a:lnTo>
                      <a:pt x="5007" y="944"/>
                    </a:lnTo>
                    <a:lnTo>
                      <a:pt x="5009" y="938"/>
                    </a:lnTo>
                    <a:lnTo>
                      <a:pt x="5015" y="938"/>
                    </a:lnTo>
                    <a:lnTo>
                      <a:pt x="5012" y="931"/>
                    </a:lnTo>
                    <a:lnTo>
                      <a:pt x="5005" y="925"/>
                    </a:lnTo>
                    <a:lnTo>
                      <a:pt x="4978" y="926"/>
                    </a:lnTo>
                    <a:lnTo>
                      <a:pt x="4967" y="920"/>
                    </a:lnTo>
                    <a:lnTo>
                      <a:pt x="4948" y="925"/>
                    </a:lnTo>
                    <a:lnTo>
                      <a:pt x="4924" y="920"/>
                    </a:lnTo>
                    <a:lnTo>
                      <a:pt x="4912" y="912"/>
                    </a:lnTo>
                    <a:lnTo>
                      <a:pt x="4900" y="912"/>
                    </a:lnTo>
                    <a:lnTo>
                      <a:pt x="4888" y="907"/>
                    </a:lnTo>
                    <a:lnTo>
                      <a:pt x="4875" y="907"/>
                    </a:lnTo>
                    <a:lnTo>
                      <a:pt x="4858" y="899"/>
                    </a:lnTo>
                    <a:lnTo>
                      <a:pt x="4837" y="895"/>
                    </a:lnTo>
                    <a:lnTo>
                      <a:pt x="4818" y="900"/>
                    </a:lnTo>
                    <a:lnTo>
                      <a:pt x="4818" y="909"/>
                    </a:lnTo>
                    <a:lnTo>
                      <a:pt x="4792" y="918"/>
                    </a:lnTo>
                    <a:lnTo>
                      <a:pt x="4779" y="921"/>
                    </a:lnTo>
                    <a:lnTo>
                      <a:pt x="4756" y="918"/>
                    </a:lnTo>
                    <a:lnTo>
                      <a:pt x="4721" y="932"/>
                    </a:lnTo>
                    <a:lnTo>
                      <a:pt x="4736" y="957"/>
                    </a:lnTo>
                    <a:lnTo>
                      <a:pt x="4738" y="969"/>
                    </a:lnTo>
                    <a:lnTo>
                      <a:pt x="4735" y="974"/>
                    </a:lnTo>
                    <a:lnTo>
                      <a:pt x="4713" y="990"/>
                    </a:lnTo>
                    <a:lnTo>
                      <a:pt x="4698" y="984"/>
                    </a:lnTo>
                    <a:lnTo>
                      <a:pt x="4700" y="976"/>
                    </a:lnTo>
                    <a:lnTo>
                      <a:pt x="4715" y="979"/>
                    </a:lnTo>
                    <a:lnTo>
                      <a:pt x="4719" y="969"/>
                    </a:lnTo>
                    <a:lnTo>
                      <a:pt x="4703" y="964"/>
                    </a:lnTo>
                    <a:lnTo>
                      <a:pt x="4705" y="955"/>
                    </a:lnTo>
                    <a:lnTo>
                      <a:pt x="4700" y="947"/>
                    </a:lnTo>
                    <a:lnTo>
                      <a:pt x="4711" y="922"/>
                    </a:lnTo>
                    <a:lnTo>
                      <a:pt x="4710" y="907"/>
                    </a:lnTo>
                    <a:lnTo>
                      <a:pt x="4705" y="894"/>
                    </a:lnTo>
                    <a:lnTo>
                      <a:pt x="4700" y="889"/>
                    </a:lnTo>
                    <a:lnTo>
                      <a:pt x="4698" y="872"/>
                    </a:lnTo>
                    <a:lnTo>
                      <a:pt x="4690" y="858"/>
                    </a:lnTo>
                    <a:lnTo>
                      <a:pt x="4678" y="832"/>
                    </a:lnTo>
                    <a:lnTo>
                      <a:pt x="4684" y="861"/>
                    </a:lnTo>
                    <a:lnTo>
                      <a:pt x="4682" y="878"/>
                    </a:lnTo>
                    <a:lnTo>
                      <a:pt x="4674" y="891"/>
                    </a:lnTo>
                    <a:lnTo>
                      <a:pt x="4658" y="896"/>
                    </a:lnTo>
                    <a:lnTo>
                      <a:pt x="4628" y="894"/>
                    </a:lnTo>
                    <a:lnTo>
                      <a:pt x="4619" y="896"/>
                    </a:lnTo>
                    <a:lnTo>
                      <a:pt x="4617" y="891"/>
                    </a:lnTo>
                    <a:lnTo>
                      <a:pt x="4596" y="874"/>
                    </a:lnTo>
                    <a:lnTo>
                      <a:pt x="4592" y="862"/>
                    </a:lnTo>
                    <a:lnTo>
                      <a:pt x="4591" y="848"/>
                    </a:lnTo>
                    <a:lnTo>
                      <a:pt x="4596" y="837"/>
                    </a:lnTo>
                    <a:lnTo>
                      <a:pt x="4598" y="847"/>
                    </a:lnTo>
                    <a:lnTo>
                      <a:pt x="4607" y="832"/>
                    </a:lnTo>
                    <a:lnTo>
                      <a:pt x="4608" y="826"/>
                    </a:lnTo>
                    <a:lnTo>
                      <a:pt x="4584" y="834"/>
                    </a:lnTo>
                    <a:lnTo>
                      <a:pt x="4576" y="842"/>
                    </a:lnTo>
                    <a:lnTo>
                      <a:pt x="4574" y="851"/>
                    </a:lnTo>
                    <a:lnTo>
                      <a:pt x="4570" y="855"/>
                    </a:lnTo>
                    <a:lnTo>
                      <a:pt x="4565" y="845"/>
                    </a:lnTo>
                    <a:lnTo>
                      <a:pt x="4553" y="840"/>
                    </a:lnTo>
                    <a:lnTo>
                      <a:pt x="4542" y="831"/>
                    </a:lnTo>
                    <a:lnTo>
                      <a:pt x="4527" y="834"/>
                    </a:lnTo>
                    <a:lnTo>
                      <a:pt x="4515" y="839"/>
                    </a:lnTo>
                    <a:lnTo>
                      <a:pt x="4512" y="852"/>
                    </a:lnTo>
                    <a:lnTo>
                      <a:pt x="4496" y="875"/>
                    </a:lnTo>
                    <a:lnTo>
                      <a:pt x="4495" y="884"/>
                    </a:lnTo>
                    <a:lnTo>
                      <a:pt x="4500" y="899"/>
                    </a:lnTo>
                    <a:lnTo>
                      <a:pt x="4507" y="911"/>
                    </a:lnTo>
                    <a:lnTo>
                      <a:pt x="4514" y="907"/>
                    </a:lnTo>
                    <a:lnTo>
                      <a:pt x="4509" y="905"/>
                    </a:lnTo>
                    <a:lnTo>
                      <a:pt x="4509" y="896"/>
                    </a:lnTo>
                    <a:lnTo>
                      <a:pt x="4515" y="902"/>
                    </a:lnTo>
                    <a:lnTo>
                      <a:pt x="4534" y="902"/>
                    </a:lnTo>
                    <a:lnTo>
                      <a:pt x="4542" y="893"/>
                    </a:lnTo>
                    <a:lnTo>
                      <a:pt x="4552" y="888"/>
                    </a:lnTo>
                    <a:lnTo>
                      <a:pt x="4557" y="879"/>
                    </a:lnTo>
                    <a:lnTo>
                      <a:pt x="4565" y="884"/>
                    </a:lnTo>
                    <a:lnTo>
                      <a:pt x="4573" y="901"/>
                    </a:lnTo>
                    <a:lnTo>
                      <a:pt x="4542" y="916"/>
                    </a:lnTo>
                    <a:lnTo>
                      <a:pt x="4536" y="930"/>
                    </a:lnTo>
                    <a:lnTo>
                      <a:pt x="4531" y="927"/>
                    </a:lnTo>
                    <a:lnTo>
                      <a:pt x="4506" y="948"/>
                    </a:lnTo>
                    <a:lnTo>
                      <a:pt x="4495" y="948"/>
                    </a:lnTo>
                    <a:lnTo>
                      <a:pt x="4478" y="926"/>
                    </a:lnTo>
                    <a:lnTo>
                      <a:pt x="4490" y="949"/>
                    </a:lnTo>
                    <a:lnTo>
                      <a:pt x="4487" y="952"/>
                    </a:lnTo>
                    <a:lnTo>
                      <a:pt x="4480" y="945"/>
                    </a:lnTo>
                    <a:lnTo>
                      <a:pt x="4482" y="953"/>
                    </a:lnTo>
                    <a:lnTo>
                      <a:pt x="4479" y="960"/>
                    </a:lnTo>
                    <a:lnTo>
                      <a:pt x="4444" y="971"/>
                    </a:lnTo>
                    <a:lnTo>
                      <a:pt x="4432" y="970"/>
                    </a:lnTo>
                    <a:lnTo>
                      <a:pt x="4430" y="979"/>
                    </a:lnTo>
                    <a:lnTo>
                      <a:pt x="4432" y="986"/>
                    </a:lnTo>
                    <a:lnTo>
                      <a:pt x="4414" y="982"/>
                    </a:lnTo>
                    <a:lnTo>
                      <a:pt x="4394" y="1001"/>
                    </a:lnTo>
                    <a:lnTo>
                      <a:pt x="4389" y="998"/>
                    </a:lnTo>
                    <a:lnTo>
                      <a:pt x="4361" y="996"/>
                    </a:lnTo>
                    <a:lnTo>
                      <a:pt x="4354" y="1003"/>
                    </a:lnTo>
                    <a:lnTo>
                      <a:pt x="4326" y="996"/>
                    </a:lnTo>
                    <a:lnTo>
                      <a:pt x="4315" y="1004"/>
                    </a:lnTo>
                    <a:lnTo>
                      <a:pt x="4316" y="1018"/>
                    </a:lnTo>
                    <a:lnTo>
                      <a:pt x="4323" y="1036"/>
                    </a:lnTo>
                    <a:lnTo>
                      <a:pt x="4358" y="1054"/>
                    </a:lnTo>
                    <a:lnTo>
                      <a:pt x="4350" y="1056"/>
                    </a:lnTo>
                    <a:lnTo>
                      <a:pt x="4340" y="1054"/>
                    </a:lnTo>
                    <a:lnTo>
                      <a:pt x="4317" y="1044"/>
                    </a:lnTo>
                    <a:lnTo>
                      <a:pt x="4308" y="1038"/>
                    </a:lnTo>
                    <a:lnTo>
                      <a:pt x="4301" y="1047"/>
                    </a:lnTo>
                    <a:lnTo>
                      <a:pt x="4294" y="1052"/>
                    </a:lnTo>
                    <a:lnTo>
                      <a:pt x="4288" y="1065"/>
                    </a:lnTo>
                    <a:lnTo>
                      <a:pt x="4278" y="1071"/>
                    </a:lnTo>
                    <a:lnTo>
                      <a:pt x="4267" y="1072"/>
                    </a:lnTo>
                    <a:lnTo>
                      <a:pt x="4253" y="1082"/>
                    </a:lnTo>
                    <a:lnTo>
                      <a:pt x="4242" y="1090"/>
                    </a:lnTo>
                    <a:lnTo>
                      <a:pt x="4229" y="1109"/>
                    </a:lnTo>
                    <a:lnTo>
                      <a:pt x="4232" y="1104"/>
                    </a:lnTo>
                    <a:lnTo>
                      <a:pt x="4229" y="1101"/>
                    </a:lnTo>
                    <a:lnTo>
                      <a:pt x="4215" y="1105"/>
                    </a:lnTo>
                    <a:lnTo>
                      <a:pt x="4213" y="1111"/>
                    </a:lnTo>
                    <a:lnTo>
                      <a:pt x="4206" y="1110"/>
                    </a:lnTo>
                    <a:lnTo>
                      <a:pt x="4205" y="1103"/>
                    </a:lnTo>
                    <a:lnTo>
                      <a:pt x="4227" y="1083"/>
                    </a:lnTo>
                    <a:lnTo>
                      <a:pt x="4236" y="1078"/>
                    </a:lnTo>
                    <a:lnTo>
                      <a:pt x="4240" y="1072"/>
                    </a:lnTo>
                    <a:lnTo>
                      <a:pt x="4252" y="1063"/>
                    </a:lnTo>
                    <a:lnTo>
                      <a:pt x="4263" y="1067"/>
                    </a:lnTo>
                    <a:lnTo>
                      <a:pt x="4276" y="1055"/>
                    </a:lnTo>
                    <a:lnTo>
                      <a:pt x="4285" y="1044"/>
                    </a:lnTo>
                    <a:lnTo>
                      <a:pt x="4301" y="1008"/>
                    </a:lnTo>
                    <a:lnTo>
                      <a:pt x="4306" y="1002"/>
                    </a:lnTo>
                    <a:lnTo>
                      <a:pt x="4306" y="997"/>
                    </a:lnTo>
                    <a:lnTo>
                      <a:pt x="4310" y="987"/>
                    </a:lnTo>
                    <a:lnTo>
                      <a:pt x="4316" y="972"/>
                    </a:lnTo>
                    <a:lnTo>
                      <a:pt x="4326" y="974"/>
                    </a:lnTo>
                    <a:lnTo>
                      <a:pt x="4349" y="965"/>
                    </a:lnTo>
                    <a:lnTo>
                      <a:pt x="4351" y="952"/>
                    </a:lnTo>
                    <a:lnTo>
                      <a:pt x="4365" y="928"/>
                    </a:lnTo>
                    <a:lnTo>
                      <a:pt x="4369" y="911"/>
                    </a:lnTo>
                    <a:lnTo>
                      <a:pt x="4409" y="910"/>
                    </a:lnTo>
                    <a:lnTo>
                      <a:pt x="4419" y="907"/>
                    </a:lnTo>
                    <a:lnTo>
                      <a:pt x="4425" y="915"/>
                    </a:lnTo>
                    <a:lnTo>
                      <a:pt x="4445" y="875"/>
                    </a:lnTo>
                    <a:lnTo>
                      <a:pt x="4452" y="864"/>
                    </a:lnTo>
                    <a:lnTo>
                      <a:pt x="4456" y="848"/>
                    </a:lnTo>
                    <a:lnTo>
                      <a:pt x="4484" y="820"/>
                    </a:lnTo>
                    <a:lnTo>
                      <a:pt x="4500" y="813"/>
                    </a:lnTo>
                    <a:lnTo>
                      <a:pt x="4511" y="802"/>
                    </a:lnTo>
                    <a:lnTo>
                      <a:pt x="4520" y="788"/>
                    </a:lnTo>
                    <a:lnTo>
                      <a:pt x="4526" y="767"/>
                    </a:lnTo>
                    <a:lnTo>
                      <a:pt x="4547" y="748"/>
                    </a:lnTo>
                    <a:lnTo>
                      <a:pt x="4545" y="743"/>
                    </a:lnTo>
                    <a:lnTo>
                      <a:pt x="4548" y="735"/>
                    </a:lnTo>
                    <a:lnTo>
                      <a:pt x="4559" y="733"/>
                    </a:lnTo>
                    <a:lnTo>
                      <a:pt x="4566" y="727"/>
                    </a:lnTo>
                    <a:lnTo>
                      <a:pt x="4563" y="724"/>
                    </a:lnTo>
                    <a:lnTo>
                      <a:pt x="4569" y="722"/>
                    </a:lnTo>
                    <a:lnTo>
                      <a:pt x="4573" y="726"/>
                    </a:lnTo>
                    <a:lnTo>
                      <a:pt x="4584" y="721"/>
                    </a:lnTo>
                    <a:lnTo>
                      <a:pt x="4587" y="707"/>
                    </a:lnTo>
                    <a:lnTo>
                      <a:pt x="4592" y="708"/>
                    </a:lnTo>
                    <a:lnTo>
                      <a:pt x="4607" y="692"/>
                    </a:lnTo>
                    <a:lnTo>
                      <a:pt x="4625" y="703"/>
                    </a:lnTo>
                    <a:lnTo>
                      <a:pt x="4627" y="695"/>
                    </a:lnTo>
                    <a:lnTo>
                      <a:pt x="4630" y="686"/>
                    </a:lnTo>
                    <a:lnTo>
                      <a:pt x="4625" y="678"/>
                    </a:lnTo>
                    <a:lnTo>
                      <a:pt x="4657" y="665"/>
                    </a:lnTo>
                    <a:lnTo>
                      <a:pt x="4643" y="662"/>
                    </a:lnTo>
                    <a:lnTo>
                      <a:pt x="4645" y="656"/>
                    </a:lnTo>
                    <a:lnTo>
                      <a:pt x="4667" y="645"/>
                    </a:lnTo>
                    <a:lnTo>
                      <a:pt x="4665" y="656"/>
                    </a:lnTo>
                    <a:lnTo>
                      <a:pt x="4672" y="645"/>
                    </a:lnTo>
                    <a:lnTo>
                      <a:pt x="4678" y="643"/>
                    </a:lnTo>
                    <a:lnTo>
                      <a:pt x="4684" y="636"/>
                    </a:lnTo>
                    <a:lnTo>
                      <a:pt x="4679" y="631"/>
                    </a:lnTo>
                    <a:lnTo>
                      <a:pt x="4688" y="622"/>
                    </a:lnTo>
                    <a:lnTo>
                      <a:pt x="4698" y="624"/>
                    </a:lnTo>
                    <a:lnTo>
                      <a:pt x="4704" y="611"/>
                    </a:lnTo>
                    <a:lnTo>
                      <a:pt x="4708" y="599"/>
                    </a:lnTo>
                    <a:lnTo>
                      <a:pt x="4708" y="595"/>
                    </a:lnTo>
                    <a:lnTo>
                      <a:pt x="4719" y="582"/>
                    </a:lnTo>
                    <a:lnTo>
                      <a:pt x="4722" y="573"/>
                    </a:lnTo>
                    <a:lnTo>
                      <a:pt x="4729" y="567"/>
                    </a:lnTo>
                    <a:lnTo>
                      <a:pt x="4729" y="549"/>
                    </a:lnTo>
                    <a:lnTo>
                      <a:pt x="4726" y="548"/>
                    </a:lnTo>
                    <a:lnTo>
                      <a:pt x="4722" y="534"/>
                    </a:lnTo>
                    <a:lnTo>
                      <a:pt x="4731" y="538"/>
                    </a:lnTo>
                    <a:lnTo>
                      <a:pt x="4730" y="518"/>
                    </a:lnTo>
                    <a:lnTo>
                      <a:pt x="4716" y="518"/>
                    </a:lnTo>
                    <a:lnTo>
                      <a:pt x="4703" y="506"/>
                    </a:lnTo>
                    <a:lnTo>
                      <a:pt x="4701" y="491"/>
                    </a:lnTo>
                    <a:lnTo>
                      <a:pt x="4692" y="492"/>
                    </a:lnTo>
                    <a:lnTo>
                      <a:pt x="4689" y="502"/>
                    </a:lnTo>
                    <a:lnTo>
                      <a:pt x="4686" y="507"/>
                    </a:lnTo>
                    <a:lnTo>
                      <a:pt x="4681" y="497"/>
                    </a:lnTo>
                    <a:lnTo>
                      <a:pt x="4681" y="493"/>
                    </a:lnTo>
                    <a:lnTo>
                      <a:pt x="4676" y="481"/>
                    </a:lnTo>
                    <a:lnTo>
                      <a:pt x="4679" y="475"/>
                    </a:lnTo>
                    <a:lnTo>
                      <a:pt x="4666" y="464"/>
                    </a:lnTo>
                    <a:lnTo>
                      <a:pt x="4660" y="454"/>
                    </a:lnTo>
                    <a:lnTo>
                      <a:pt x="4662" y="447"/>
                    </a:lnTo>
                    <a:lnTo>
                      <a:pt x="4670" y="449"/>
                    </a:lnTo>
                    <a:lnTo>
                      <a:pt x="4687" y="470"/>
                    </a:lnTo>
                    <a:lnTo>
                      <a:pt x="4717" y="490"/>
                    </a:lnTo>
                    <a:lnTo>
                      <a:pt x="4711" y="507"/>
                    </a:lnTo>
                    <a:lnTo>
                      <a:pt x="4717" y="505"/>
                    </a:lnTo>
                    <a:lnTo>
                      <a:pt x="4724" y="493"/>
                    </a:lnTo>
                    <a:lnTo>
                      <a:pt x="4736" y="455"/>
                    </a:lnTo>
                    <a:lnTo>
                      <a:pt x="4736" y="441"/>
                    </a:lnTo>
                    <a:lnTo>
                      <a:pt x="4732" y="428"/>
                    </a:lnTo>
                    <a:lnTo>
                      <a:pt x="4726" y="432"/>
                    </a:lnTo>
                    <a:lnTo>
                      <a:pt x="4717" y="428"/>
                    </a:lnTo>
                    <a:lnTo>
                      <a:pt x="4713" y="400"/>
                    </a:lnTo>
                    <a:lnTo>
                      <a:pt x="4714" y="389"/>
                    </a:lnTo>
                    <a:lnTo>
                      <a:pt x="4698" y="360"/>
                    </a:lnTo>
                    <a:lnTo>
                      <a:pt x="4689" y="364"/>
                    </a:lnTo>
                    <a:lnTo>
                      <a:pt x="4695" y="378"/>
                    </a:lnTo>
                    <a:lnTo>
                      <a:pt x="4686" y="387"/>
                    </a:lnTo>
                    <a:lnTo>
                      <a:pt x="4684" y="394"/>
                    </a:lnTo>
                    <a:lnTo>
                      <a:pt x="4679" y="394"/>
                    </a:lnTo>
                    <a:lnTo>
                      <a:pt x="4672" y="374"/>
                    </a:lnTo>
                    <a:lnTo>
                      <a:pt x="4662" y="362"/>
                    </a:lnTo>
                    <a:lnTo>
                      <a:pt x="4670" y="358"/>
                    </a:lnTo>
                    <a:lnTo>
                      <a:pt x="4671" y="349"/>
                    </a:lnTo>
                    <a:lnTo>
                      <a:pt x="4673" y="341"/>
                    </a:lnTo>
                    <a:lnTo>
                      <a:pt x="4647" y="315"/>
                    </a:lnTo>
                    <a:lnTo>
                      <a:pt x="4640" y="318"/>
                    </a:lnTo>
                    <a:lnTo>
                      <a:pt x="4639" y="306"/>
                    </a:lnTo>
                    <a:lnTo>
                      <a:pt x="4624" y="283"/>
                    </a:lnTo>
                    <a:lnTo>
                      <a:pt x="4603" y="271"/>
                    </a:lnTo>
                    <a:lnTo>
                      <a:pt x="4607" y="266"/>
                    </a:lnTo>
                    <a:lnTo>
                      <a:pt x="4603" y="258"/>
                    </a:lnTo>
                    <a:lnTo>
                      <a:pt x="4593" y="255"/>
                    </a:lnTo>
                    <a:lnTo>
                      <a:pt x="4588" y="261"/>
                    </a:lnTo>
                    <a:lnTo>
                      <a:pt x="4585" y="255"/>
                    </a:lnTo>
                    <a:lnTo>
                      <a:pt x="4586" y="244"/>
                    </a:lnTo>
                    <a:lnTo>
                      <a:pt x="4569" y="248"/>
                    </a:lnTo>
                    <a:lnTo>
                      <a:pt x="4539" y="242"/>
                    </a:lnTo>
                    <a:lnTo>
                      <a:pt x="4523" y="255"/>
                    </a:lnTo>
                    <a:lnTo>
                      <a:pt x="4518" y="253"/>
                    </a:lnTo>
                    <a:lnTo>
                      <a:pt x="4509" y="255"/>
                    </a:lnTo>
                    <a:lnTo>
                      <a:pt x="4489" y="238"/>
                    </a:lnTo>
                    <a:lnTo>
                      <a:pt x="4477" y="248"/>
                    </a:lnTo>
                    <a:lnTo>
                      <a:pt x="4469" y="247"/>
                    </a:lnTo>
                    <a:lnTo>
                      <a:pt x="4441" y="253"/>
                    </a:lnTo>
                    <a:lnTo>
                      <a:pt x="4435" y="247"/>
                    </a:lnTo>
                    <a:lnTo>
                      <a:pt x="4426" y="255"/>
                    </a:lnTo>
                    <a:lnTo>
                      <a:pt x="4428" y="248"/>
                    </a:lnTo>
                    <a:lnTo>
                      <a:pt x="4432" y="242"/>
                    </a:lnTo>
                    <a:lnTo>
                      <a:pt x="4430" y="238"/>
                    </a:lnTo>
                    <a:lnTo>
                      <a:pt x="4424" y="237"/>
                    </a:lnTo>
                    <a:lnTo>
                      <a:pt x="4421" y="244"/>
                    </a:lnTo>
                    <a:lnTo>
                      <a:pt x="4410" y="247"/>
                    </a:lnTo>
                    <a:lnTo>
                      <a:pt x="4409" y="258"/>
                    </a:lnTo>
                    <a:lnTo>
                      <a:pt x="4405" y="264"/>
                    </a:lnTo>
                    <a:lnTo>
                      <a:pt x="4416" y="261"/>
                    </a:lnTo>
                    <a:lnTo>
                      <a:pt x="4409" y="272"/>
                    </a:lnTo>
                    <a:lnTo>
                      <a:pt x="4403" y="272"/>
                    </a:lnTo>
                    <a:lnTo>
                      <a:pt x="4402" y="283"/>
                    </a:lnTo>
                    <a:lnTo>
                      <a:pt x="4397" y="294"/>
                    </a:lnTo>
                    <a:lnTo>
                      <a:pt x="4386" y="299"/>
                    </a:lnTo>
                    <a:lnTo>
                      <a:pt x="4382" y="296"/>
                    </a:lnTo>
                    <a:lnTo>
                      <a:pt x="4380" y="307"/>
                    </a:lnTo>
                    <a:lnTo>
                      <a:pt x="4356" y="306"/>
                    </a:lnTo>
                    <a:lnTo>
                      <a:pt x="4349" y="312"/>
                    </a:lnTo>
                    <a:lnTo>
                      <a:pt x="4334" y="306"/>
                    </a:lnTo>
                    <a:lnTo>
                      <a:pt x="4313" y="306"/>
                    </a:lnTo>
                    <a:lnTo>
                      <a:pt x="4313" y="301"/>
                    </a:lnTo>
                    <a:lnTo>
                      <a:pt x="4311" y="299"/>
                    </a:lnTo>
                    <a:lnTo>
                      <a:pt x="4329" y="288"/>
                    </a:lnTo>
                    <a:lnTo>
                      <a:pt x="4333" y="292"/>
                    </a:lnTo>
                    <a:lnTo>
                      <a:pt x="4343" y="264"/>
                    </a:lnTo>
                    <a:lnTo>
                      <a:pt x="4349" y="253"/>
                    </a:lnTo>
                    <a:lnTo>
                      <a:pt x="4353" y="242"/>
                    </a:lnTo>
                    <a:lnTo>
                      <a:pt x="4367" y="238"/>
                    </a:lnTo>
                    <a:lnTo>
                      <a:pt x="4377" y="216"/>
                    </a:lnTo>
                    <a:lnTo>
                      <a:pt x="4373" y="213"/>
                    </a:lnTo>
                    <a:lnTo>
                      <a:pt x="4370" y="207"/>
                    </a:lnTo>
                    <a:lnTo>
                      <a:pt x="4372" y="204"/>
                    </a:lnTo>
                    <a:lnTo>
                      <a:pt x="4380" y="204"/>
                    </a:lnTo>
                    <a:lnTo>
                      <a:pt x="4380" y="197"/>
                    </a:lnTo>
                    <a:lnTo>
                      <a:pt x="4373" y="195"/>
                    </a:lnTo>
                    <a:lnTo>
                      <a:pt x="4373" y="188"/>
                    </a:lnTo>
                    <a:lnTo>
                      <a:pt x="4375" y="183"/>
                    </a:lnTo>
                    <a:lnTo>
                      <a:pt x="4349" y="175"/>
                    </a:lnTo>
                    <a:lnTo>
                      <a:pt x="4344" y="178"/>
                    </a:lnTo>
                    <a:lnTo>
                      <a:pt x="4338" y="168"/>
                    </a:lnTo>
                    <a:lnTo>
                      <a:pt x="4329" y="166"/>
                    </a:lnTo>
                    <a:lnTo>
                      <a:pt x="4321" y="166"/>
                    </a:lnTo>
                    <a:lnTo>
                      <a:pt x="4312" y="173"/>
                    </a:lnTo>
                    <a:lnTo>
                      <a:pt x="4306" y="164"/>
                    </a:lnTo>
                    <a:lnTo>
                      <a:pt x="4289" y="173"/>
                    </a:lnTo>
                    <a:lnTo>
                      <a:pt x="4294" y="157"/>
                    </a:lnTo>
                    <a:lnTo>
                      <a:pt x="4292" y="143"/>
                    </a:lnTo>
                    <a:lnTo>
                      <a:pt x="4286" y="162"/>
                    </a:lnTo>
                    <a:lnTo>
                      <a:pt x="4268" y="161"/>
                    </a:lnTo>
                    <a:lnTo>
                      <a:pt x="4211" y="189"/>
                    </a:lnTo>
                    <a:lnTo>
                      <a:pt x="4224" y="169"/>
                    </a:lnTo>
                    <a:lnTo>
                      <a:pt x="4231" y="166"/>
                    </a:lnTo>
                    <a:lnTo>
                      <a:pt x="4256" y="126"/>
                    </a:lnTo>
                    <a:lnTo>
                      <a:pt x="4268" y="116"/>
                    </a:lnTo>
                    <a:lnTo>
                      <a:pt x="4276" y="115"/>
                    </a:lnTo>
                    <a:lnTo>
                      <a:pt x="4286" y="98"/>
                    </a:lnTo>
                    <a:lnTo>
                      <a:pt x="4286" y="91"/>
                    </a:lnTo>
                    <a:lnTo>
                      <a:pt x="4301" y="88"/>
                    </a:lnTo>
                    <a:lnTo>
                      <a:pt x="4310" y="95"/>
                    </a:lnTo>
                    <a:lnTo>
                      <a:pt x="4301" y="82"/>
                    </a:lnTo>
                    <a:lnTo>
                      <a:pt x="4290" y="43"/>
                    </a:lnTo>
                    <a:lnTo>
                      <a:pt x="4281" y="39"/>
                    </a:lnTo>
                    <a:lnTo>
                      <a:pt x="4276" y="48"/>
                    </a:lnTo>
                    <a:lnTo>
                      <a:pt x="4259" y="45"/>
                    </a:lnTo>
                    <a:lnTo>
                      <a:pt x="4242" y="34"/>
                    </a:lnTo>
                    <a:lnTo>
                      <a:pt x="4226" y="7"/>
                    </a:lnTo>
                    <a:lnTo>
                      <a:pt x="4219" y="17"/>
                    </a:lnTo>
                    <a:lnTo>
                      <a:pt x="4213" y="14"/>
                    </a:lnTo>
                    <a:lnTo>
                      <a:pt x="4211" y="12"/>
                    </a:lnTo>
                    <a:lnTo>
                      <a:pt x="4211" y="5"/>
                    </a:lnTo>
                    <a:lnTo>
                      <a:pt x="4203" y="0"/>
                    </a:lnTo>
                    <a:lnTo>
                      <a:pt x="4193" y="2"/>
                    </a:lnTo>
                    <a:lnTo>
                      <a:pt x="4178" y="14"/>
                    </a:lnTo>
                    <a:lnTo>
                      <a:pt x="4172" y="24"/>
                    </a:lnTo>
                    <a:lnTo>
                      <a:pt x="4166" y="27"/>
                    </a:lnTo>
                    <a:lnTo>
                      <a:pt x="4143" y="22"/>
                    </a:lnTo>
                    <a:lnTo>
                      <a:pt x="4139" y="35"/>
                    </a:lnTo>
                    <a:lnTo>
                      <a:pt x="4122" y="51"/>
                    </a:lnTo>
                    <a:lnTo>
                      <a:pt x="4098" y="88"/>
                    </a:lnTo>
                    <a:lnTo>
                      <a:pt x="4093" y="102"/>
                    </a:lnTo>
                    <a:lnTo>
                      <a:pt x="4073" y="120"/>
                    </a:lnTo>
                    <a:lnTo>
                      <a:pt x="4070" y="126"/>
                    </a:lnTo>
                    <a:lnTo>
                      <a:pt x="4049" y="157"/>
                    </a:lnTo>
                    <a:lnTo>
                      <a:pt x="4043" y="168"/>
                    </a:lnTo>
                    <a:lnTo>
                      <a:pt x="4042" y="178"/>
                    </a:lnTo>
                    <a:lnTo>
                      <a:pt x="4042" y="185"/>
                    </a:lnTo>
                    <a:lnTo>
                      <a:pt x="4039" y="194"/>
                    </a:lnTo>
                    <a:lnTo>
                      <a:pt x="4033" y="194"/>
                    </a:lnTo>
                    <a:lnTo>
                      <a:pt x="4032" y="201"/>
                    </a:lnTo>
                    <a:lnTo>
                      <a:pt x="4023" y="220"/>
                    </a:lnTo>
                    <a:lnTo>
                      <a:pt x="4025" y="222"/>
                    </a:lnTo>
                    <a:lnTo>
                      <a:pt x="4025" y="232"/>
                    </a:lnTo>
                    <a:lnTo>
                      <a:pt x="4030" y="238"/>
                    </a:lnTo>
                    <a:lnTo>
                      <a:pt x="4043" y="244"/>
                    </a:lnTo>
                    <a:lnTo>
                      <a:pt x="4046" y="258"/>
                    </a:lnTo>
                    <a:lnTo>
                      <a:pt x="4052" y="263"/>
                    </a:lnTo>
                    <a:lnTo>
                      <a:pt x="4050" y="267"/>
                    </a:lnTo>
                    <a:lnTo>
                      <a:pt x="4039" y="265"/>
                    </a:lnTo>
                    <a:lnTo>
                      <a:pt x="4037" y="258"/>
                    </a:lnTo>
                    <a:lnTo>
                      <a:pt x="4037" y="282"/>
                    </a:lnTo>
                    <a:lnTo>
                      <a:pt x="4041" y="285"/>
                    </a:lnTo>
                    <a:lnTo>
                      <a:pt x="4039" y="286"/>
                    </a:lnTo>
                    <a:lnTo>
                      <a:pt x="4010" y="303"/>
                    </a:lnTo>
                    <a:lnTo>
                      <a:pt x="3995" y="307"/>
                    </a:lnTo>
                    <a:lnTo>
                      <a:pt x="3975" y="306"/>
                    </a:lnTo>
                    <a:lnTo>
                      <a:pt x="3962" y="312"/>
                    </a:lnTo>
                    <a:lnTo>
                      <a:pt x="3913" y="302"/>
                    </a:lnTo>
                    <a:lnTo>
                      <a:pt x="3915" y="310"/>
                    </a:lnTo>
                    <a:lnTo>
                      <a:pt x="3915" y="315"/>
                    </a:lnTo>
                    <a:lnTo>
                      <a:pt x="3921" y="321"/>
                    </a:lnTo>
                    <a:lnTo>
                      <a:pt x="3923" y="334"/>
                    </a:lnTo>
                    <a:lnTo>
                      <a:pt x="3934" y="335"/>
                    </a:lnTo>
                    <a:lnTo>
                      <a:pt x="3941" y="344"/>
                    </a:lnTo>
                    <a:lnTo>
                      <a:pt x="3941" y="351"/>
                    </a:lnTo>
                    <a:lnTo>
                      <a:pt x="3960" y="351"/>
                    </a:lnTo>
                    <a:lnTo>
                      <a:pt x="3967" y="356"/>
                    </a:lnTo>
                    <a:lnTo>
                      <a:pt x="3968" y="364"/>
                    </a:lnTo>
                    <a:lnTo>
                      <a:pt x="3963" y="377"/>
                    </a:lnTo>
                    <a:lnTo>
                      <a:pt x="3963" y="396"/>
                    </a:lnTo>
                    <a:lnTo>
                      <a:pt x="3960" y="406"/>
                    </a:lnTo>
                    <a:lnTo>
                      <a:pt x="3947" y="401"/>
                    </a:lnTo>
                    <a:lnTo>
                      <a:pt x="3947" y="389"/>
                    </a:lnTo>
                    <a:lnTo>
                      <a:pt x="3944" y="384"/>
                    </a:lnTo>
                    <a:lnTo>
                      <a:pt x="3923" y="380"/>
                    </a:lnTo>
                    <a:lnTo>
                      <a:pt x="3923" y="377"/>
                    </a:lnTo>
                    <a:lnTo>
                      <a:pt x="3926" y="366"/>
                    </a:lnTo>
                    <a:lnTo>
                      <a:pt x="3924" y="361"/>
                    </a:lnTo>
                    <a:lnTo>
                      <a:pt x="3907" y="364"/>
                    </a:lnTo>
                    <a:lnTo>
                      <a:pt x="3908" y="353"/>
                    </a:lnTo>
                    <a:lnTo>
                      <a:pt x="3902" y="352"/>
                    </a:lnTo>
                    <a:lnTo>
                      <a:pt x="3865" y="379"/>
                    </a:lnTo>
                    <a:lnTo>
                      <a:pt x="3869" y="389"/>
                    </a:lnTo>
                    <a:lnTo>
                      <a:pt x="3869" y="396"/>
                    </a:lnTo>
                    <a:lnTo>
                      <a:pt x="3864" y="396"/>
                    </a:lnTo>
                    <a:lnTo>
                      <a:pt x="3860" y="390"/>
                    </a:lnTo>
                    <a:lnTo>
                      <a:pt x="3849" y="393"/>
                    </a:lnTo>
                    <a:lnTo>
                      <a:pt x="3844" y="404"/>
                    </a:lnTo>
                    <a:lnTo>
                      <a:pt x="3851" y="405"/>
                    </a:lnTo>
                    <a:lnTo>
                      <a:pt x="3854" y="409"/>
                    </a:lnTo>
                    <a:lnTo>
                      <a:pt x="3855" y="417"/>
                    </a:lnTo>
                    <a:lnTo>
                      <a:pt x="3850" y="419"/>
                    </a:lnTo>
                    <a:lnTo>
                      <a:pt x="3838" y="415"/>
                    </a:lnTo>
                    <a:lnTo>
                      <a:pt x="3821" y="428"/>
                    </a:lnTo>
                    <a:lnTo>
                      <a:pt x="3821" y="415"/>
                    </a:lnTo>
                    <a:lnTo>
                      <a:pt x="3819" y="411"/>
                    </a:lnTo>
                    <a:lnTo>
                      <a:pt x="3815" y="415"/>
                    </a:lnTo>
                    <a:lnTo>
                      <a:pt x="3805" y="431"/>
                    </a:lnTo>
                    <a:lnTo>
                      <a:pt x="3797" y="431"/>
                    </a:lnTo>
                    <a:lnTo>
                      <a:pt x="3784" y="442"/>
                    </a:lnTo>
                    <a:lnTo>
                      <a:pt x="3780" y="439"/>
                    </a:lnTo>
                    <a:lnTo>
                      <a:pt x="3790" y="427"/>
                    </a:lnTo>
                    <a:lnTo>
                      <a:pt x="3791" y="419"/>
                    </a:lnTo>
                    <a:lnTo>
                      <a:pt x="3780" y="417"/>
                    </a:lnTo>
                    <a:lnTo>
                      <a:pt x="3779" y="411"/>
                    </a:lnTo>
                    <a:lnTo>
                      <a:pt x="3774" y="419"/>
                    </a:lnTo>
                    <a:lnTo>
                      <a:pt x="3756" y="423"/>
                    </a:lnTo>
                    <a:lnTo>
                      <a:pt x="3748" y="438"/>
                    </a:lnTo>
                    <a:lnTo>
                      <a:pt x="3740" y="442"/>
                    </a:lnTo>
                    <a:lnTo>
                      <a:pt x="3736" y="436"/>
                    </a:lnTo>
                    <a:lnTo>
                      <a:pt x="3756" y="414"/>
                    </a:lnTo>
                    <a:lnTo>
                      <a:pt x="3761" y="393"/>
                    </a:lnTo>
                    <a:lnTo>
                      <a:pt x="3745" y="380"/>
                    </a:lnTo>
                    <a:lnTo>
                      <a:pt x="3716" y="382"/>
                    </a:lnTo>
                    <a:lnTo>
                      <a:pt x="3711" y="385"/>
                    </a:lnTo>
                    <a:lnTo>
                      <a:pt x="3710" y="393"/>
                    </a:lnTo>
                    <a:lnTo>
                      <a:pt x="3678" y="383"/>
                    </a:lnTo>
                    <a:lnTo>
                      <a:pt x="3676" y="390"/>
                    </a:lnTo>
                    <a:lnTo>
                      <a:pt x="3665" y="399"/>
                    </a:lnTo>
                    <a:lnTo>
                      <a:pt x="3657" y="389"/>
                    </a:lnTo>
                    <a:lnTo>
                      <a:pt x="3629" y="390"/>
                    </a:lnTo>
                    <a:lnTo>
                      <a:pt x="3628" y="394"/>
                    </a:lnTo>
                    <a:lnTo>
                      <a:pt x="3635" y="399"/>
                    </a:lnTo>
                    <a:lnTo>
                      <a:pt x="3635" y="403"/>
                    </a:lnTo>
                    <a:lnTo>
                      <a:pt x="3609" y="409"/>
                    </a:lnTo>
                    <a:lnTo>
                      <a:pt x="3608" y="405"/>
                    </a:lnTo>
                    <a:lnTo>
                      <a:pt x="3611" y="398"/>
                    </a:lnTo>
                    <a:lnTo>
                      <a:pt x="3604" y="399"/>
                    </a:lnTo>
                    <a:lnTo>
                      <a:pt x="3590" y="412"/>
                    </a:lnTo>
                    <a:lnTo>
                      <a:pt x="3586" y="401"/>
                    </a:lnTo>
                    <a:lnTo>
                      <a:pt x="3581" y="405"/>
                    </a:lnTo>
                    <a:lnTo>
                      <a:pt x="3581" y="423"/>
                    </a:lnTo>
                    <a:lnTo>
                      <a:pt x="3585" y="427"/>
                    </a:lnTo>
                    <a:lnTo>
                      <a:pt x="3604" y="417"/>
                    </a:lnTo>
                    <a:lnTo>
                      <a:pt x="3607" y="428"/>
                    </a:lnTo>
                    <a:lnTo>
                      <a:pt x="3611" y="435"/>
                    </a:lnTo>
                    <a:lnTo>
                      <a:pt x="3612" y="432"/>
                    </a:lnTo>
                    <a:lnTo>
                      <a:pt x="3612" y="426"/>
                    </a:lnTo>
                    <a:lnTo>
                      <a:pt x="3619" y="423"/>
                    </a:lnTo>
                    <a:lnTo>
                      <a:pt x="3618" y="428"/>
                    </a:lnTo>
                    <a:lnTo>
                      <a:pt x="3620" y="435"/>
                    </a:lnTo>
                    <a:lnTo>
                      <a:pt x="3614" y="446"/>
                    </a:lnTo>
                    <a:lnTo>
                      <a:pt x="3549" y="471"/>
                    </a:lnTo>
                    <a:lnTo>
                      <a:pt x="3520" y="475"/>
                    </a:lnTo>
                    <a:lnTo>
                      <a:pt x="3516" y="473"/>
                    </a:lnTo>
                    <a:lnTo>
                      <a:pt x="3514" y="481"/>
                    </a:lnTo>
                    <a:lnTo>
                      <a:pt x="3514" y="492"/>
                    </a:lnTo>
                    <a:lnTo>
                      <a:pt x="3514" y="489"/>
                    </a:lnTo>
                    <a:lnTo>
                      <a:pt x="3501" y="487"/>
                    </a:lnTo>
                    <a:lnTo>
                      <a:pt x="3488" y="496"/>
                    </a:lnTo>
                    <a:lnTo>
                      <a:pt x="3473" y="490"/>
                    </a:lnTo>
                    <a:lnTo>
                      <a:pt x="3455" y="502"/>
                    </a:lnTo>
                    <a:lnTo>
                      <a:pt x="3436" y="502"/>
                    </a:lnTo>
                    <a:lnTo>
                      <a:pt x="3420" y="516"/>
                    </a:lnTo>
                    <a:lnTo>
                      <a:pt x="3434" y="524"/>
                    </a:lnTo>
                    <a:lnTo>
                      <a:pt x="3415" y="529"/>
                    </a:lnTo>
                    <a:lnTo>
                      <a:pt x="3401" y="541"/>
                    </a:lnTo>
                    <a:lnTo>
                      <a:pt x="3385" y="528"/>
                    </a:lnTo>
                    <a:lnTo>
                      <a:pt x="3378" y="536"/>
                    </a:lnTo>
                    <a:lnTo>
                      <a:pt x="3366" y="539"/>
                    </a:lnTo>
                    <a:lnTo>
                      <a:pt x="3365" y="544"/>
                    </a:lnTo>
                    <a:lnTo>
                      <a:pt x="3371" y="544"/>
                    </a:lnTo>
                    <a:lnTo>
                      <a:pt x="3374" y="550"/>
                    </a:lnTo>
                    <a:lnTo>
                      <a:pt x="3355" y="555"/>
                    </a:lnTo>
                    <a:lnTo>
                      <a:pt x="3354" y="562"/>
                    </a:lnTo>
                    <a:lnTo>
                      <a:pt x="3344" y="566"/>
                    </a:lnTo>
                    <a:lnTo>
                      <a:pt x="3333" y="584"/>
                    </a:lnTo>
                    <a:lnTo>
                      <a:pt x="3322" y="593"/>
                    </a:lnTo>
                    <a:lnTo>
                      <a:pt x="3321" y="598"/>
                    </a:lnTo>
                    <a:lnTo>
                      <a:pt x="3322" y="604"/>
                    </a:lnTo>
                    <a:lnTo>
                      <a:pt x="3319" y="608"/>
                    </a:lnTo>
                    <a:lnTo>
                      <a:pt x="3305" y="614"/>
                    </a:lnTo>
                    <a:lnTo>
                      <a:pt x="3300" y="605"/>
                    </a:lnTo>
                    <a:lnTo>
                      <a:pt x="3292" y="604"/>
                    </a:lnTo>
                    <a:lnTo>
                      <a:pt x="3269" y="602"/>
                    </a:lnTo>
                    <a:lnTo>
                      <a:pt x="3261" y="606"/>
                    </a:lnTo>
                    <a:lnTo>
                      <a:pt x="3256" y="611"/>
                    </a:lnTo>
                    <a:lnTo>
                      <a:pt x="3262" y="618"/>
                    </a:lnTo>
                    <a:lnTo>
                      <a:pt x="3279" y="625"/>
                    </a:lnTo>
                    <a:lnTo>
                      <a:pt x="3301" y="626"/>
                    </a:lnTo>
                    <a:lnTo>
                      <a:pt x="3297" y="633"/>
                    </a:lnTo>
                    <a:lnTo>
                      <a:pt x="3288" y="642"/>
                    </a:lnTo>
                    <a:lnTo>
                      <a:pt x="3281" y="640"/>
                    </a:lnTo>
                    <a:lnTo>
                      <a:pt x="3279" y="633"/>
                    </a:lnTo>
                    <a:lnTo>
                      <a:pt x="3272" y="640"/>
                    </a:lnTo>
                    <a:lnTo>
                      <a:pt x="3274" y="645"/>
                    </a:lnTo>
                    <a:lnTo>
                      <a:pt x="3268" y="659"/>
                    </a:lnTo>
                    <a:lnTo>
                      <a:pt x="3262" y="667"/>
                    </a:lnTo>
                    <a:lnTo>
                      <a:pt x="3256" y="683"/>
                    </a:lnTo>
                    <a:lnTo>
                      <a:pt x="3249" y="683"/>
                    </a:lnTo>
                    <a:lnTo>
                      <a:pt x="3247" y="694"/>
                    </a:lnTo>
                    <a:lnTo>
                      <a:pt x="3253" y="702"/>
                    </a:lnTo>
                    <a:lnTo>
                      <a:pt x="3246" y="708"/>
                    </a:lnTo>
                    <a:lnTo>
                      <a:pt x="3236" y="691"/>
                    </a:lnTo>
                    <a:lnTo>
                      <a:pt x="3222" y="684"/>
                    </a:lnTo>
                    <a:lnTo>
                      <a:pt x="3221" y="674"/>
                    </a:lnTo>
                    <a:lnTo>
                      <a:pt x="3204" y="667"/>
                    </a:lnTo>
                    <a:lnTo>
                      <a:pt x="3203" y="668"/>
                    </a:lnTo>
                    <a:lnTo>
                      <a:pt x="3209" y="681"/>
                    </a:lnTo>
                    <a:lnTo>
                      <a:pt x="3194" y="690"/>
                    </a:lnTo>
                    <a:lnTo>
                      <a:pt x="3197" y="699"/>
                    </a:lnTo>
                    <a:lnTo>
                      <a:pt x="3192" y="701"/>
                    </a:lnTo>
                    <a:lnTo>
                      <a:pt x="3193" y="707"/>
                    </a:lnTo>
                    <a:lnTo>
                      <a:pt x="3222" y="711"/>
                    </a:lnTo>
                    <a:lnTo>
                      <a:pt x="3229" y="717"/>
                    </a:lnTo>
                    <a:lnTo>
                      <a:pt x="3242" y="724"/>
                    </a:lnTo>
                    <a:lnTo>
                      <a:pt x="3238" y="728"/>
                    </a:lnTo>
                    <a:lnTo>
                      <a:pt x="3238" y="735"/>
                    </a:lnTo>
                    <a:lnTo>
                      <a:pt x="3242" y="739"/>
                    </a:lnTo>
                    <a:lnTo>
                      <a:pt x="3240" y="743"/>
                    </a:lnTo>
                    <a:lnTo>
                      <a:pt x="3227" y="740"/>
                    </a:lnTo>
                    <a:lnTo>
                      <a:pt x="3224" y="744"/>
                    </a:lnTo>
                    <a:lnTo>
                      <a:pt x="3211" y="750"/>
                    </a:lnTo>
                    <a:lnTo>
                      <a:pt x="3215" y="756"/>
                    </a:lnTo>
                    <a:lnTo>
                      <a:pt x="3204" y="756"/>
                    </a:lnTo>
                    <a:lnTo>
                      <a:pt x="3202" y="761"/>
                    </a:lnTo>
                    <a:lnTo>
                      <a:pt x="3203" y="771"/>
                    </a:lnTo>
                    <a:lnTo>
                      <a:pt x="3209" y="777"/>
                    </a:lnTo>
                    <a:lnTo>
                      <a:pt x="3246" y="788"/>
                    </a:lnTo>
                    <a:lnTo>
                      <a:pt x="3249" y="814"/>
                    </a:lnTo>
                    <a:lnTo>
                      <a:pt x="3253" y="821"/>
                    </a:lnTo>
                    <a:lnTo>
                      <a:pt x="3259" y="826"/>
                    </a:lnTo>
                    <a:lnTo>
                      <a:pt x="3254" y="832"/>
                    </a:lnTo>
                    <a:lnTo>
                      <a:pt x="3242" y="828"/>
                    </a:lnTo>
                    <a:lnTo>
                      <a:pt x="3242" y="831"/>
                    </a:lnTo>
                    <a:lnTo>
                      <a:pt x="3245" y="839"/>
                    </a:lnTo>
                    <a:lnTo>
                      <a:pt x="3240" y="841"/>
                    </a:lnTo>
                    <a:lnTo>
                      <a:pt x="3242" y="847"/>
                    </a:lnTo>
                    <a:lnTo>
                      <a:pt x="3247" y="850"/>
                    </a:lnTo>
                    <a:lnTo>
                      <a:pt x="3247" y="856"/>
                    </a:lnTo>
                    <a:lnTo>
                      <a:pt x="3237" y="861"/>
                    </a:lnTo>
                    <a:lnTo>
                      <a:pt x="3215" y="863"/>
                    </a:lnTo>
                    <a:lnTo>
                      <a:pt x="3202" y="872"/>
                    </a:lnTo>
                    <a:lnTo>
                      <a:pt x="3189" y="871"/>
                    </a:lnTo>
                    <a:lnTo>
                      <a:pt x="3182" y="874"/>
                    </a:lnTo>
                    <a:lnTo>
                      <a:pt x="3179" y="883"/>
                    </a:lnTo>
                    <a:lnTo>
                      <a:pt x="3166" y="894"/>
                    </a:lnTo>
                    <a:lnTo>
                      <a:pt x="3148" y="889"/>
                    </a:lnTo>
                    <a:lnTo>
                      <a:pt x="3145" y="883"/>
                    </a:lnTo>
                    <a:lnTo>
                      <a:pt x="3143" y="883"/>
                    </a:lnTo>
                    <a:lnTo>
                      <a:pt x="3130" y="888"/>
                    </a:lnTo>
                    <a:lnTo>
                      <a:pt x="3105" y="893"/>
                    </a:lnTo>
                    <a:lnTo>
                      <a:pt x="3082" y="900"/>
                    </a:lnTo>
                    <a:lnTo>
                      <a:pt x="3035" y="906"/>
                    </a:lnTo>
                    <a:lnTo>
                      <a:pt x="3026" y="900"/>
                    </a:lnTo>
                    <a:lnTo>
                      <a:pt x="3007" y="904"/>
                    </a:lnTo>
                    <a:lnTo>
                      <a:pt x="2989" y="901"/>
                    </a:lnTo>
                    <a:lnTo>
                      <a:pt x="2952" y="912"/>
                    </a:lnTo>
                    <a:lnTo>
                      <a:pt x="2952" y="917"/>
                    </a:lnTo>
                    <a:lnTo>
                      <a:pt x="2950" y="920"/>
                    </a:lnTo>
                    <a:lnTo>
                      <a:pt x="2939" y="914"/>
                    </a:lnTo>
                    <a:lnTo>
                      <a:pt x="2929" y="918"/>
                    </a:lnTo>
                    <a:lnTo>
                      <a:pt x="2928" y="922"/>
                    </a:lnTo>
                    <a:lnTo>
                      <a:pt x="2912" y="926"/>
                    </a:lnTo>
                    <a:lnTo>
                      <a:pt x="2913" y="936"/>
                    </a:lnTo>
                    <a:lnTo>
                      <a:pt x="2917" y="944"/>
                    </a:lnTo>
                    <a:lnTo>
                      <a:pt x="2920" y="943"/>
                    </a:lnTo>
                    <a:lnTo>
                      <a:pt x="2921" y="938"/>
                    </a:lnTo>
                    <a:lnTo>
                      <a:pt x="2926" y="939"/>
                    </a:lnTo>
                    <a:lnTo>
                      <a:pt x="2924" y="947"/>
                    </a:lnTo>
                    <a:lnTo>
                      <a:pt x="2912" y="958"/>
                    </a:lnTo>
                    <a:lnTo>
                      <a:pt x="2912" y="964"/>
                    </a:lnTo>
                    <a:lnTo>
                      <a:pt x="2904" y="960"/>
                    </a:lnTo>
                    <a:lnTo>
                      <a:pt x="2901" y="966"/>
                    </a:lnTo>
                    <a:lnTo>
                      <a:pt x="2904" y="975"/>
                    </a:lnTo>
                    <a:lnTo>
                      <a:pt x="2913" y="977"/>
                    </a:lnTo>
                    <a:lnTo>
                      <a:pt x="2913" y="987"/>
                    </a:lnTo>
                    <a:lnTo>
                      <a:pt x="2901" y="996"/>
                    </a:lnTo>
                    <a:lnTo>
                      <a:pt x="2918" y="1009"/>
                    </a:lnTo>
                    <a:lnTo>
                      <a:pt x="2917" y="1014"/>
                    </a:lnTo>
                    <a:lnTo>
                      <a:pt x="2923" y="1019"/>
                    </a:lnTo>
                    <a:lnTo>
                      <a:pt x="2926" y="1018"/>
                    </a:lnTo>
                    <a:lnTo>
                      <a:pt x="2931" y="1040"/>
                    </a:lnTo>
                    <a:lnTo>
                      <a:pt x="2937" y="1046"/>
                    </a:lnTo>
                    <a:lnTo>
                      <a:pt x="2934" y="1052"/>
                    </a:lnTo>
                    <a:lnTo>
                      <a:pt x="2933" y="1058"/>
                    </a:lnTo>
                    <a:lnTo>
                      <a:pt x="2929" y="1066"/>
                    </a:lnTo>
                    <a:lnTo>
                      <a:pt x="2924" y="1082"/>
                    </a:lnTo>
                    <a:lnTo>
                      <a:pt x="2925" y="1097"/>
                    </a:lnTo>
                    <a:lnTo>
                      <a:pt x="2930" y="1105"/>
                    </a:lnTo>
                    <a:lnTo>
                      <a:pt x="2930" y="1122"/>
                    </a:lnTo>
                    <a:lnTo>
                      <a:pt x="2935" y="1133"/>
                    </a:lnTo>
                    <a:lnTo>
                      <a:pt x="2949" y="1149"/>
                    </a:lnTo>
                    <a:lnTo>
                      <a:pt x="2962" y="1153"/>
                    </a:lnTo>
                    <a:lnTo>
                      <a:pt x="2987" y="1157"/>
                    </a:lnTo>
                    <a:lnTo>
                      <a:pt x="3001" y="1168"/>
                    </a:lnTo>
                    <a:lnTo>
                      <a:pt x="3009" y="1168"/>
                    </a:lnTo>
                    <a:lnTo>
                      <a:pt x="3015" y="1184"/>
                    </a:lnTo>
                    <a:lnTo>
                      <a:pt x="3010" y="1196"/>
                    </a:lnTo>
                    <a:lnTo>
                      <a:pt x="3006" y="1200"/>
                    </a:lnTo>
                    <a:lnTo>
                      <a:pt x="3017" y="1203"/>
                    </a:lnTo>
                    <a:lnTo>
                      <a:pt x="3023" y="1211"/>
                    </a:lnTo>
                    <a:lnTo>
                      <a:pt x="3031" y="1227"/>
                    </a:lnTo>
                    <a:lnTo>
                      <a:pt x="3041" y="1233"/>
                    </a:lnTo>
                    <a:lnTo>
                      <a:pt x="3060" y="1239"/>
                    </a:lnTo>
                    <a:lnTo>
                      <a:pt x="3069" y="1246"/>
                    </a:lnTo>
                    <a:lnTo>
                      <a:pt x="3073" y="1239"/>
                    </a:lnTo>
                    <a:lnTo>
                      <a:pt x="3076" y="1254"/>
                    </a:lnTo>
                    <a:lnTo>
                      <a:pt x="3084" y="1272"/>
                    </a:lnTo>
                    <a:lnTo>
                      <a:pt x="3084" y="1282"/>
                    </a:lnTo>
                    <a:lnTo>
                      <a:pt x="3080" y="1302"/>
                    </a:lnTo>
                    <a:lnTo>
                      <a:pt x="3069" y="1312"/>
                    </a:lnTo>
                    <a:lnTo>
                      <a:pt x="3068" y="1329"/>
                    </a:lnTo>
                    <a:lnTo>
                      <a:pt x="3060" y="1343"/>
                    </a:lnTo>
                    <a:lnTo>
                      <a:pt x="3064" y="1358"/>
                    </a:lnTo>
                    <a:lnTo>
                      <a:pt x="3063" y="1372"/>
                    </a:lnTo>
                    <a:lnTo>
                      <a:pt x="3079" y="1394"/>
                    </a:lnTo>
                    <a:lnTo>
                      <a:pt x="3082" y="1426"/>
                    </a:lnTo>
                    <a:lnTo>
                      <a:pt x="3087" y="1440"/>
                    </a:lnTo>
                    <a:lnTo>
                      <a:pt x="3090" y="1459"/>
                    </a:lnTo>
                    <a:lnTo>
                      <a:pt x="3090" y="1474"/>
                    </a:lnTo>
                    <a:lnTo>
                      <a:pt x="3085" y="1487"/>
                    </a:lnTo>
                    <a:lnTo>
                      <a:pt x="3075" y="1501"/>
                    </a:lnTo>
                    <a:lnTo>
                      <a:pt x="3063" y="1504"/>
                    </a:lnTo>
                    <a:lnTo>
                      <a:pt x="3055" y="1501"/>
                    </a:lnTo>
                    <a:lnTo>
                      <a:pt x="3054" y="1509"/>
                    </a:lnTo>
                    <a:lnTo>
                      <a:pt x="3063" y="1530"/>
                    </a:lnTo>
                    <a:lnTo>
                      <a:pt x="3059" y="1539"/>
                    </a:lnTo>
                    <a:lnTo>
                      <a:pt x="3035" y="1529"/>
                    </a:lnTo>
                    <a:lnTo>
                      <a:pt x="3017" y="1528"/>
                    </a:lnTo>
                    <a:lnTo>
                      <a:pt x="3006" y="1517"/>
                    </a:lnTo>
                    <a:lnTo>
                      <a:pt x="3004" y="1504"/>
                    </a:lnTo>
                    <a:lnTo>
                      <a:pt x="3004" y="1458"/>
                    </a:lnTo>
                    <a:lnTo>
                      <a:pt x="3012" y="1428"/>
                    </a:lnTo>
                    <a:lnTo>
                      <a:pt x="3009" y="1422"/>
                    </a:lnTo>
                    <a:lnTo>
                      <a:pt x="3007" y="1393"/>
                    </a:lnTo>
                    <a:lnTo>
                      <a:pt x="3010" y="1379"/>
                    </a:lnTo>
                    <a:lnTo>
                      <a:pt x="3009" y="1362"/>
                    </a:lnTo>
                    <a:lnTo>
                      <a:pt x="3007" y="1352"/>
                    </a:lnTo>
                    <a:lnTo>
                      <a:pt x="3015" y="1340"/>
                    </a:lnTo>
                    <a:lnTo>
                      <a:pt x="3047" y="1319"/>
                    </a:lnTo>
                    <a:lnTo>
                      <a:pt x="3049" y="1313"/>
                    </a:lnTo>
                    <a:lnTo>
                      <a:pt x="3049" y="1300"/>
                    </a:lnTo>
                    <a:lnTo>
                      <a:pt x="3052" y="1288"/>
                    </a:lnTo>
                    <a:lnTo>
                      <a:pt x="3060" y="1287"/>
                    </a:lnTo>
                    <a:lnTo>
                      <a:pt x="3063" y="1270"/>
                    </a:lnTo>
                    <a:lnTo>
                      <a:pt x="3039" y="1254"/>
                    </a:lnTo>
                    <a:lnTo>
                      <a:pt x="3010" y="1264"/>
                    </a:lnTo>
                    <a:lnTo>
                      <a:pt x="2982" y="1267"/>
                    </a:lnTo>
                    <a:lnTo>
                      <a:pt x="2966" y="1260"/>
                    </a:lnTo>
                    <a:lnTo>
                      <a:pt x="2955" y="1248"/>
                    </a:lnTo>
                    <a:lnTo>
                      <a:pt x="2952" y="1250"/>
                    </a:lnTo>
                    <a:lnTo>
                      <a:pt x="2945" y="1235"/>
                    </a:lnTo>
                    <a:lnTo>
                      <a:pt x="2931" y="1219"/>
                    </a:lnTo>
                    <a:lnTo>
                      <a:pt x="2928" y="1212"/>
                    </a:lnTo>
                    <a:lnTo>
                      <a:pt x="2928" y="1203"/>
                    </a:lnTo>
                    <a:lnTo>
                      <a:pt x="2902" y="1191"/>
                    </a:lnTo>
                    <a:lnTo>
                      <a:pt x="2880" y="1174"/>
                    </a:lnTo>
                    <a:lnTo>
                      <a:pt x="2871" y="1163"/>
                    </a:lnTo>
                    <a:lnTo>
                      <a:pt x="2844" y="1149"/>
                    </a:lnTo>
                    <a:lnTo>
                      <a:pt x="2792" y="1148"/>
                    </a:lnTo>
                    <a:lnTo>
                      <a:pt x="2777" y="1151"/>
                    </a:lnTo>
                    <a:lnTo>
                      <a:pt x="2763" y="1171"/>
                    </a:lnTo>
                    <a:lnTo>
                      <a:pt x="2741" y="1181"/>
                    </a:lnTo>
                    <a:lnTo>
                      <a:pt x="2737" y="1201"/>
                    </a:lnTo>
                    <a:lnTo>
                      <a:pt x="2764" y="1202"/>
                    </a:lnTo>
                    <a:lnTo>
                      <a:pt x="2778" y="1213"/>
                    </a:lnTo>
                    <a:lnTo>
                      <a:pt x="2773" y="1227"/>
                    </a:lnTo>
                    <a:lnTo>
                      <a:pt x="2763" y="1240"/>
                    </a:lnTo>
                    <a:lnTo>
                      <a:pt x="2743" y="1246"/>
                    </a:lnTo>
                    <a:lnTo>
                      <a:pt x="2729" y="1259"/>
                    </a:lnTo>
                    <a:lnTo>
                      <a:pt x="2708" y="1265"/>
                    </a:lnTo>
                    <a:lnTo>
                      <a:pt x="2708" y="1249"/>
                    </a:lnTo>
                    <a:lnTo>
                      <a:pt x="2692" y="1233"/>
                    </a:lnTo>
                    <a:lnTo>
                      <a:pt x="2683" y="1217"/>
                    </a:lnTo>
                    <a:lnTo>
                      <a:pt x="2672" y="1218"/>
                    </a:lnTo>
                    <a:lnTo>
                      <a:pt x="2662" y="1232"/>
                    </a:lnTo>
                    <a:lnTo>
                      <a:pt x="2668" y="1239"/>
                    </a:lnTo>
                    <a:lnTo>
                      <a:pt x="2673" y="1260"/>
                    </a:lnTo>
                    <a:lnTo>
                      <a:pt x="2678" y="1275"/>
                    </a:lnTo>
                    <a:lnTo>
                      <a:pt x="2681" y="1287"/>
                    </a:lnTo>
                    <a:lnTo>
                      <a:pt x="2687" y="1289"/>
                    </a:lnTo>
                    <a:lnTo>
                      <a:pt x="2709" y="1308"/>
                    </a:lnTo>
                    <a:lnTo>
                      <a:pt x="2724" y="1314"/>
                    </a:lnTo>
                    <a:lnTo>
                      <a:pt x="2732" y="1326"/>
                    </a:lnTo>
                    <a:lnTo>
                      <a:pt x="2741" y="1327"/>
                    </a:lnTo>
                    <a:lnTo>
                      <a:pt x="2747" y="1335"/>
                    </a:lnTo>
                    <a:lnTo>
                      <a:pt x="2757" y="1329"/>
                    </a:lnTo>
                    <a:lnTo>
                      <a:pt x="2767" y="1319"/>
                    </a:lnTo>
                    <a:lnTo>
                      <a:pt x="2764" y="1334"/>
                    </a:lnTo>
                    <a:lnTo>
                      <a:pt x="2769" y="1341"/>
                    </a:lnTo>
                    <a:lnTo>
                      <a:pt x="2780" y="1337"/>
                    </a:lnTo>
                    <a:lnTo>
                      <a:pt x="2781" y="1367"/>
                    </a:lnTo>
                    <a:lnTo>
                      <a:pt x="2795" y="1383"/>
                    </a:lnTo>
                    <a:lnTo>
                      <a:pt x="2795" y="1393"/>
                    </a:lnTo>
                    <a:lnTo>
                      <a:pt x="2779" y="1390"/>
                    </a:lnTo>
                    <a:lnTo>
                      <a:pt x="2769" y="1384"/>
                    </a:lnTo>
                    <a:lnTo>
                      <a:pt x="2762" y="1377"/>
                    </a:lnTo>
                    <a:lnTo>
                      <a:pt x="2758" y="1367"/>
                    </a:lnTo>
                    <a:lnTo>
                      <a:pt x="2748" y="1358"/>
                    </a:lnTo>
                    <a:lnTo>
                      <a:pt x="2713" y="1354"/>
                    </a:lnTo>
                    <a:lnTo>
                      <a:pt x="2702" y="1348"/>
                    </a:lnTo>
                    <a:lnTo>
                      <a:pt x="2668" y="1345"/>
                    </a:lnTo>
                    <a:lnTo>
                      <a:pt x="2636" y="1332"/>
                    </a:lnTo>
                    <a:lnTo>
                      <a:pt x="2627" y="1325"/>
                    </a:lnTo>
                    <a:lnTo>
                      <a:pt x="2617" y="1310"/>
                    </a:lnTo>
                    <a:lnTo>
                      <a:pt x="2619" y="1307"/>
                    </a:lnTo>
                    <a:lnTo>
                      <a:pt x="2633" y="1304"/>
                    </a:lnTo>
                    <a:lnTo>
                      <a:pt x="2634" y="1299"/>
                    </a:lnTo>
                    <a:lnTo>
                      <a:pt x="2633" y="1278"/>
                    </a:lnTo>
                    <a:lnTo>
                      <a:pt x="2622" y="1256"/>
                    </a:lnTo>
                    <a:lnTo>
                      <a:pt x="2621" y="1246"/>
                    </a:lnTo>
                    <a:lnTo>
                      <a:pt x="2627" y="1222"/>
                    </a:lnTo>
                    <a:lnTo>
                      <a:pt x="2618" y="1211"/>
                    </a:lnTo>
                    <a:lnTo>
                      <a:pt x="2627" y="1202"/>
                    </a:lnTo>
                    <a:lnTo>
                      <a:pt x="2641" y="1163"/>
                    </a:lnTo>
                    <a:lnTo>
                      <a:pt x="2634" y="1137"/>
                    </a:lnTo>
                    <a:lnTo>
                      <a:pt x="2632" y="1120"/>
                    </a:lnTo>
                    <a:lnTo>
                      <a:pt x="2640" y="1115"/>
                    </a:lnTo>
                    <a:lnTo>
                      <a:pt x="2630" y="1100"/>
                    </a:lnTo>
                    <a:lnTo>
                      <a:pt x="2628" y="1090"/>
                    </a:lnTo>
                    <a:lnTo>
                      <a:pt x="2629" y="1082"/>
                    </a:lnTo>
                    <a:lnTo>
                      <a:pt x="2613" y="1066"/>
                    </a:lnTo>
                    <a:lnTo>
                      <a:pt x="2608" y="1055"/>
                    </a:lnTo>
                    <a:lnTo>
                      <a:pt x="2593" y="1063"/>
                    </a:lnTo>
                    <a:lnTo>
                      <a:pt x="2595" y="1074"/>
                    </a:lnTo>
                    <a:lnTo>
                      <a:pt x="2602" y="1094"/>
                    </a:lnTo>
                    <a:lnTo>
                      <a:pt x="2607" y="1115"/>
                    </a:lnTo>
                    <a:lnTo>
                      <a:pt x="2607" y="1160"/>
                    </a:lnTo>
                    <a:lnTo>
                      <a:pt x="2598" y="1176"/>
                    </a:lnTo>
                    <a:lnTo>
                      <a:pt x="2566" y="1207"/>
                    </a:lnTo>
                    <a:lnTo>
                      <a:pt x="2546" y="1217"/>
                    </a:lnTo>
                    <a:lnTo>
                      <a:pt x="2516" y="1239"/>
                    </a:lnTo>
                    <a:lnTo>
                      <a:pt x="2517" y="1253"/>
                    </a:lnTo>
                    <a:lnTo>
                      <a:pt x="2517" y="1261"/>
                    </a:lnTo>
                    <a:lnTo>
                      <a:pt x="2514" y="1272"/>
                    </a:lnTo>
                    <a:lnTo>
                      <a:pt x="2498" y="1289"/>
                    </a:lnTo>
                    <a:lnTo>
                      <a:pt x="2498" y="1298"/>
                    </a:lnTo>
                    <a:lnTo>
                      <a:pt x="2519" y="1321"/>
                    </a:lnTo>
                    <a:lnTo>
                      <a:pt x="2532" y="1343"/>
                    </a:lnTo>
                    <a:lnTo>
                      <a:pt x="2541" y="1362"/>
                    </a:lnTo>
                    <a:lnTo>
                      <a:pt x="2547" y="1395"/>
                    </a:lnTo>
                    <a:lnTo>
                      <a:pt x="2560" y="1417"/>
                    </a:lnTo>
                    <a:lnTo>
                      <a:pt x="2569" y="1438"/>
                    </a:lnTo>
                    <a:lnTo>
                      <a:pt x="2569" y="1448"/>
                    </a:lnTo>
                    <a:lnTo>
                      <a:pt x="2565" y="1468"/>
                    </a:lnTo>
                    <a:lnTo>
                      <a:pt x="2557" y="1488"/>
                    </a:lnTo>
                    <a:lnTo>
                      <a:pt x="2555" y="1496"/>
                    </a:lnTo>
                    <a:lnTo>
                      <a:pt x="2541" y="1514"/>
                    </a:lnTo>
                    <a:lnTo>
                      <a:pt x="2538" y="1528"/>
                    </a:lnTo>
                    <a:lnTo>
                      <a:pt x="2539" y="1545"/>
                    </a:lnTo>
                    <a:lnTo>
                      <a:pt x="2532" y="1555"/>
                    </a:lnTo>
                    <a:lnTo>
                      <a:pt x="2530" y="1568"/>
                    </a:lnTo>
                    <a:lnTo>
                      <a:pt x="2527" y="1588"/>
                    </a:lnTo>
                    <a:lnTo>
                      <a:pt x="2541" y="1611"/>
                    </a:lnTo>
                    <a:lnTo>
                      <a:pt x="2548" y="1632"/>
                    </a:lnTo>
                    <a:lnTo>
                      <a:pt x="2546" y="1647"/>
                    </a:lnTo>
                    <a:lnTo>
                      <a:pt x="2539" y="1664"/>
                    </a:lnTo>
                    <a:lnTo>
                      <a:pt x="2538" y="1673"/>
                    </a:lnTo>
                    <a:lnTo>
                      <a:pt x="2547" y="1689"/>
                    </a:lnTo>
                    <a:lnTo>
                      <a:pt x="2559" y="1691"/>
                    </a:lnTo>
                    <a:lnTo>
                      <a:pt x="2575" y="1686"/>
                    </a:lnTo>
                    <a:lnTo>
                      <a:pt x="2586" y="1686"/>
                    </a:lnTo>
                    <a:lnTo>
                      <a:pt x="2600" y="1691"/>
                    </a:lnTo>
                    <a:lnTo>
                      <a:pt x="2616" y="1694"/>
                    </a:lnTo>
                    <a:lnTo>
                      <a:pt x="2618" y="1685"/>
                    </a:lnTo>
                    <a:lnTo>
                      <a:pt x="2641" y="1670"/>
                    </a:lnTo>
                    <a:lnTo>
                      <a:pt x="2665" y="1670"/>
                    </a:lnTo>
                    <a:lnTo>
                      <a:pt x="2698" y="1690"/>
                    </a:lnTo>
                    <a:lnTo>
                      <a:pt x="2708" y="1700"/>
                    </a:lnTo>
                    <a:lnTo>
                      <a:pt x="2734" y="1716"/>
                    </a:lnTo>
                    <a:lnTo>
                      <a:pt x="2753" y="1724"/>
                    </a:lnTo>
                    <a:lnTo>
                      <a:pt x="2758" y="1734"/>
                    </a:lnTo>
                    <a:lnTo>
                      <a:pt x="2758" y="1750"/>
                    </a:lnTo>
                    <a:lnTo>
                      <a:pt x="2757" y="1761"/>
                    </a:lnTo>
                    <a:lnTo>
                      <a:pt x="2775" y="1802"/>
                    </a:lnTo>
                    <a:lnTo>
                      <a:pt x="2779" y="1802"/>
                    </a:lnTo>
                    <a:lnTo>
                      <a:pt x="2780" y="1814"/>
                    </a:lnTo>
                    <a:lnTo>
                      <a:pt x="2774" y="1822"/>
                    </a:lnTo>
                    <a:lnTo>
                      <a:pt x="2761" y="1824"/>
                    </a:lnTo>
                    <a:lnTo>
                      <a:pt x="2750" y="1832"/>
                    </a:lnTo>
                    <a:lnTo>
                      <a:pt x="2746" y="1845"/>
                    </a:lnTo>
                    <a:lnTo>
                      <a:pt x="2745" y="1868"/>
                    </a:lnTo>
                    <a:lnTo>
                      <a:pt x="2747" y="1886"/>
                    </a:lnTo>
                    <a:lnTo>
                      <a:pt x="2751" y="1896"/>
                    </a:lnTo>
                    <a:lnTo>
                      <a:pt x="2763" y="1894"/>
                    </a:lnTo>
                    <a:lnTo>
                      <a:pt x="2781" y="1904"/>
                    </a:lnTo>
                    <a:lnTo>
                      <a:pt x="2800" y="1902"/>
                    </a:lnTo>
                    <a:lnTo>
                      <a:pt x="2820" y="1915"/>
                    </a:lnTo>
                    <a:lnTo>
                      <a:pt x="2817" y="1918"/>
                    </a:lnTo>
                    <a:lnTo>
                      <a:pt x="2792" y="1923"/>
                    </a:lnTo>
                    <a:lnTo>
                      <a:pt x="2779" y="1920"/>
                    </a:lnTo>
                    <a:lnTo>
                      <a:pt x="2754" y="1921"/>
                    </a:lnTo>
                    <a:lnTo>
                      <a:pt x="2752" y="1912"/>
                    </a:lnTo>
                    <a:lnTo>
                      <a:pt x="2748" y="1905"/>
                    </a:lnTo>
                    <a:lnTo>
                      <a:pt x="2727" y="1894"/>
                    </a:lnTo>
                    <a:lnTo>
                      <a:pt x="2726" y="1883"/>
                    </a:lnTo>
                    <a:lnTo>
                      <a:pt x="2730" y="1878"/>
                    </a:lnTo>
                    <a:lnTo>
                      <a:pt x="2732" y="1868"/>
                    </a:lnTo>
                    <a:lnTo>
                      <a:pt x="2731" y="1857"/>
                    </a:lnTo>
                    <a:lnTo>
                      <a:pt x="2732" y="1842"/>
                    </a:lnTo>
                    <a:lnTo>
                      <a:pt x="2740" y="1825"/>
                    </a:lnTo>
                    <a:lnTo>
                      <a:pt x="2736" y="1821"/>
                    </a:lnTo>
                    <a:lnTo>
                      <a:pt x="2730" y="1824"/>
                    </a:lnTo>
                    <a:lnTo>
                      <a:pt x="2729" y="1814"/>
                    </a:lnTo>
                    <a:lnTo>
                      <a:pt x="2732" y="1800"/>
                    </a:lnTo>
                    <a:lnTo>
                      <a:pt x="2734" y="1798"/>
                    </a:lnTo>
                    <a:lnTo>
                      <a:pt x="2732" y="1791"/>
                    </a:lnTo>
                    <a:lnTo>
                      <a:pt x="2735" y="1783"/>
                    </a:lnTo>
                    <a:lnTo>
                      <a:pt x="2732" y="1776"/>
                    </a:lnTo>
                    <a:lnTo>
                      <a:pt x="2726" y="1767"/>
                    </a:lnTo>
                    <a:lnTo>
                      <a:pt x="2718" y="1762"/>
                    </a:lnTo>
                    <a:lnTo>
                      <a:pt x="2713" y="1754"/>
                    </a:lnTo>
                    <a:lnTo>
                      <a:pt x="2703" y="1749"/>
                    </a:lnTo>
                    <a:lnTo>
                      <a:pt x="2699" y="1739"/>
                    </a:lnTo>
                    <a:lnTo>
                      <a:pt x="2700" y="1727"/>
                    </a:lnTo>
                    <a:lnTo>
                      <a:pt x="2694" y="1708"/>
                    </a:lnTo>
                    <a:lnTo>
                      <a:pt x="2667" y="1712"/>
                    </a:lnTo>
                    <a:lnTo>
                      <a:pt x="2652" y="1718"/>
                    </a:lnTo>
                    <a:lnTo>
                      <a:pt x="2621" y="1724"/>
                    </a:lnTo>
                    <a:lnTo>
                      <a:pt x="2602" y="1737"/>
                    </a:lnTo>
                    <a:lnTo>
                      <a:pt x="2582" y="1744"/>
                    </a:lnTo>
                    <a:lnTo>
                      <a:pt x="2574" y="1750"/>
                    </a:lnTo>
                    <a:lnTo>
                      <a:pt x="2574" y="1760"/>
                    </a:lnTo>
                    <a:lnTo>
                      <a:pt x="2576" y="1772"/>
                    </a:lnTo>
                    <a:lnTo>
                      <a:pt x="2573" y="1786"/>
                    </a:lnTo>
                    <a:lnTo>
                      <a:pt x="2566" y="1794"/>
                    </a:lnTo>
                    <a:lnTo>
                      <a:pt x="2570" y="1805"/>
                    </a:lnTo>
                    <a:lnTo>
                      <a:pt x="2575" y="1808"/>
                    </a:lnTo>
                    <a:lnTo>
                      <a:pt x="2579" y="1818"/>
                    </a:lnTo>
                    <a:lnTo>
                      <a:pt x="2585" y="1825"/>
                    </a:lnTo>
                    <a:lnTo>
                      <a:pt x="2584" y="1835"/>
                    </a:lnTo>
                    <a:lnTo>
                      <a:pt x="2590" y="1842"/>
                    </a:lnTo>
                    <a:lnTo>
                      <a:pt x="2593" y="1854"/>
                    </a:lnTo>
                    <a:lnTo>
                      <a:pt x="2595" y="1873"/>
                    </a:lnTo>
                    <a:lnTo>
                      <a:pt x="2590" y="1900"/>
                    </a:lnTo>
                    <a:lnTo>
                      <a:pt x="2576" y="1911"/>
                    </a:lnTo>
                    <a:lnTo>
                      <a:pt x="2547" y="1948"/>
                    </a:lnTo>
                    <a:lnTo>
                      <a:pt x="2544" y="1954"/>
                    </a:lnTo>
                    <a:lnTo>
                      <a:pt x="2544" y="1969"/>
                    </a:lnTo>
                    <a:lnTo>
                      <a:pt x="2541" y="1988"/>
                    </a:lnTo>
                    <a:lnTo>
                      <a:pt x="2525" y="2013"/>
                    </a:lnTo>
                    <a:lnTo>
                      <a:pt x="2515" y="2023"/>
                    </a:lnTo>
                    <a:lnTo>
                      <a:pt x="2499" y="2031"/>
                    </a:lnTo>
                    <a:lnTo>
                      <a:pt x="2490" y="2042"/>
                    </a:lnTo>
                    <a:lnTo>
                      <a:pt x="2462" y="2053"/>
                    </a:lnTo>
                    <a:lnTo>
                      <a:pt x="2457" y="2061"/>
                    </a:lnTo>
                    <a:lnTo>
                      <a:pt x="2465" y="2078"/>
                    </a:lnTo>
                    <a:lnTo>
                      <a:pt x="2458" y="2098"/>
                    </a:lnTo>
                    <a:lnTo>
                      <a:pt x="2445" y="2103"/>
                    </a:lnTo>
                    <a:lnTo>
                      <a:pt x="2407" y="2085"/>
                    </a:lnTo>
                    <a:lnTo>
                      <a:pt x="2387" y="2083"/>
                    </a:lnTo>
                    <a:lnTo>
                      <a:pt x="2374" y="2087"/>
                    </a:lnTo>
                    <a:lnTo>
                      <a:pt x="2363" y="2088"/>
                    </a:lnTo>
                    <a:lnTo>
                      <a:pt x="2338" y="2083"/>
                    </a:lnTo>
                    <a:lnTo>
                      <a:pt x="2334" y="2080"/>
                    </a:lnTo>
                    <a:lnTo>
                      <a:pt x="2334" y="2071"/>
                    </a:lnTo>
                    <a:lnTo>
                      <a:pt x="2337" y="2064"/>
                    </a:lnTo>
                    <a:lnTo>
                      <a:pt x="2334" y="2040"/>
                    </a:lnTo>
                    <a:lnTo>
                      <a:pt x="2321" y="2037"/>
                    </a:lnTo>
                    <a:lnTo>
                      <a:pt x="2318" y="2030"/>
                    </a:lnTo>
                    <a:lnTo>
                      <a:pt x="2321" y="2026"/>
                    </a:lnTo>
                    <a:lnTo>
                      <a:pt x="2332" y="2021"/>
                    </a:lnTo>
                    <a:lnTo>
                      <a:pt x="2343" y="2030"/>
                    </a:lnTo>
                    <a:lnTo>
                      <a:pt x="2347" y="2037"/>
                    </a:lnTo>
                    <a:lnTo>
                      <a:pt x="2360" y="2037"/>
                    </a:lnTo>
                    <a:lnTo>
                      <a:pt x="2366" y="2028"/>
                    </a:lnTo>
                    <a:lnTo>
                      <a:pt x="2375" y="2028"/>
                    </a:lnTo>
                    <a:lnTo>
                      <a:pt x="2385" y="2012"/>
                    </a:lnTo>
                    <a:lnTo>
                      <a:pt x="2393" y="2018"/>
                    </a:lnTo>
                    <a:lnTo>
                      <a:pt x="2407" y="2012"/>
                    </a:lnTo>
                    <a:lnTo>
                      <a:pt x="2409" y="2005"/>
                    </a:lnTo>
                    <a:lnTo>
                      <a:pt x="2415" y="2003"/>
                    </a:lnTo>
                    <a:lnTo>
                      <a:pt x="2424" y="2004"/>
                    </a:lnTo>
                    <a:lnTo>
                      <a:pt x="2439" y="2001"/>
                    </a:lnTo>
                    <a:lnTo>
                      <a:pt x="2445" y="1992"/>
                    </a:lnTo>
                    <a:lnTo>
                      <a:pt x="2439" y="1983"/>
                    </a:lnTo>
                    <a:lnTo>
                      <a:pt x="2422" y="1983"/>
                    </a:lnTo>
                    <a:lnTo>
                      <a:pt x="2415" y="1988"/>
                    </a:lnTo>
                    <a:lnTo>
                      <a:pt x="2407" y="1982"/>
                    </a:lnTo>
                    <a:lnTo>
                      <a:pt x="2408" y="1969"/>
                    </a:lnTo>
                    <a:lnTo>
                      <a:pt x="2428" y="1981"/>
                    </a:lnTo>
                    <a:lnTo>
                      <a:pt x="2449" y="1977"/>
                    </a:lnTo>
                    <a:lnTo>
                      <a:pt x="2451" y="1974"/>
                    </a:lnTo>
                    <a:lnTo>
                      <a:pt x="2452" y="1956"/>
                    </a:lnTo>
                    <a:lnTo>
                      <a:pt x="2461" y="1956"/>
                    </a:lnTo>
                    <a:lnTo>
                      <a:pt x="2468" y="1947"/>
                    </a:lnTo>
                    <a:lnTo>
                      <a:pt x="2469" y="1937"/>
                    </a:lnTo>
                    <a:lnTo>
                      <a:pt x="2474" y="1924"/>
                    </a:lnTo>
                    <a:lnTo>
                      <a:pt x="2477" y="1915"/>
                    </a:lnTo>
                    <a:lnTo>
                      <a:pt x="2494" y="1906"/>
                    </a:lnTo>
                    <a:lnTo>
                      <a:pt x="2503" y="1895"/>
                    </a:lnTo>
                    <a:lnTo>
                      <a:pt x="2499" y="1888"/>
                    </a:lnTo>
                    <a:lnTo>
                      <a:pt x="2504" y="1878"/>
                    </a:lnTo>
                    <a:lnTo>
                      <a:pt x="2501" y="1843"/>
                    </a:lnTo>
                    <a:lnTo>
                      <a:pt x="2501" y="1832"/>
                    </a:lnTo>
                    <a:lnTo>
                      <a:pt x="2506" y="1815"/>
                    </a:lnTo>
                    <a:lnTo>
                      <a:pt x="2521" y="1792"/>
                    </a:lnTo>
                    <a:lnTo>
                      <a:pt x="2520" y="1762"/>
                    </a:lnTo>
                    <a:lnTo>
                      <a:pt x="2490" y="1735"/>
                    </a:lnTo>
                    <a:lnTo>
                      <a:pt x="2468" y="1701"/>
                    </a:lnTo>
                    <a:lnTo>
                      <a:pt x="2468" y="1684"/>
                    </a:lnTo>
                    <a:lnTo>
                      <a:pt x="2472" y="1670"/>
                    </a:lnTo>
                    <a:lnTo>
                      <a:pt x="2473" y="1657"/>
                    </a:lnTo>
                    <a:lnTo>
                      <a:pt x="2471" y="1643"/>
                    </a:lnTo>
                    <a:lnTo>
                      <a:pt x="2478" y="1630"/>
                    </a:lnTo>
                    <a:lnTo>
                      <a:pt x="2473" y="1606"/>
                    </a:lnTo>
                    <a:lnTo>
                      <a:pt x="2479" y="1592"/>
                    </a:lnTo>
                    <a:lnTo>
                      <a:pt x="2479" y="1571"/>
                    </a:lnTo>
                    <a:lnTo>
                      <a:pt x="2476" y="1565"/>
                    </a:lnTo>
                    <a:lnTo>
                      <a:pt x="2476" y="1558"/>
                    </a:lnTo>
                    <a:lnTo>
                      <a:pt x="2473" y="1555"/>
                    </a:lnTo>
                    <a:lnTo>
                      <a:pt x="2472" y="1545"/>
                    </a:lnTo>
                    <a:lnTo>
                      <a:pt x="2474" y="1530"/>
                    </a:lnTo>
                    <a:lnTo>
                      <a:pt x="2473" y="1524"/>
                    </a:lnTo>
                    <a:lnTo>
                      <a:pt x="2467" y="1518"/>
                    </a:lnTo>
                    <a:lnTo>
                      <a:pt x="2465" y="1504"/>
                    </a:lnTo>
                    <a:lnTo>
                      <a:pt x="2469" y="1492"/>
                    </a:lnTo>
                    <a:lnTo>
                      <a:pt x="2482" y="1482"/>
                    </a:lnTo>
                    <a:lnTo>
                      <a:pt x="2483" y="1475"/>
                    </a:lnTo>
                    <a:lnTo>
                      <a:pt x="2480" y="1442"/>
                    </a:lnTo>
                    <a:lnTo>
                      <a:pt x="2485" y="1427"/>
                    </a:lnTo>
                    <a:lnTo>
                      <a:pt x="2485" y="1406"/>
                    </a:lnTo>
                    <a:lnTo>
                      <a:pt x="2471" y="1373"/>
                    </a:lnTo>
                    <a:lnTo>
                      <a:pt x="2473" y="1350"/>
                    </a:lnTo>
                    <a:lnTo>
                      <a:pt x="2453" y="1334"/>
                    </a:lnTo>
                    <a:lnTo>
                      <a:pt x="2442" y="1321"/>
                    </a:lnTo>
                    <a:lnTo>
                      <a:pt x="2429" y="1297"/>
                    </a:lnTo>
                    <a:lnTo>
                      <a:pt x="2430" y="1283"/>
                    </a:lnTo>
                    <a:lnTo>
                      <a:pt x="2431" y="1281"/>
                    </a:lnTo>
                    <a:lnTo>
                      <a:pt x="2447" y="1271"/>
                    </a:lnTo>
                    <a:lnTo>
                      <a:pt x="2450" y="1260"/>
                    </a:lnTo>
                    <a:lnTo>
                      <a:pt x="2457" y="1250"/>
                    </a:lnTo>
                    <a:lnTo>
                      <a:pt x="2457" y="1243"/>
                    </a:lnTo>
                    <a:lnTo>
                      <a:pt x="2456" y="1233"/>
                    </a:lnTo>
                    <a:lnTo>
                      <a:pt x="2465" y="1217"/>
                    </a:lnTo>
                    <a:lnTo>
                      <a:pt x="2472" y="1187"/>
                    </a:lnTo>
                    <a:lnTo>
                      <a:pt x="2478" y="1173"/>
                    </a:lnTo>
                    <a:lnTo>
                      <a:pt x="2480" y="1147"/>
                    </a:lnTo>
                    <a:lnTo>
                      <a:pt x="2477" y="1132"/>
                    </a:lnTo>
                    <a:lnTo>
                      <a:pt x="2476" y="1114"/>
                    </a:lnTo>
                    <a:lnTo>
                      <a:pt x="2477" y="1092"/>
                    </a:lnTo>
                    <a:lnTo>
                      <a:pt x="2473" y="1084"/>
                    </a:lnTo>
                    <a:lnTo>
                      <a:pt x="2477" y="1079"/>
                    </a:lnTo>
                    <a:lnTo>
                      <a:pt x="2476" y="1078"/>
                    </a:lnTo>
                    <a:lnTo>
                      <a:pt x="2434" y="1058"/>
                    </a:lnTo>
                    <a:lnTo>
                      <a:pt x="2419" y="1046"/>
                    </a:lnTo>
                    <a:lnTo>
                      <a:pt x="2376" y="1052"/>
                    </a:lnTo>
                    <a:lnTo>
                      <a:pt x="2359" y="1050"/>
                    </a:lnTo>
                    <a:lnTo>
                      <a:pt x="2331" y="1051"/>
                    </a:lnTo>
                    <a:lnTo>
                      <a:pt x="2318" y="1045"/>
                    </a:lnTo>
                    <a:lnTo>
                      <a:pt x="2326" y="1038"/>
                    </a:lnTo>
                    <a:lnTo>
                      <a:pt x="2297" y="1040"/>
                    </a:lnTo>
                    <a:lnTo>
                      <a:pt x="2293" y="1050"/>
                    </a:lnTo>
                    <a:lnTo>
                      <a:pt x="2293" y="1056"/>
                    </a:lnTo>
                    <a:lnTo>
                      <a:pt x="2288" y="1071"/>
                    </a:lnTo>
                    <a:lnTo>
                      <a:pt x="2279" y="1084"/>
                    </a:lnTo>
                    <a:lnTo>
                      <a:pt x="2273" y="1103"/>
                    </a:lnTo>
                    <a:lnTo>
                      <a:pt x="2265" y="1143"/>
                    </a:lnTo>
                    <a:lnTo>
                      <a:pt x="2261" y="1164"/>
                    </a:lnTo>
                    <a:lnTo>
                      <a:pt x="2254" y="1176"/>
                    </a:lnTo>
                    <a:lnTo>
                      <a:pt x="2248" y="1228"/>
                    </a:lnTo>
                    <a:lnTo>
                      <a:pt x="2243" y="1246"/>
                    </a:lnTo>
                    <a:lnTo>
                      <a:pt x="2225" y="1282"/>
                    </a:lnTo>
                    <a:lnTo>
                      <a:pt x="2204" y="1305"/>
                    </a:lnTo>
                    <a:lnTo>
                      <a:pt x="2186" y="1323"/>
                    </a:lnTo>
                    <a:lnTo>
                      <a:pt x="2159" y="1336"/>
                    </a:lnTo>
                    <a:lnTo>
                      <a:pt x="2152" y="1369"/>
                    </a:lnTo>
                    <a:lnTo>
                      <a:pt x="2152" y="1374"/>
                    </a:lnTo>
                    <a:lnTo>
                      <a:pt x="2156" y="1375"/>
                    </a:lnTo>
                    <a:lnTo>
                      <a:pt x="2167" y="1358"/>
                    </a:lnTo>
                    <a:lnTo>
                      <a:pt x="2171" y="1361"/>
                    </a:lnTo>
                    <a:lnTo>
                      <a:pt x="2171" y="1375"/>
                    </a:lnTo>
                    <a:lnTo>
                      <a:pt x="2166" y="1385"/>
                    </a:lnTo>
                    <a:lnTo>
                      <a:pt x="2148" y="1397"/>
                    </a:lnTo>
                    <a:lnTo>
                      <a:pt x="2143" y="1415"/>
                    </a:lnTo>
                    <a:lnTo>
                      <a:pt x="2149" y="1428"/>
                    </a:lnTo>
                    <a:lnTo>
                      <a:pt x="2162" y="1422"/>
                    </a:lnTo>
                    <a:lnTo>
                      <a:pt x="2171" y="1415"/>
                    </a:lnTo>
                    <a:lnTo>
                      <a:pt x="2186" y="1416"/>
                    </a:lnTo>
                    <a:lnTo>
                      <a:pt x="2192" y="1432"/>
                    </a:lnTo>
                    <a:lnTo>
                      <a:pt x="2187" y="1445"/>
                    </a:lnTo>
                    <a:lnTo>
                      <a:pt x="2187" y="1487"/>
                    </a:lnTo>
                    <a:lnTo>
                      <a:pt x="2178" y="1499"/>
                    </a:lnTo>
                    <a:lnTo>
                      <a:pt x="2181" y="1522"/>
                    </a:lnTo>
                    <a:lnTo>
                      <a:pt x="2187" y="1534"/>
                    </a:lnTo>
                    <a:lnTo>
                      <a:pt x="2181" y="1550"/>
                    </a:lnTo>
                    <a:lnTo>
                      <a:pt x="2170" y="1550"/>
                    </a:lnTo>
                    <a:lnTo>
                      <a:pt x="2164" y="1540"/>
                    </a:lnTo>
                    <a:lnTo>
                      <a:pt x="2161" y="1563"/>
                    </a:lnTo>
                    <a:lnTo>
                      <a:pt x="2161" y="1606"/>
                    </a:lnTo>
                    <a:lnTo>
                      <a:pt x="2168" y="1621"/>
                    </a:lnTo>
                    <a:lnTo>
                      <a:pt x="2168" y="1606"/>
                    </a:lnTo>
                    <a:lnTo>
                      <a:pt x="2182" y="1601"/>
                    </a:lnTo>
                    <a:lnTo>
                      <a:pt x="2205" y="1616"/>
                    </a:lnTo>
                    <a:lnTo>
                      <a:pt x="2218" y="1628"/>
                    </a:lnTo>
                    <a:lnTo>
                      <a:pt x="2225" y="1625"/>
                    </a:lnTo>
                    <a:lnTo>
                      <a:pt x="2230" y="1625"/>
                    </a:lnTo>
                    <a:lnTo>
                      <a:pt x="2227" y="1647"/>
                    </a:lnTo>
                    <a:lnTo>
                      <a:pt x="2236" y="1671"/>
                    </a:lnTo>
                    <a:lnTo>
                      <a:pt x="2243" y="1686"/>
                    </a:lnTo>
                    <a:lnTo>
                      <a:pt x="2251" y="1706"/>
                    </a:lnTo>
                    <a:lnTo>
                      <a:pt x="2267" y="1717"/>
                    </a:lnTo>
                    <a:lnTo>
                      <a:pt x="2279" y="1713"/>
                    </a:lnTo>
                    <a:lnTo>
                      <a:pt x="2279" y="1719"/>
                    </a:lnTo>
                    <a:lnTo>
                      <a:pt x="2285" y="1727"/>
                    </a:lnTo>
                    <a:lnTo>
                      <a:pt x="2274" y="1743"/>
                    </a:lnTo>
                    <a:lnTo>
                      <a:pt x="2264" y="1776"/>
                    </a:lnTo>
                    <a:lnTo>
                      <a:pt x="2256" y="1799"/>
                    </a:lnTo>
                    <a:lnTo>
                      <a:pt x="2253" y="1811"/>
                    </a:lnTo>
                    <a:lnTo>
                      <a:pt x="2238" y="1822"/>
                    </a:lnTo>
                    <a:lnTo>
                      <a:pt x="2234" y="1814"/>
                    </a:lnTo>
                    <a:lnTo>
                      <a:pt x="2235" y="1800"/>
                    </a:lnTo>
                    <a:lnTo>
                      <a:pt x="2225" y="1787"/>
                    </a:lnTo>
                    <a:lnTo>
                      <a:pt x="2207" y="1776"/>
                    </a:lnTo>
                    <a:lnTo>
                      <a:pt x="2172" y="1733"/>
                    </a:lnTo>
                    <a:lnTo>
                      <a:pt x="2161" y="1724"/>
                    </a:lnTo>
                    <a:lnTo>
                      <a:pt x="2144" y="1721"/>
                    </a:lnTo>
                    <a:lnTo>
                      <a:pt x="2119" y="1701"/>
                    </a:lnTo>
                    <a:lnTo>
                      <a:pt x="2092" y="1691"/>
                    </a:lnTo>
                    <a:lnTo>
                      <a:pt x="2094" y="1682"/>
                    </a:lnTo>
                    <a:lnTo>
                      <a:pt x="2101" y="1682"/>
                    </a:lnTo>
                    <a:lnTo>
                      <a:pt x="2097" y="1679"/>
                    </a:lnTo>
                    <a:lnTo>
                      <a:pt x="2079" y="1675"/>
                    </a:lnTo>
                    <a:lnTo>
                      <a:pt x="2057" y="1658"/>
                    </a:lnTo>
                    <a:lnTo>
                      <a:pt x="2043" y="1652"/>
                    </a:lnTo>
                    <a:lnTo>
                      <a:pt x="2011" y="1622"/>
                    </a:lnTo>
                    <a:lnTo>
                      <a:pt x="1993" y="1617"/>
                    </a:lnTo>
                    <a:lnTo>
                      <a:pt x="1965" y="1603"/>
                    </a:lnTo>
                    <a:lnTo>
                      <a:pt x="1956" y="1603"/>
                    </a:lnTo>
                    <a:lnTo>
                      <a:pt x="1936" y="1589"/>
                    </a:lnTo>
                    <a:lnTo>
                      <a:pt x="1922" y="1590"/>
                    </a:lnTo>
                    <a:lnTo>
                      <a:pt x="1869" y="1587"/>
                    </a:lnTo>
                    <a:lnTo>
                      <a:pt x="1865" y="1581"/>
                    </a:lnTo>
                    <a:lnTo>
                      <a:pt x="1848" y="1573"/>
                    </a:lnTo>
                    <a:lnTo>
                      <a:pt x="1834" y="1573"/>
                    </a:lnTo>
                    <a:lnTo>
                      <a:pt x="1829" y="1577"/>
                    </a:lnTo>
                    <a:lnTo>
                      <a:pt x="1828" y="1587"/>
                    </a:lnTo>
                    <a:lnTo>
                      <a:pt x="1823" y="1595"/>
                    </a:lnTo>
                    <a:lnTo>
                      <a:pt x="1802" y="1609"/>
                    </a:lnTo>
                    <a:lnTo>
                      <a:pt x="1804" y="1617"/>
                    </a:lnTo>
                    <a:lnTo>
                      <a:pt x="1810" y="1635"/>
                    </a:lnTo>
                    <a:lnTo>
                      <a:pt x="1823" y="1655"/>
                    </a:lnTo>
                    <a:lnTo>
                      <a:pt x="1833" y="1690"/>
                    </a:lnTo>
                    <a:lnTo>
                      <a:pt x="1832" y="1682"/>
                    </a:lnTo>
                    <a:lnTo>
                      <a:pt x="1837" y="1684"/>
                    </a:lnTo>
                    <a:lnTo>
                      <a:pt x="1832" y="1718"/>
                    </a:lnTo>
                    <a:lnTo>
                      <a:pt x="1829" y="1724"/>
                    </a:lnTo>
                    <a:lnTo>
                      <a:pt x="1810" y="1746"/>
                    </a:lnTo>
                    <a:lnTo>
                      <a:pt x="1779" y="1750"/>
                    </a:lnTo>
                    <a:lnTo>
                      <a:pt x="1778" y="1765"/>
                    </a:lnTo>
                    <a:lnTo>
                      <a:pt x="1783" y="1773"/>
                    </a:lnTo>
                    <a:lnTo>
                      <a:pt x="1784" y="1783"/>
                    </a:lnTo>
                    <a:lnTo>
                      <a:pt x="1773" y="1799"/>
                    </a:lnTo>
                    <a:lnTo>
                      <a:pt x="1761" y="1805"/>
                    </a:lnTo>
                    <a:lnTo>
                      <a:pt x="1747" y="1798"/>
                    </a:lnTo>
                    <a:lnTo>
                      <a:pt x="1736" y="1787"/>
                    </a:lnTo>
                    <a:lnTo>
                      <a:pt x="1736" y="1770"/>
                    </a:lnTo>
                    <a:lnTo>
                      <a:pt x="1741" y="1759"/>
                    </a:lnTo>
                    <a:lnTo>
                      <a:pt x="1747" y="1750"/>
                    </a:lnTo>
                    <a:lnTo>
                      <a:pt x="1754" y="1745"/>
                    </a:lnTo>
                    <a:lnTo>
                      <a:pt x="1732" y="1713"/>
                    </a:lnTo>
                    <a:lnTo>
                      <a:pt x="1735" y="1705"/>
                    </a:lnTo>
                    <a:lnTo>
                      <a:pt x="1724" y="1703"/>
                    </a:lnTo>
                    <a:lnTo>
                      <a:pt x="1684" y="1721"/>
                    </a:lnTo>
                    <a:lnTo>
                      <a:pt x="1675" y="1737"/>
                    </a:lnTo>
                    <a:lnTo>
                      <a:pt x="1660" y="1743"/>
                    </a:lnTo>
                    <a:lnTo>
                      <a:pt x="1640" y="1773"/>
                    </a:lnTo>
                    <a:lnTo>
                      <a:pt x="1628" y="1775"/>
                    </a:lnTo>
                    <a:lnTo>
                      <a:pt x="1622" y="1766"/>
                    </a:lnTo>
                    <a:lnTo>
                      <a:pt x="1606" y="1762"/>
                    </a:lnTo>
                    <a:lnTo>
                      <a:pt x="1587" y="1767"/>
                    </a:lnTo>
                    <a:lnTo>
                      <a:pt x="1570" y="1757"/>
                    </a:lnTo>
                    <a:lnTo>
                      <a:pt x="1547" y="1772"/>
                    </a:lnTo>
                    <a:lnTo>
                      <a:pt x="1536" y="1771"/>
                    </a:lnTo>
                    <a:lnTo>
                      <a:pt x="1512" y="1792"/>
                    </a:lnTo>
                    <a:lnTo>
                      <a:pt x="1508" y="1802"/>
                    </a:lnTo>
                    <a:lnTo>
                      <a:pt x="1506" y="1822"/>
                    </a:lnTo>
                    <a:lnTo>
                      <a:pt x="1504" y="1831"/>
                    </a:lnTo>
                    <a:lnTo>
                      <a:pt x="1495" y="1831"/>
                    </a:lnTo>
                    <a:lnTo>
                      <a:pt x="1487" y="1824"/>
                    </a:lnTo>
                    <a:lnTo>
                      <a:pt x="1478" y="1813"/>
                    </a:lnTo>
                    <a:lnTo>
                      <a:pt x="1474" y="1816"/>
                    </a:lnTo>
                    <a:lnTo>
                      <a:pt x="1467" y="1821"/>
                    </a:lnTo>
                    <a:lnTo>
                      <a:pt x="1456" y="1807"/>
                    </a:lnTo>
                    <a:lnTo>
                      <a:pt x="1456" y="1779"/>
                    </a:lnTo>
                    <a:lnTo>
                      <a:pt x="1450" y="1773"/>
                    </a:lnTo>
                    <a:lnTo>
                      <a:pt x="1450" y="1766"/>
                    </a:lnTo>
                    <a:lnTo>
                      <a:pt x="1457" y="1751"/>
                    </a:lnTo>
                    <a:lnTo>
                      <a:pt x="1458" y="1737"/>
                    </a:lnTo>
                    <a:lnTo>
                      <a:pt x="1452" y="1724"/>
                    </a:lnTo>
                    <a:lnTo>
                      <a:pt x="1447" y="1722"/>
                    </a:lnTo>
                    <a:lnTo>
                      <a:pt x="1446" y="1730"/>
                    </a:lnTo>
                    <a:lnTo>
                      <a:pt x="1442" y="1730"/>
                    </a:lnTo>
                    <a:lnTo>
                      <a:pt x="1444" y="1721"/>
                    </a:lnTo>
                    <a:lnTo>
                      <a:pt x="1451" y="1716"/>
                    </a:lnTo>
                    <a:lnTo>
                      <a:pt x="1477" y="1713"/>
                    </a:lnTo>
                    <a:lnTo>
                      <a:pt x="1488" y="1707"/>
                    </a:lnTo>
                    <a:lnTo>
                      <a:pt x="1490" y="1705"/>
                    </a:lnTo>
                    <a:lnTo>
                      <a:pt x="1484" y="1707"/>
                    </a:lnTo>
                    <a:lnTo>
                      <a:pt x="1467" y="1712"/>
                    </a:lnTo>
                    <a:lnTo>
                      <a:pt x="1460" y="1711"/>
                    </a:lnTo>
                    <a:lnTo>
                      <a:pt x="1445" y="1712"/>
                    </a:lnTo>
                    <a:lnTo>
                      <a:pt x="1423" y="1723"/>
                    </a:lnTo>
                    <a:lnTo>
                      <a:pt x="1424" y="1730"/>
                    </a:lnTo>
                    <a:lnTo>
                      <a:pt x="1415" y="1734"/>
                    </a:lnTo>
                    <a:lnTo>
                      <a:pt x="1413" y="1738"/>
                    </a:lnTo>
                    <a:lnTo>
                      <a:pt x="1417" y="1751"/>
                    </a:lnTo>
                    <a:lnTo>
                      <a:pt x="1417" y="1759"/>
                    </a:lnTo>
                    <a:lnTo>
                      <a:pt x="1406" y="1765"/>
                    </a:lnTo>
                    <a:lnTo>
                      <a:pt x="1397" y="1760"/>
                    </a:lnTo>
                    <a:lnTo>
                      <a:pt x="1393" y="1751"/>
                    </a:lnTo>
                    <a:lnTo>
                      <a:pt x="1398" y="1743"/>
                    </a:lnTo>
                    <a:lnTo>
                      <a:pt x="1391" y="1743"/>
                    </a:lnTo>
                    <a:lnTo>
                      <a:pt x="1369" y="1767"/>
                    </a:lnTo>
                    <a:lnTo>
                      <a:pt x="1377" y="1766"/>
                    </a:lnTo>
                    <a:lnTo>
                      <a:pt x="1381" y="1775"/>
                    </a:lnTo>
                    <a:lnTo>
                      <a:pt x="1381" y="1783"/>
                    </a:lnTo>
                    <a:lnTo>
                      <a:pt x="1380" y="1793"/>
                    </a:lnTo>
                    <a:lnTo>
                      <a:pt x="1371" y="1800"/>
                    </a:lnTo>
                    <a:lnTo>
                      <a:pt x="1366" y="1803"/>
                    </a:lnTo>
                    <a:lnTo>
                      <a:pt x="1361" y="1789"/>
                    </a:lnTo>
                    <a:lnTo>
                      <a:pt x="1354" y="1777"/>
                    </a:lnTo>
                    <a:lnTo>
                      <a:pt x="1326" y="1786"/>
                    </a:lnTo>
                    <a:lnTo>
                      <a:pt x="1328" y="1789"/>
                    </a:lnTo>
                    <a:lnTo>
                      <a:pt x="1291" y="1807"/>
                    </a:lnTo>
                    <a:lnTo>
                      <a:pt x="1288" y="1804"/>
                    </a:lnTo>
                    <a:lnTo>
                      <a:pt x="1282" y="1807"/>
                    </a:lnTo>
                    <a:lnTo>
                      <a:pt x="1254" y="1832"/>
                    </a:lnTo>
                    <a:lnTo>
                      <a:pt x="1181" y="1880"/>
                    </a:lnTo>
                    <a:lnTo>
                      <a:pt x="1172" y="1880"/>
                    </a:lnTo>
                    <a:lnTo>
                      <a:pt x="1171" y="1895"/>
                    </a:lnTo>
                    <a:lnTo>
                      <a:pt x="1175" y="1897"/>
                    </a:lnTo>
                    <a:lnTo>
                      <a:pt x="1166" y="1905"/>
                    </a:lnTo>
                    <a:lnTo>
                      <a:pt x="1144" y="1908"/>
                    </a:lnTo>
                    <a:lnTo>
                      <a:pt x="1135" y="1916"/>
                    </a:lnTo>
                    <a:lnTo>
                      <a:pt x="1129" y="1913"/>
                    </a:lnTo>
                    <a:lnTo>
                      <a:pt x="1123" y="1927"/>
                    </a:lnTo>
                    <a:lnTo>
                      <a:pt x="1114" y="1958"/>
                    </a:lnTo>
                    <a:lnTo>
                      <a:pt x="1111" y="1970"/>
                    </a:lnTo>
                    <a:lnTo>
                      <a:pt x="1113" y="1996"/>
                    </a:lnTo>
                    <a:lnTo>
                      <a:pt x="1106" y="2008"/>
                    </a:lnTo>
                    <a:lnTo>
                      <a:pt x="1090" y="2017"/>
                    </a:lnTo>
                    <a:lnTo>
                      <a:pt x="1079" y="2015"/>
                    </a:lnTo>
                    <a:lnTo>
                      <a:pt x="1058" y="2024"/>
                    </a:lnTo>
                    <a:lnTo>
                      <a:pt x="1053" y="2044"/>
                    </a:lnTo>
                    <a:lnTo>
                      <a:pt x="1048" y="2030"/>
                    </a:lnTo>
                    <a:lnTo>
                      <a:pt x="1047" y="2015"/>
                    </a:lnTo>
                    <a:lnTo>
                      <a:pt x="1033" y="2023"/>
                    </a:lnTo>
                    <a:lnTo>
                      <a:pt x="1024" y="2023"/>
                    </a:lnTo>
                    <a:lnTo>
                      <a:pt x="1015" y="2017"/>
                    </a:lnTo>
                    <a:lnTo>
                      <a:pt x="1004" y="1997"/>
                    </a:lnTo>
                    <a:lnTo>
                      <a:pt x="1000" y="1985"/>
                    </a:lnTo>
                    <a:lnTo>
                      <a:pt x="978" y="1960"/>
                    </a:lnTo>
                    <a:lnTo>
                      <a:pt x="968" y="1950"/>
                    </a:lnTo>
                    <a:lnTo>
                      <a:pt x="963" y="1935"/>
                    </a:lnTo>
                    <a:lnTo>
                      <a:pt x="962" y="1921"/>
                    </a:lnTo>
                    <a:lnTo>
                      <a:pt x="973" y="1920"/>
                    </a:lnTo>
                    <a:lnTo>
                      <a:pt x="981" y="1910"/>
                    </a:lnTo>
                    <a:lnTo>
                      <a:pt x="984" y="1896"/>
                    </a:lnTo>
                    <a:lnTo>
                      <a:pt x="999" y="1891"/>
                    </a:lnTo>
                    <a:lnTo>
                      <a:pt x="1054" y="1880"/>
                    </a:lnTo>
                    <a:lnTo>
                      <a:pt x="1046" y="1863"/>
                    </a:lnTo>
                    <a:lnTo>
                      <a:pt x="1044" y="1845"/>
                    </a:lnTo>
                    <a:lnTo>
                      <a:pt x="1041" y="1826"/>
                    </a:lnTo>
                    <a:lnTo>
                      <a:pt x="1031" y="1832"/>
                    </a:lnTo>
                    <a:lnTo>
                      <a:pt x="1021" y="1814"/>
                    </a:lnTo>
                    <a:lnTo>
                      <a:pt x="1015" y="1809"/>
                    </a:lnTo>
                    <a:lnTo>
                      <a:pt x="1015" y="1792"/>
                    </a:lnTo>
                    <a:lnTo>
                      <a:pt x="1004" y="1783"/>
                    </a:lnTo>
                    <a:lnTo>
                      <a:pt x="978" y="1776"/>
                    </a:lnTo>
                    <a:lnTo>
                      <a:pt x="955" y="1776"/>
                    </a:lnTo>
                    <a:lnTo>
                      <a:pt x="930" y="1773"/>
                    </a:lnTo>
                    <a:lnTo>
                      <a:pt x="919" y="1777"/>
                    </a:lnTo>
                    <a:lnTo>
                      <a:pt x="909" y="1775"/>
                    </a:lnTo>
                    <a:lnTo>
                      <a:pt x="868" y="1754"/>
                    </a:lnTo>
                    <a:lnTo>
                      <a:pt x="870" y="1764"/>
                    </a:lnTo>
                    <a:lnTo>
                      <a:pt x="917" y="1805"/>
                    </a:lnTo>
                    <a:lnTo>
                      <a:pt x="917" y="1838"/>
                    </a:lnTo>
                    <a:lnTo>
                      <a:pt x="919" y="1853"/>
                    </a:lnTo>
                    <a:lnTo>
                      <a:pt x="914" y="1873"/>
                    </a:lnTo>
                    <a:lnTo>
                      <a:pt x="915" y="1890"/>
                    </a:lnTo>
                    <a:lnTo>
                      <a:pt x="901" y="1939"/>
                    </a:lnTo>
                    <a:lnTo>
                      <a:pt x="901" y="1953"/>
                    </a:lnTo>
                    <a:lnTo>
                      <a:pt x="902" y="1970"/>
                    </a:lnTo>
                    <a:lnTo>
                      <a:pt x="907" y="1975"/>
                    </a:lnTo>
                    <a:lnTo>
                      <a:pt x="919" y="1975"/>
                    </a:lnTo>
                    <a:lnTo>
                      <a:pt x="929" y="1982"/>
                    </a:lnTo>
                    <a:lnTo>
                      <a:pt x="938" y="2002"/>
                    </a:lnTo>
                    <a:lnTo>
                      <a:pt x="938" y="2013"/>
                    </a:lnTo>
                    <a:lnTo>
                      <a:pt x="933" y="2026"/>
                    </a:lnTo>
                    <a:lnTo>
                      <a:pt x="936" y="2037"/>
                    </a:lnTo>
                    <a:lnTo>
                      <a:pt x="933" y="2056"/>
                    </a:lnTo>
                    <a:lnTo>
                      <a:pt x="922" y="2072"/>
                    </a:lnTo>
                    <a:lnTo>
                      <a:pt x="915" y="2096"/>
                    </a:lnTo>
                    <a:lnTo>
                      <a:pt x="922" y="2114"/>
                    </a:lnTo>
                    <a:lnTo>
                      <a:pt x="918" y="2149"/>
                    </a:lnTo>
                    <a:lnTo>
                      <a:pt x="908" y="2134"/>
                    </a:lnTo>
                    <a:lnTo>
                      <a:pt x="906" y="2123"/>
                    </a:lnTo>
                    <a:lnTo>
                      <a:pt x="898" y="2114"/>
                    </a:lnTo>
                    <a:lnTo>
                      <a:pt x="890" y="2115"/>
                    </a:lnTo>
                    <a:lnTo>
                      <a:pt x="877" y="2126"/>
                    </a:lnTo>
                    <a:lnTo>
                      <a:pt x="885" y="2111"/>
                    </a:lnTo>
                    <a:lnTo>
                      <a:pt x="886" y="2099"/>
                    </a:lnTo>
                    <a:lnTo>
                      <a:pt x="869" y="2085"/>
                    </a:lnTo>
                    <a:lnTo>
                      <a:pt x="860" y="2080"/>
                    </a:lnTo>
                    <a:lnTo>
                      <a:pt x="837" y="2080"/>
                    </a:lnTo>
                    <a:lnTo>
                      <a:pt x="816" y="2062"/>
                    </a:lnTo>
                    <a:lnTo>
                      <a:pt x="807" y="2072"/>
                    </a:lnTo>
                    <a:lnTo>
                      <a:pt x="804" y="2083"/>
                    </a:lnTo>
                    <a:lnTo>
                      <a:pt x="788" y="2099"/>
                    </a:lnTo>
                    <a:lnTo>
                      <a:pt x="779" y="2114"/>
                    </a:lnTo>
                    <a:lnTo>
                      <a:pt x="768" y="2126"/>
                    </a:lnTo>
                    <a:lnTo>
                      <a:pt x="743" y="2136"/>
                    </a:lnTo>
                    <a:lnTo>
                      <a:pt x="735" y="2136"/>
                    </a:lnTo>
                    <a:lnTo>
                      <a:pt x="723" y="2144"/>
                    </a:lnTo>
                    <a:lnTo>
                      <a:pt x="716" y="2159"/>
                    </a:lnTo>
                    <a:lnTo>
                      <a:pt x="704" y="2170"/>
                    </a:lnTo>
                    <a:lnTo>
                      <a:pt x="693" y="2180"/>
                    </a:lnTo>
                    <a:lnTo>
                      <a:pt x="681" y="2184"/>
                    </a:lnTo>
                    <a:lnTo>
                      <a:pt x="681" y="2197"/>
                    </a:lnTo>
                    <a:lnTo>
                      <a:pt x="683" y="2223"/>
                    </a:lnTo>
                    <a:lnTo>
                      <a:pt x="696" y="2246"/>
                    </a:lnTo>
                    <a:lnTo>
                      <a:pt x="707" y="2261"/>
                    </a:lnTo>
                    <a:lnTo>
                      <a:pt x="714" y="2276"/>
                    </a:lnTo>
                    <a:lnTo>
                      <a:pt x="727" y="2308"/>
                    </a:lnTo>
                    <a:lnTo>
                      <a:pt x="730" y="2316"/>
                    </a:lnTo>
                    <a:lnTo>
                      <a:pt x="739" y="2330"/>
                    </a:lnTo>
                    <a:lnTo>
                      <a:pt x="739" y="2336"/>
                    </a:lnTo>
                    <a:lnTo>
                      <a:pt x="720" y="2324"/>
                    </a:lnTo>
                    <a:lnTo>
                      <a:pt x="714" y="2326"/>
                    </a:lnTo>
                    <a:lnTo>
                      <a:pt x="686" y="2315"/>
                    </a:lnTo>
                    <a:lnTo>
                      <a:pt x="687" y="2321"/>
                    </a:lnTo>
                    <a:lnTo>
                      <a:pt x="684" y="2325"/>
                    </a:lnTo>
                    <a:lnTo>
                      <a:pt x="671" y="2322"/>
                    </a:lnTo>
                    <a:lnTo>
                      <a:pt x="653" y="2314"/>
                    </a:lnTo>
                    <a:lnTo>
                      <a:pt x="634" y="2300"/>
                    </a:lnTo>
                    <a:lnTo>
                      <a:pt x="619" y="2298"/>
                    </a:lnTo>
                    <a:lnTo>
                      <a:pt x="610" y="2290"/>
                    </a:lnTo>
                    <a:lnTo>
                      <a:pt x="595" y="2304"/>
                    </a:lnTo>
                    <a:lnTo>
                      <a:pt x="587" y="2317"/>
                    </a:lnTo>
                    <a:lnTo>
                      <a:pt x="584" y="2297"/>
                    </a:lnTo>
                    <a:lnTo>
                      <a:pt x="599" y="2288"/>
                    </a:lnTo>
                    <a:lnTo>
                      <a:pt x="586" y="2283"/>
                    </a:lnTo>
                    <a:lnTo>
                      <a:pt x="570" y="2279"/>
                    </a:lnTo>
                    <a:lnTo>
                      <a:pt x="567" y="2266"/>
                    </a:lnTo>
                    <a:lnTo>
                      <a:pt x="549" y="2255"/>
                    </a:lnTo>
                    <a:lnTo>
                      <a:pt x="531" y="2246"/>
                    </a:lnTo>
                    <a:lnTo>
                      <a:pt x="520" y="2244"/>
                    </a:lnTo>
                    <a:lnTo>
                      <a:pt x="517" y="2265"/>
                    </a:lnTo>
                    <a:lnTo>
                      <a:pt x="509" y="2276"/>
                    </a:lnTo>
                    <a:lnTo>
                      <a:pt x="499" y="2279"/>
                    </a:lnTo>
                    <a:lnTo>
                      <a:pt x="501" y="2289"/>
                    </a:lnTo>
                    <a:lnTo>
                      <a:pt x="508" y="2304"/>
                    </a:lnTo>
                    <a:lnTo>
                      <a:pt x="516" y="2309"/>
                    </a:lnTo>
                    <a:lnTo>
                      <a:pt x="527" y="2332"/>
                    </a:lnTo>
                    <a:lnTo>
                      <a:pt x="543" y="2349"/>
                    </a:lnTo>
                    <a:lnTo>
                      <a:pt x="574" y="2336"/>
                    </a:lnTo>
                    <a:lnTo>
                      <a:pt x="580" y="2352"/>
                    </a:lnTo>
                    <a:lnTo>
                      <a:pt x="587" y="2399"/>
                    </a:lnTo>
                    <a:lnTo>
                      <a:pt x="592" y="2407"/>
                    </a:lnTo>
                    <a:lnTo>
                      <a:pt x="575" y="2400"/>
                    </a:lnTo>
                    <a:lnTo>
                      <a:pt x="560" y="2410"/>
                    </a:lnTo>
                    <a:lnTo>
                      <a:pt x="557" y="2417"/>
                    </a:lnTo>
                    <a:lnTo>
                      <a:pt x="557" y="2421"/>
                    </a:lnTo>
                    <a:lnTo>
                      <a:pt x="543" y="2413"/>
                    </a:lnTo>
                    <a:lnTo>
                      <a:pt x="533" y="2411"/>
                    </a:lnTo>
                    <a:lnTo>
                      <a:pt x="501" y="2395"/>
                    </a:lnTo>
                    <a:lnTo>
                      <a:pt x="484" y="2390"/>
                    </a:lnTo>
                    <a:lnTo>
                      <a:pt x="482" y="2383"/>
                    </a:lnTo>
                    <a:lnTo>
                      <a:pt x="474" y="2372"/>
                    </a:lnTo>
                    <a:lnTo>
                      <a:pt x="466" y="2364"/>
                    </a:lnTo>
                    <a:lnTo>
                      <a:pt x="460" y="2354"/>
                    </a:lnTo>
                    <a:lnTo>
                      <a:pt x="450" y="2348"/>
                    </a:lnTo>
                    <a:lnTo>
                      <a:pt x="444" y="2354"/>
                    </a:lnTo>
                    <a:lnTo>
                      <a:pt x="433" y="2356"/>
                    </a:lnTo>
                    <a:lnTo>
                      <a:pt x="415" y="2342"/>
                    </a:lnTo>
                    <a:lnTo>
                      <a:pt x="409" y="2330"/>
                    </a:lnTo>
                    <a:lnTo>
                      <a:pt x="396" y="2337"/>
                    </a:lnTo>
                    <a:lnTo>
                      <a:pt x="398" y="2329"/>
                    </a:lnTo>
                    <a:lnTo>
                      <a:pt x="408" y="2319"/>
                    </a:lnTo>
                    <a:lnTo>
                      <a:pt x="406" y="2299"/>
                    </a:lnTo>
                    <a:lnTo>
                      <a:pt x="408" y="2282"/>
                    </a:lnTo>
                    <a:lnTo>
                      <a:pt x="397" y="2272"/>
                    </a:lnTo>
                    <a:lnTo>
                      <a:pt x="398" y="2257"/>
                    </a:lnTo>
                    <a:lnTo>
                      <a:pt x="380" y="2222"/>
                    </a:lnTo>
                    <a:lnTo>
                      <a:pt x="385" y="2213"/>
                    </a:lnTo>
                    <a:lnTo>
                      <a:pt x="398" y="2209"/>
                    </a:lnTo>
                    <a:lnTo>
                      <a:pt x="402" y="2187"/>
                    </a:lnTo>
                    <a:lnTo>
                      <a:pt x="404" y="2161"/>
                    </a:lnTo>
                    <a:lnTo>
                      <a:pt x="402" y="2150"/>
                    </a:lnTo>
                    <a:lnTo>
                      <a:pt x="395" y="2142"/>
                    </a:lnTo>
                    <a:lnTo>
                      <a:pt x="388" y="2122"/>
                    </a:lnTo>
                    <a:lnTo>
                      <a:pt x="384" y="2116"/>
                    </a:lnTo>
                    <a:lnTo>
                      <a:pt x="368" y="2114"/>
                    </a:lnTo>
                    <a:lnTo>
                      <a:pt x="363" y="2101"/>
                    </a:lnTo>
                    <a:lnTo>
                      <a:pt x="353" y="2100"/>
                    </a:lnTo>
                    <a:lnTo>
                      <a:pt x="336" y="2094"/>
                    </a:lnTo>
                    <a:lnTo>
                      <a:pt x="336" y="2087"/>
                    </a:lnTo>
                    <a:lnTo>
                      <a:pt x="338" y="2078"/>
                    </a:lnTo>
                    <a:lnTo>
                      <a:pt x="336" y="2073"/>
                    </a:lnTo>
                    <a:lnTo>
                      <a:pt x="318" y="2071"/>
                    </a:lnTo>
                    <a:lnTo>
                      <a:pt x="285" y="2041"/>
                    </a:lnTo>
                    <a:lnTo>
                      <a:pt x="291" y="2035"/>
                    </a:lnTo>
                    <a:lnTo>
                      <a:pt x="275" y="2020"/>
                    </a:lnTo>
                    <a:lnTo>
                      <a:pt x="272" y="2004"/>
                    </a:lnTo>
                    <a:lnTo>
                      <a:pt x="264" y="1992"/>
                    </a:lnTo>
                    <a:lnTo>
                      <a:pt x="248" y="1987"/>
                    </a:lnTo>
                    <a:lnTo>
                      <a:pt x="256" y="1980"/>
                    </a:lnTo>
                    <a:lnTo>
                      <a:pt x="275" y="1976"/>
                    </a:lnTo>
                    <a:lnTo>
                      <a:pt x="295" y="1987"/>
                    </a:lnTo>
                    <a:lnTo>
                      <a:pt x="296" y="1999"/>
                    </a:lnTo>
                    <a:lnTo>
                      <a:pt x="306" y="2013"/>
                    </a:lnTo>
                    <a:lnTo>
                      <a:pt x="334" y="2033"/>
                    </a:lnTo>
                    <a:lnTo>
                      <a:pt x="338" y="2030"/>
                    </a:lnTo>
                    <a:lnTo>
                      <a:pt x="342" y="2020"/>
                    </a:lnTo>
                    <a:lnTo>
                      <a:pt x="350" y="2035"/>
                    </a:lnTo>
                    <a:lnTo>
                      <a:pt x="359" y="2042"/>
                    </a:lnTo>
                    <a:lnTo>
                      <a:pt x="365" y="2036"/>
                    </a:lnTo>
                    <a:lnTo>
                      <a:pt x="370" y="2039"/>
                    </a:lnTo>
                    <a:lnTo>
                      <a:pt x="375" y="2033"/>
                    </a:lnTo>
                    <a:lnTo>
                      <a:pt x="381" y="2034"/>
                    </a:lnTo>
                    <a:lnTo>
                      <a:pt x="384" y="2047"/>
                    </a:lnTo>
                    <a:lnTo>
                      <a:pt x="387" y="2060"/>
                    </a:lnTo>
                    <a:lnTo>
                      <a:pt x="402" y="2053"/>
                    </a:lnTo>
                    <a:lnTo>
                      <a:pt x="420" y="2058"/>
                    </a:lnTo>
                    <a:lnTo>
                      <a:pt x="427" y="2068"/>
                    </a:lnTo>
                    <a:lnTo>
                      <a:pt x="439" y="2068"/>
                    </a:lnTo>
                    <a:lnTo>
                      <a:pt x="447" y="2078"/>
                    </a:lnTo>
                    <a:lnTo>
                      <a:pt x="479" y="2087"/>
                    </a:lnTo>
                    <a:lnTo>
                      <a:pt x="494" y="2094"/>
                    </a:lnTo>
                    <a:lnTo>
                      <a:pt x="522" y="2096"/>
                    </a:lnTo>
                    <a:lnTo>
                      <a:pt x="548" y="2106"/>
                    </a:lnTo>
                    <a:lnTo>
                      <a:pt x="557" y="2116"/>
                    </a:lnTo>
                    <a:lnTo>
                      <a:pt x="576" y="2120"/>
                    </a:lnTo>
                    <a:lnTo>
                      <a:pt x="624" y="2123"/>
                    </a:lnTo>
                    <a:lnTo>
                      <a:pt x="637" y="2117"/>
                    </a:lnTo>
                    <a:lnTo>
                      <a:pt x="649" y="2115"/>
                    </a:lnTo>
                    <a:lnTo>
                      <a:pt x="693" y="2095"/>
                    </a:lnTo>
                    <a:lnTo>
                      <a:pt x="703" y="2085"/>
                    </a:lnTo>
                    <a:lnTo>
                      <a:pt x="712" y="2079"/>
                    </a:lnTo>
                    <a:lnTo>
                      <a:pt x="731" y="2057"/>
                    </a:lnTo>
                    <a:lnTo>
                      <a:pt x="752" y="2023"/>
                    </a:lnTo>
                    <a:lnTo>
                      <a:pt x="761" y="1998"/>
                    </a:lnTo>
                    <a:lnTo>
                      <a:pt x="764" y="1975"/>
                    </a:lnTo>
                    <a:lnTo>
                      <a:pt x="755" y="1970"/>
                    </a:lnTo>
                    <a:lnTo>
                      <a:pt x="752" y="1966"/>
                    </a:lnTo>
                    <a:lnTo>
                      <a:pt x="751" y="1944"/>
                    </a:lnTo>
                    <a:lnTo>
                      <a:pt x="746" y="1929"/>
                    </a:lnTo>
                    <a:lnTo>
                      <a:pt x="746" y="1907"/>
                    </a:lnTo>
                    <a:lnTo>
                      <a:pt x="735" y="1892"/>
                    </a:lnTo>
                    <a:lnTo>
                      <a:pt x="724" y="1886"/>
                    </a:lnTo>
                    <a:lnTo>
                      <a:pt x="718" y="1890"/>
                    </a:lnTo>
                    <a:lnTo>
                      <a:pt x="709" y="1883"/>
                    </a:lnTo>
                    <a:lnTo>
                      <a:pt x="710" y="1873"/>
                    </a:lnTo>
                    <a:lnTo>
                      <a:pt x="704" y="1869"/>
                    </a:lnTo>
                    <a:lnTo>
                      <a:pt x="693" y="1854"/>
                    </a:lnTo>
                    <a:lnTo>
                      <a:pt x="689" y="1845"/>
                    </a:lnTo>
                    <a:lnTo>
                      <a:pt x="683" y="1841"/>
                    </a:lnTo>
                    <a:lnTo>
                      <a:pt x="676" y="1835"/>
                    </a:lnTo>
                    <a:lnTo>
                      <a:pt x="681" y="1848"/>
                    </a:lnTo>
                    <a:lnTo>
                      <a:pt x="672" y="1851"/>
                    </a:lnTo>
                    <a:lnTo>
                      <a:pt x="650" y="1835"/>
                    </a:lnTo>
                    <a:lnTo>
                      <a:pt x="642" y="1825"/>
                    </a:lnTo>
                    <a:lnTo>
                      <a:pt x="639" y="1834"/>
                    </a:lnTo>
                    <a:lnTo>
                      <a:pt x="635" y="1827"/>
                    </a:lnTo>
                    <a:lnTo>
                      <a:pt x="632" y="1815"/>
                    </a:lnTo>
                    <a:lnTo>
                      <a:pt x="619" y="1800"/>
                    </a:lnTo>
                    <a:lnTo>
                      <a:pt x="627" y="1818"/>
                    </a:lnTo>
                    <a:lnTo>
                      <a:pt x="606" y="1811"/>
                    </a:lnTo>
                    <a:lnTo>
                      <a:pt x="599" y="1800"/>
                    </a:lnTo>
                    <a:lnTo>
                      <a:pt x="596" y="1793"/>
                    </a:lnTo>
                    <a:lnTo>
                      <a:pt x="589" y="1783"/>
                    </a:lnTo>
                    <a:lnTo>
                      <a:pt x="558" y="1751"/>
                    </a:lnTo>
                    <a:lnTo>
                      <a:pt x="542" y="1739"/>
                    </a:lnTo>
                    <a:lnTo>
                      <a:pt x="535" y="1730"/>
                    </a:lnTo>
                    <a:lnTo>
                      <a:pt x="509" y="1712"/>
                    </a:lnTo>
                    <a:lnTo>
                      <a:pt x="500" y="1701"/>
                    </a:lnTo>
                    <a:lnTo>
                      <a:pt x="466" y="1682"/>
                    </a:lnTo>
                    <a:lnTo>
                      <a:pt x="461" y="1678"/>
                    </a:lnTo>
                    <a:lnTo>
                      <a:pt x="427" y="1669"/>
                    </a:lnTo>
                    <a:lnTo>
                      <a:pt x="429" y="1675"/>
                    </a:lnTo>
                    <a:lnTo>
                      <a:pt x="427" y="1679"/>
                    </a:lnTo>
                    <a:lnTo>
                      <a:pt x="420" y="1679"/>
                    </a:lnTo>
                    <a:lnTo>
                      <a:pt x="403" y="1670"/>
                    </a:lnTo>
                    <a:lnTo>
                      <a:pt x="369" y="1662"/>
                    </a:lnTo>
                    <a:lnTo>
                      <a:pt x="354" y="1655"/>
                    </a:lnTo>
                    <a:lnTo>
                      <a:pt x="350" y="1662"/>
                    </a:lnTo>
                    <a:lnTo>
                      <a:pt x="333" y="1664"/>
                    </a:lnTo>
                    <a:lnTo>
                      <a:pt x="326" y="1670"/>
                    </a:lnTo>
                    <a:lnTo>
                      <a:pt x="322" y="1660"/>
                    </a:lnTo>
                    <a:lnTo>
                      <a:pt x="317" y="1657"/>
                    </a:lnTo>
                    <a:lnTo>
                      <a:pt x="320" y="1644"/>
                    </a:lnTo>
                    <a:lnTo>
                      <a:pt x="317" y="1641"/>
                    </a:lnTo>
                    <a:lnTo>
                      <a:pt x="299" y="1657"/>
                    </a:lnTo>
                    <a:lnTo>
                      <a:pt x="302" y="1637"/>
                    </a:lnTo>
                    <a:lnTo>
                      <a:pt x="293" y="1644"/>
                    </a:lnTo>
                    <a:lnTo>
                      <a:pt x="294" y="1633"/>
                    </a:lnTo>
                    <a:lnTo>
                      <a:pt x="291" y="1632"/>
                    </a:lnTo>
                    <a:lnTo>
                      <a:pt x="283" y="1632"/>
                    </a:lnTo>
                    <a:lnTo>
                      <a:pt x="268" y="1638"/>
                    </a:lnTo>
                    <a:lnTo>
                      <a:pt x="271" y="1631"/>
                    </a:lnTo>
                    <a:lnTo>
                      <a:pt x="269" y="1625"/>
                    </a:lnTo>
                    <a:lnTo>
                      <a:pt x="267" y="1617"/>
                    </a:lnTo>
                    <a:lnTo>
                      <a:pt x="251" y="1619"/>
                    </a:lnTo>
                    <a:lnTo>
                      <a:pt x="257" y="1589"/>
                    </a:lnTo>
                    <a:lnTo>
                      <a:pt x="261" y="1603"/>
                    </a:lnTo>
                    <a:lnTo>
                      <a:pt x="267" y="1606"/>
                    </a:lnTo>
                    <a:lnTo>
                      <a:pt x="273" y="1606"/>
                    </a:lnTo>
                    <a:lnTo>
                      <a:pt x="279" y="1614"/>
                    </a:lnTo>
                    <a:lnTo>
                      <a:pt x="290" y="1612"/>
                    </a:lnTo>
                    <a:lnTo>
                      <a:pt x="299" y="1616"/>
                    </a:lnTo>
                    <a:lnTo>
                      <a:pt x="307" y="1600"/>
                    </a:lnTo>
                    <a:lnTo>
                      <a:pt x="309" y="1589"/>
                    </a:lnTo>
                    <a:lnTo>
                      <a:pt x="290" y="1583"/>
                    </a:lnTo>
                    <a:lnTo>
                      <a:pt x="283" y="1585"/>
                    </a:lnTo>
                    <a:lnTo>
                      <a:pt x="275" y="1579"/>
                    </a:lnTo>
                    <a:lnTo>
                      <a:pt x="274" y="1573"/>
                    </a:lnTo>
                    <a:lnTo>
                      <a:pt x="259" y="1565"/>
                    </a:lnTo>
                    <a:lnTo>
                      <a:pt x="242" y="1558"/>
                    </a:lnTo>
                    <a:lnTo>
                      <a:pt x="248" y="1567"/>
                    </a:lnTo>
                    <a:lnTo>
                      <a:pt x="247" y="1582"/>
                    </a:lnTo>
                    <a:lnTo>
                      <a:pt x="239" y="1583"/>
                    </a:lnTo>
                    <a:lnTo>
                      <a:pt x="235" y="1579"/>
                    </a:lnTo>
                    <a:lnTo>
                      <a:pt x="232" y="1587"/>
                    </a:lnTo>
                    <a:lnTo>
                      <a:pt x="235" y="1598"/>
                    </a:lnTo>
                    <a:lnTo>
                      <a:pt x="231" y="1604"/>
                    </a:lnTo>
                    <a:lnTo>
                      <a:pt x="221" y="1604"/>
                    </a:lnTo>
                    <a:lnTo>
                      <a:pt x="210" y="1593"/>
                    </a:lnTo>
                    <a:lnTo>
                      <a:pt x="191" y="1583"/>
                    </a:lnTo>
                    <a:lnTo>
                      <a:pt x="189" y="1584"/>
                    </a:lnTo>
                    <a:lnTo>
                      <a:pt x="192" y="1589"/>
                    </a:lnTo>
                    <a:lnTo>
                      <a:pt x="191" y="1600"/>
                    </a:lnTo>
                    <a:lnTo>
                      <a:pt x="187" y="1612"/>
                    </a:lnTo>
                    <a:lnTo>
                      <a:pt x="185" y="1617"/>
                    </a:lnTo>
                    <a:lnTo>
                      <a:pt x="172" y="1621"/>
                    </a:lnTo>
                    <a:lnTo>
                      <a:pt x="150" y="1606"/>
                    </a:lnTo>
                    <a:lnTo>
                      <a:pt x="144" y="1637"/>
                    </a:lnTo>
                    <a:lnTo>
                      <a:pt x="138" y="1644"/>
                    </a:lnTo>
                    <a:lnTo>
                      <a:pt x="106" y="1664"/>
                    </a:lnTo>
                    <a:lnTo>
                      <a:pt x="103" y="1669"/>
                    </a:lnTo>
                    <a:lnTo>
                      <a:pt x="102" y="1680"/>
                    </a:lnTo>
                    <a:lnTo>
                      <a:pt x="101" y="1684"/>
                    </a:lnTo>
                    <a:lnTo>
                      <a:pt x="92" y="1692"/>
                    </a:lnTo>
                    <a:lnTo>
                      <a:pt x="90" y="1694"/>
                    </a:lnTo>
                    <a:lnTo>
                      <a:pt x="59" y="1721"/>
                    </a:lnTo>
                    <a:lnTo>
                      <a:pt x="69" y="1725"/>
                    </a:lnTo>
                    <a:lnTo>
                      <a:pt x="69" y="1730"/>
                    </a:lnTo>
                    <a:lnTo>
                      <a:pt x="58" y="1759"/>
                    </a:lnTo>
                    <a:lnTo>
                      <a:pt x="57" y="1768"/>
                    </a:lnTo>
                    <a:lnTo>
                      <a:pt x="59" y="1794"/>
                    </a:lnTo>
                    <a:lnTo>
                      <a:pt x="64" y="1814"/>
                    </a:lnTo>
                    <a:lnTo>
                      <a:pt x="69" y="1821"/>
                    </a:lnTo>
                    <a:lnTo>
                      <a:pt x="79" y="1827"/>
                    </a:lnTo>
                    <a:lnTo>
                      <a:pt x="92" y="1830"/>
                    </a:lnTo>
                    <a:lnTo>
                      <a:pt x="107" y="1837"/>
                    </a:lnTo>
                    <a:lnTo>
                      <a:pt x="127" y="1875"/>
                    </a:lnTo>
                    <a:lnTo>
                      <a:pt x="137" y="1890"/>
                    </a:lnTo>
                    <a:lnTo>
                      <a:pt x="140" y="1912"/>
                    </a:lnTo>
                    <a:lnTo>
                      <a:pt x="122" y="1949"/>
                    </a:lnTo>
                    <a:lnTo>
                      <a:pt x="103" y="1992"/>
                    </a:lnTo>
                    <a:lnTo>
                      <a:pt x="97" y="2005"/>
                    </a:lnTo>
                    <a:lnTo>
                      <a:pt x="99" y="2026"/>
                    </a:lnTo>
                    <a:lnTo>
                      <a:pt x="108" y="2046"/>
                    </a:lnTo>
                    <a:lnTo>
                      <a:pt x="116" y="2063"/>
                    </a:lnTo>
                    <a:lnTo>
                      <a:pt x="118" y="2082"/>
                    </a:lnTo>
                    <a:lnTo>
                      <a:pt x="133" y="2109"/>
                    </a:lnTo>
                    <a:lnTo>
                      <a:pt x="144" y="2143"/>
                    </a:lnTo>
                    <a:lnTo>
                      <a:pt x="146" y="2160"/>
                    </a:lnTo>
                    <a:lnTo>
                      <a:pt x="148" y="2175"/>
                    </a:lnTo>
                    <a:lnTo>
                      <a:pt x="134" y="2187"/>
                    </a:lnTo>
                    <a:lnTo>
                      <a:pt x="132" y="2209"/>
                    </a:lnTo>
                    <a:lnTo>
                      <a:pt x="127" y="2225"/>
                    </a:lnTo>
                    <a:lnTo>
                      <a:pt x="130" y="2235"/>
                    </a:lnTo>
                    <a:lnTo>
                      <a:pt x="132" y="2254"/>
                    </a:lnTo>
                    <a:lnTo>
                      <a:pt x="126" y="2265"/>
                    </a:lnTo>
                    <a:lnTo>
                      <a:pt x="127" y="2286"/>
                    </a:lnTo>
                    <a:lnTo>
                      <a:pt x="143" y="2289"/>
                    </a:lnTo>
                    <a:lnTo>
                      <a:pt x="151" y="2306"/>
                    </a:lnTo>
                    <a:lnTo>
                      <a:pt x="149" y="2327"/>
                    </a:lnTo>
                    <a:lnTo>
                      <a:pt x="156" y="2343"/>
                    </a:lnTo>
                    <a:lnTo>
                      <a:pt x="172" y="2358"/>
                    </a:lnTo>
                    <a:lnTo>
                      <a:pt x="173" y="2378"/>
                    </a:lnTo>
                    <a:lnTo>
                      <a:pt x="167" y="2396"/>
                    </a:lnTo>
                    <a:lnTo>
                      <a:pt x="157" y="2411"/>
                    </a:lnTo>
                    <a:lnTo>
                      <a:pt x="153" y="2427"/>
                    </a:lnTo>
                    <a:lnTo>
                      <a:pt x="159" y="2445"/>
                    </a:lnTo>
                    <a:lnTo>
                      <a:pt x="167" y="2458"/>
                    </a:lnTo>
                    <a:lnTo>
                      <a:pt x="197" y="2481"/>
                    </a:lnTo>
                    <a:lnTo>
                      <a:pt x="202" y="2498"/>
                    </a:lnTo>
                    <a:lnTo>
                      <a:pt x="212" y="2515"/>
                    </a:lnTo>
                    <a:lnTo>
                      <a:pt x="216" y="2509"/>
                    </a:lnTo>
                    <a:lnTo>
                      <a:pt x="215" y="2548"/>
                    </a:lnTo>
                    <a:lnTo>
                      <a:pt x="199" y="2586"/>
                    </a:lnTo>
                    <a:lnTo>
                      <a:pt x="186" y="2606"/>
                    </a:lnTo>
                    <a:lnTo>
                      <a:pt x="134" y="2675"/>
                    </a:lnTo>
                    <a:lnTo>
                      <a:pt x="96" y="2718"/>
                    </a:lnTo>
                    <a:lnTo>
                      <a:pt x="46" y="2767"/>
                    </a:lnTo>
                    <a:lnTo>
                      <a:pt x="10" y="2794"/>
                    </a:lnTo>
                    <a:lnTo>
                      <a:pt x="33" y="2798"/>
                    </a:lnTo>
                    <a:lnTo>
                      <a:pt x="44" y="2785"/>
                    </a:lnTo>
                    <a:lnTo>
                      <a:pt x="63" y="2776"/>
                    </a:lnTo>
                    <a:lnTo>
                      <a:pt x="64" y="2783"/>
                    </a:lnTo>
                    <a:lnTo>
                      <a:pt x="63" y="2788"/>
                    </a:lnTo>
                    <a:lnTo>
                      <a:pt x="63" y="2805"/>
                    </a:lnTo>
                    <a:lnTo>
                      <a:pt x="58" y="2798"/>
                    </a:lnTo>
                    <a:lnTo>
                      <a:pt x="54" y="2797"/>
                    </a:lnTo>
                    <a:lnTo>
                      <a:pt x="54" y="2811"/>
                    </a:lnTo>
                    <a:lnTo>
                      <a:pt x="59" y="2820"/>
                    </a:lnTo>
                    <a:lnTo>
                      <a:pt x="64" y="2821"/>
                    </a:lnTo>
                    <a:lnTo>
                      <a:pt x="70" y="2824"/>
                    </a:lnTo>
                    <a:lnTo>
                      <a:pt x="87" y="2838"/>
                    </a:lnTo>
                    <a:lnTo>
                      <a:pt x="99" y="2838"/>
                    </a:lnTo>
                    <a:lnTo>
                      <a:pt x="117" y="2833"/>
                    </a:lnTo>
                    <a:lnTo>
                      <a:pt x="128" y="2837"/>
                    </a:lnTo>
                    <a:lnTo>
                      <a:pt x="137" y="2844"/>
                    </a:lnTo>
                    <a:lnTo>
                      <a:pt x="137" y="2854"/>
                    </a:lnTo>
                    <a:lnTo>
                      <a:pt x="143" y="2858"/>
                    </a:lnTo>
                    <a:lnTo>
                      <a:pt x="150" y="2859"/>
                    </a:lnTo>
                    <a:lnTo>
                      <a:pt x="151" y="2863"/>
                    </a:lnTo>
                    <a:lnTo>
                      <a:pt x="145" y="2868"/>
                    </a:lnTo>
                    <a:lnTo>
                      <a:pt x="137" y="2868"/>
                    </a:lnTo>
                    <a:lnTo>
                      <a:pt x="110" y="2860"/>
                    </a:lnTo>
                    <a:lnTo>
                      <a:pt x="91" y="2859"/>
                    </a:lnTo>
                    <a:lnTo>
                      <a:pt x="85" y="2865"/>
                    </a:lnTo>
                    <a:lnTo>
                      <a:pt x="83" y="2873"/>
                    </a:lnTo>
                    <a:lnTo>
                      <a:pt x="68" y="2881"/>
                    </a:lnTo>
                    <a:lnTo>
                      <a:pt x="60" y="2876"/>
                    </a:lnTo>
                    <a:lnTo>
                      <a:pt x="54" y="2879"/>
                    </a:lnTo>
                    <a:lnTo>
                      <a:pt x="51" y="2889"/>
                    </a:lnTo>
                    <a:lnTo>
                      <a:pt x="44" y="2892"/>
                    </a:lnTo>
                    <a:lnTo>
                      <a:pt x="38" y="2886"/>
                    </a:lnTo>
                    <a:lnTo>
                      <a:pt x="31" y="2883"/>
                    </a:lnTo>
                    <a:lnTo>
                      <a:pt x="27" y="2891"/>
                    </a:lnTo>
                    <a:lnTo>
                      <a:pt x="30" y="2907"/>
                    </a:lnTo>
                    <a:lnTo>
                      <a:pt x="37" y="2908"/>
                    </a:lnTo>
                    <a:lnTo>
                      <a:pt x="42" y="2914"/>
                    </a:lnTo>
                    <a:lnTo>
                      <a:pt x="44" y="2922"/>
                    </a:lnTo>
                    <a:lnTo>
                      <a:pt x="41" y="2930"/>
                    </a:lnTo>
                    <a:lnTo>
                      <a:pt x="30" y="2941"/>
                    </a:lnTo>
                    <a:lnTo>
                      <a:pt x="21" y="2956"/>
                    </a:lnTo>
                    <a:lnTo>
                      <a:pt x="15" y="2970"/>
                    </a:lnTo>
                    <a:lnTo>
                      <a:pt x="19" y="2983"/>
                    </a:lnTo>
                    <a:lnTo>
                      <a:pt x="16" y="3002"/>
                    </a:lnTo>
                    <a:lnTo>
                      <a:pt x="17" y="3008"/>
                    </a:lnTo>
                    <a:lnTo>
                      <a:pt x="20" y="3013"/>
                    </a:lnTo>
                    <a:lnTo>
                      <a:pt x="20" y="3019"/>
                    </a:lnTo>
                    <a:lnTo>
                      <a:pt x="17" y="3026"/>
                    </a:lnTo>
                    <a:lnTo>
                      <a:pt x="9" y="3035"/>
                    </a:lnTo>
                    <a:lnTo>
                      <a:pt x="4" y="3038"/>
                    </a:lnTo>
                    <a:lnTo>
                      <a:pt x="1" y="3046"/>
                    </a:lnTo>
                    <a:lnTo>
                      <a:pt x="5" y="3053"/>
                    </a:lnTo>
                    <a:lnTo>
                      <a:pt x="14" y="3054"/>
                    </a:lnTo>
                    <a:lnTo>
                      <a:pt x="27" y="3053"/>
                    </a:lnTo>
                    <a:lnTo>
                      <a:pt x="38" y="3070"/>
                    </a:lnTo>
                    <a:lnTo>
                      <a:pt x="37" y="3086"/>
                    </a:lnTo>
                    <a:lnTo>
                      <a:pt x="27" y="3086"/>
                    </a:lnTo>
                    <a:lnTo>
                      <a:pt x="19" y="3075"/>
                    </a:lnTo>
                    <a:lnTo>
                      <a:pt x="10" y="3068"/>
                    </a:lnTo>
                    <a:lnTo>
                      <a:pt x="10" y="3083"/>
                    </a:lnTo>
                    <a:lnTo>
                      <a:pt x="6" y="3090"/>
                    </a:lnTo>
                    <a:lnTo>
                      <a:pt x="0" y="3105"/>
                    </a:lnTo>
                    <a:lnTo>
                      <a:pt x="1" y="3112"/>
                    </a:lnTo>
                    <a:lnTo>
                      <a:pt x="6" y="3118"/>
                    </a:lnTo>
                    <a:lnTo>
                      <a:pt x="10" y="3126"/>
                    </a:lnTo>
                    <a:lnTo>
                      <a:pt x="17" y="3129"/>
                    </a:lnTo>
                    <a:lnTo>
                      <a:pt x="21" y="3137"/>
                    </a:lnTo>
                    <a:lnTo>
                      <a:pt x="22" y="3145"/>
                    </a:lnTo>
                    <a:lnTo>
                      <a:pt x="17" y="3169"/>
                    </a:lnTo>
                    <a:lnTo>
                      <a:pt x="14" y="3176"/>
                    </a:lnTo>
                    <a:lnTo>
                      <a:pt x="22" y="3179"/>
                    </a:lnTo>
                    <a:lnTo>
                      <a:pt x="29" y="3183"/>
                    </a:lnTo>
                    <a:lnTo>
                      <a:pt x="29" y="3191"/>
                    </a:lnTo>
                    <a:lnTo>
                      <a:pt x="42" y="3213"/>
                    </a:lnTo>
                    <a:lnTo>
                      <a:pt x="44" y="3222"/>
                    </a:lnTo>
                    <a:lnTo>
                      <a:pt x="48" y="3229"/>
                    </a:lnTo>
                    <a:lnTo>
                      <a:pt x="48" y="3245"/>
                    </a:lnTo>
                    <a:lnTo>
                      <a:pt x="47" y="3252"/>
                    </a:lnTo>
                    <a:lnTo>
                      <a:pt x="49" y="3260"/>
                    </a:lnTo>
                    <a:lnTo>
                      <a:pt x="65" y="3257"/>
                    </a:lnTo>
                    <a:lnTo>
                      <a:pt x="73" y="3261"/>
                    </a:lnTo>
                    <a:lnTo>
                      <a:pt x="76" y="3268"/>
                    </a:lnTo>
                    <a:lnTo>
                      <a:pt x="92" y="3266"/>
                    </a:lnTo>
                    <a:lnTo>
                      <a:pt x="101" y="3267"/>
                    </a:lnTo>
                    <a:lnTo>
                      <a:pt x="113" y="3276"/>
                    </a:lnTo>
                    <a:lnTo>
                      <a:pt x="111" y="3296"/>
                    </a:lnTo>
                    <a:lnTo>
                      <a:pt x="126" y="3288"/>
                    </a:lnTo>
                    <a:lnTo>
                      <a:pt x="133" y="3287"/>
                    </a:lnTo>
                    <a:lnTo>
                      <a:pt x="139" y="3282"/>
                    </a:lnTo>
                    <a:lnTo>
                      <a:pt x="155" y="3280"/>
                    </a:lnTo>
                    <a:lnTo>
                      <a:pt x="162" y="3282"/>
                    </a:lnTo>
                    <a:lnTo>
                      <a:pt x="170" y="3287"/>
                    </a:lnTo>
                    <a:lnTo>
                      <a:pt x="176" y="3292"/>
                    </a:lnTo>
                    <a:lnTo>
                      <a:pt x="185" y="3305"/>
                    </a:lnTo>
                    <a:lnTo>
                      <a:pt x="193" y="3306"/>
                    </a:lnTo>
                    <a:lnTo>
                      <a:pt x="194" y="3317"/>
                    </a:lnTo>
                    <a:lnTo>
                      <a:pt x="192" y="3325"/>
                    </a:lnTo>
                    <a:lnTo>
                      <a:pt x="192" y="3333"/>
                    </a:lnTo>
                    <a:lnTo>
                      <a:pt x="197" y="3341"/>
                    </a:lnTo>
                    <a:lnTo>
                      <a:pt x="199" y="3348"/>
                    </a:lnTo>
                    <a:lnTo>
                      <a:pt x="198" y="3355"/>
                    </a:lnTo>
                    <a:lnTo>
                      <a:pt x="196" y="3363"/>
                    </a:lnTo>
                    <a:lnTo>
                      <a:pt x="189" y="3368"/>
                    </a:lnTo>
                    <a:lnTo>
                      <a:pt x="187" y="3376"/>
                    </a:lnTo>
                    <a:lnTo>
                      <a:pt x="189" y="3384"/>
                    </a:lnTo>
                    <a:lnTo>
                      <a:pt x="202" y="3395"/>
                    </a:lnTo>
                    <a:lnTo>
                      <a:pt x="205" y="3411"/>
                    </a:lnTo>
                    <a:lnTo>
                      <a:pt x="216" y="3433"/>
                    </a:lnTo>
                    <a:lnTo>
                      <a:pt x="221" y="3439"/>
                    </a:lnTo>
                    <a:lnTo>
                      <a:pt x="236" y="3448"/>
                    </a:lnTo>
                    <a:lnTo>
                      <a:pt x="241" y="3454"/>
                    </a:lnTo>
                    <a:lnTo>
                      <a:pt x="242" y="3462"/>
                    </a:lnTo>
                    <a:lnTo>
                      <a:pt x="241" y="3470"/>
                    </a:lnTo>
                    <a:lnTo>
                      <a:pt x="245" y="3477"/>
                    </a:lnTo>
                    <a:lnTo>
                      <a:pt x="268" y="3475"/>
                    </a:lnTo>
                    <a:lnTo>
                      <a:pt x="274" y="3479"/>
                    </a:lnTo>
                    <a:lnTo>
                      <a:pt x="282" y="3482"/>
                    </a:lnTo>
                    <a:lnTo>
                      <a:pt x="279" y="3489"/>
                    </a:lnTo>
                    <a:lnTo>
                      <a:pt x="284" y="3495"/>
                    </a:lnTo>
                    <a:lnTo>
                      <a:pt x="294" y="3497"/>
                    </a:lnTo>
                    <a:lnTo>
                      <a:pt x="295" y="3510"/>
                    </a:lnTo>
                    <a:lnTo>
                      <a:pt x="288" y="3515"/>
                    </a:lnTo>
                    <a:lnTo>
                      <a:pt x="284" y="3522"/>
                    </a:lnTo>
                    <a:lnTo>
                      <a:pt x="272" y="3532"/>
                    </a:lnTo>
                    <a:lnTo>
                      <a:pt x="264" y="3537"/>
                    </a:lnTo>
                    <a:lnTo>
                      <a:pt x="247" y="3535"/>
                    </a:lnTo>
                    <a:lnTo>
                      <a:pt x="235" y="3524"/>
                    </a:lnTo>
                    <a:lnTo>
                      <a:pt x="228" y="3524"/>
                    </a:lnTo>
                    <a:lnTo>
                      <a:pt x="220" y="3527"/>
                    </a:lnTo>
                    <a:lnTo>
                      <a:pt x="219" y="3535"/>
                    </a:lnTo>
                    <a:lnTo>
                      <a:pt x="212" y="3538"/>
                    </a:lnTo>
                    <a:lnTo>
                      <a:pt x="213" y="3546"/>
                    </a:lnTo>
                    <a:lnTo>
                      <a:pt x="224" y="3557"/>
                    </a:lnTo>
                    <a:lnTo>
                      <a:pt x="226" y="3564"/>
                    </a:lnTo>
                    <a:lnTo>
                      <a:pt x="224" y="3573"/>
                    </a:lnTo>
                    <a:lnTo>
                      <a:pt x="229" y="3578"/>
                    </a:lnTo>
                    <a:lnTo>
                      <a:pt x="228" y="3586"/>
                    </a:lnTo>
                    <a:lnTo>
                      <a:pt x="235" y="3590"/>
                    </a:lnTo>
                    <a:lnTo>
                      <a:pt x="237" y="3597"/>
                    </a:lnTo>
                    <a:lnTo>
                      <a:pt x="236" y="3606"/>
                    </a:lnTo>
                    <a:lnTo>
                      <a:pt x="241" y="3627"/>
                    </a:lnTo>
                    <a:lnTo>
                      <a:pt x="241" y="3627"/>
                    </a:lnTo>
                    <a:lnTo>
                      <a:pt x="247" y="3633"/>
                    </a:lnTo>
                    <a:lnTo>
                      <a:pt x="255" y="3635"/>
                    </a:lnTo>
                    <a:lnTo>
                      <a:pt x="262" y="3632"/>
                    </a:lnTo>
                    <a:lnTo>
                      <a:pt x="267" y="3626"/>
                    </a:lnTo>
                    <a:lnTo>
                      <a:pt x="269" y="3617"/>
                    </a:lnTo>
                    <a:lnTo>
                      <a:pt x="277" y="3612"/>
                    </a:lnTo>
                    <a:lnTo>
                      <a:pt x="293" y="3616"/>
                    </a:lnTo>
                    <a:lnTo>
                      <a:pt x="301" y="3616"/>
                    </a:lnTo>
                    <a:lnTo>
                      <a:pt x="317" y="3611"/>
                    </a:lnTo>
                    <a:lnTo>
                      <a:pt x="333" y="3613"/>
                    </a:lnTo>
                    <a:lnTo>
                      <a:pt x="349" y="3610"/>
                    </a:lnTo>
                    <a:lnTo>
                      <a:pt x="361" y="3619"/>
                    </a:lnTo>
                    <a:lnTo>
                      <a:pt x="366" y="3627"/>
                    </a:lnTo>
                    <a:lnTo>
                      <a:pt x="366" y="3635"/>
                    </a:lnTo>
                    <a:lnTo>
                      <a:pt x="379" y="3647"/>
                    </a:lnTo>
                    <a:lnTo>
                      <a:pt x="384" y="3653"/>
                    </a:lnTo>
                    <a:lnTo>
                      <a:pt x="384" y="3662"/>
                    </a:lnTo>
                    <a:lnTo>
                      <a:pt x="375" y="3666"/>
                    </a:lnTo>
                    <a:lnTo>
                      <a:pt x="368" y="3667"/>
                    </a:lnTo>
                    <a:lnTo>
                      <a:pt x="371" y="3675"/>
                    </a:lnTo>
                    <a:lnTo>
                      <a:pt x="371" y="3682"/>
                    </a:lnTo>
                    <a:lnTo>
                      <a:pt x="375" y="3698"/>
                    </a:lnTo>
                    <a:lnTo>
                      <a:pt x="382" y="3703"/>
                    </a:lnTo>
                    <a:lnTo>
                      <a:pt x="390" y="3705"/>
                    </a:lnTo>
                    <a:lnTo>
                      <a:pt x="406" y="3710"/>
                    </a:lnTo>
                    <a:lnTo>
                      <a:pt x="413" y="3707"/>
                    </a:lnTo>
                    <a:lnTo>
                      <a:pt x="422" y="3707"/>
                    </a:lnTo>
                    <a:lnTo>
                      <a:pt x="424" y="3715"/>
                    </a:lnTo>
                    <a:lnTo>
                      <a:pt x="435" y="3726"/>
                    </a:lnTo>
                    <a:lnTo>
                      <a:pt x="442" y="3753"/>
                    </a:lnTo>
                    <a:lnTo>
                      <a:pt x="440" y="3762"/>
                    </a:lnTo>
                    <a:lnTo>
                      <a:pt x="442" y="3769"/>
                    </a:lnTo>
                    <a:lnTo>
                      <a:pt x="449" y="3774"/>
                    </a:lnTo>
                    <a:lnTo>
                      <a:pt x="456" y="3779"/>
                    </a:lnTo>
                    <a:lnTo>
                      <a:pt x="463" y="3775"/>
                    </a:lnTo>
                    <a:lnTo>
                      <a:pt x="471" y="3774"/>
                    </a:lnTo>
                    <a:lnTo>
                      <a:pt x="479" y="3775"/>
                    </a:lnTo>
                    <a:lnTo>
                      <a:pt x="490" y="3787"/>
                    </a:lnTo>
                    <a:lnTo>
                      <a:pt x="499" y="3784"/>
                    </a:lnTo>
                    <a:lnTo>
                      <a:pt x="506" y="3788"/>
                    </a:lnTo>
                    <a:lnTo>
                      <a:pt x="531" y="3780"/>
                    </a:lnTo>
                    <a:lnTo>
                      <a:pt x="546" y="3773"/>
                    </a:lnTo>
                    <a:lnTo>
                      <a:pt x="553" y="3775"/>
                    </a:lnTo>
                    <a:lnTo>
                      <a:pt x="558" y="3782"/>
                    </a:lnTo>
                    <a:lnTo>
                      <a:pt x="569" y="3804"/>
                    </a:lnTo>
                    <a:lnTo>
                      <a:pt x="580" y="3816"/>
                    </a:lnTo>
                    <a:lnTo>
                      <a:pt x="587" y="3816"/>
                    </a:lnTo>
                    <a:lnTo>
                      <a:pt x="591" y="3809"/>
                    </a:lnTo>
                    <a:lnTo>
                      <a:pt x="600" y="3809"/>
                    </a:lnTo>
                    <a:lnTo>
                      <a:pt x="605" y="3815"/>
                    </a:lnTo>
                    <a:lnTo>
                      <a:pt x="612" y="3816"/>
                    </a:lnTo>
                    <a:lnTo>
                      <a:pt x="619" y="3820"/>
                    </a:lnTo>
                    <a:lnTo>
                      <a:pt x="626" y="3826"/>
                    </a:lnTo>
                    <a:lnTo>
                      <a:pt x="642" y="3825"/>
                    </a:lnTo>
                    <a:lnTo>
                      <a:pt x="655" y="3834"/>
                    </a:lnTo>
                    <a:lnTo>
                      <a:pt x="662" y="3833"/>
                    </a:lnTo>
                    <a:lnTo>
                      <a:pt x="675" y="3844"/>
                    </a:lnTo>
                    <a:lnTo>
                      <a:pt x="683" y="3845"/>
                    </a:lnTo>
                    <a:lnTo>
                      <a:pt x="692" y="3845"/>
                    </a:lnTo>
                    <a:lnTo>
                      <a:pt x="698" y="3850"/>
                    </a:lnTo>
                    <a:lnTo>
                      <a:pt x="691" y="3854"/>
                    </a:lnTo>
                    <a:lnTo>
                      <a:pt x="699" y="3877"/>
                    </a:lnTo>
                    <a:lnTo>
                      <a:pt x="691" y="3892"/>
                    </a:lnTo>
                    <a:lnTo>
                      <a:pt x="675" y="3896"/>
                    </a:lnTo>
                    <a:lnTo>
                      <a:pt x="680" y="3902"/>
                    </a:lnTo>
                    <a:lnTo>
                      <a:pt x="688" y="3904"/>
                    </a:lnTo>
                    <a:lnTo>
                      <a:pt x="693" y="3911"/>
                    </a:lnTo>
                    <a:lnTo>
                      <a:pt x="676" y="3916"/>
                    </a:lnTo>
                    <a:lnTo>
                      <a:pt x="673" y="3922"/>
                    </a:lnTo>
                    <a:lnTo>
                      <a:pt x="672" y="3930"/>
                    </a:lnTo>
                    <a:lnTo>
                      <a:pt x="677" y="3936"/>
                    </a:lnTo>
                    <a:lnTo>
                      <a:pt x="680" y="3944"/>
                    </a:lnTo>
                    <a:lnTo>
                      <a:pt x="678" y="3952"/>
                    </a:lnTo>
                    <a:lnTo>
                      <a:pt x="686" y="3956"/>
                    </a:lnTo>
                    <a:lnTo>
                      <a:pt x="682" y="3972"/>
                    </a:lnTo>
                    <a:lnTo>
                      <a:pt x="675" y="3995"/>
                    </a:lnTo>
                    <a:lnTo>
                      <a:pt x="667" y="3999"/>
                    </a:lnTo>
                    <a:lnTo>
                      <a:pt x="653" y="3995"/>
                    </a:lnTo>
                    <a:lnTo>
                      <a:pt x="644" y="3997"/>
                    </a:lnTo>
                    <a:lnTo>
                      <a:pt x="629" y="3989"/>
                    </a:lnTo>
                    <a:lnTo>
                      <a:pt x="623" y="3994"/>
                    </a:lnTo>
                    <a:lnTo>
                      <a:pt x="614" y="4008"/>
                    </a:lnTo>
                    <a:lnTo>
                      <a:pt x="600" y="4014"/>
                    </a:lnTo>
                    <a:lnTo>
                      <a:pt x="592" y="4029"/>
                    </a:lnTo>
                    <a:lnTo>
                      <a:pt x="594" y="4037"/>
                    </a:lnTo>
                    <a:lnTo>
                      <a:pt x="594" y="4052"/>
                    </a:lnTo>
                    <a:lnTo>
                      <a:pt x="607" y="4047"/>
                    </a:lnTo>
                    <a:lnTo>
                      <a:pt x="617" y="4048"/>
                    </a:lnTo>
                    <a:lnTo>
                      <a:pt x="623" y="4043"/>
                    </a:lnTo>
                    <a:lnTo>
                      <a:pt x="638" y="4041"/>
                    </a:lnTo>
                    <a:lnTo>
                      <a:pt x="644" y="4043"/>
                    </a:lnTo>
                    <a:lnTo>
                      <a:pt x="645" y="4049"/>
                    </a:lnTo>
                    <a:lnTo>
                      <a:pt x="653" y="4051"/>
                    </a:lnTo>
                    <a:lnTo>
                      <a:pt x="655" y="4053"/>
                    </a:lnTo>
                    <a:lnTo>
                      <a:pt x="654" y="4058"/>
                    </a:lnTo>
                    <a:lnTo>
                      <a:pt x="644" y="4058"/>
                    </a:lnTo>
                    <a:lnTo>
                      <a:pt x="632" y="4063"/>
                    </a:lnTo>
                    <a:lnTo>
                      <a:pt x="616" y="4073"/>
                    </a:lnTo>
                    <a:lnTo>
                      <a:pt x="605" y="4076"/>
                    </a:lnTo>
                    <a:lnTo>
                      <a:pt x="605" y="4081"/>
                    </a:lnTo>
                    <a:lnTo>
                      <a:pt x="610" y="4086"/>
                    </a:lnTo>
                    <a:lnTo>
                      <a:pt x="605" y="4089"/>
                    </a:lnTo>
                    <a:lnTo>
                      <a:pt x="594" y="4086"/>
                    </a:lnTo>
                    <a:lnTo>
                      <a:pt x="569" y="4090"/>
                    </a:lnTo>
                    <a:lnTo>
                      <a:pt x="567" y="4100"/>
                    </a:lnTo>
                    <a:lnTo>
                      <a:pt x="575" y="4107"/>
                    </a:lnTo>
                    <a:lnTo>
                      <a:pt x="587" y="4112"/>
                    </a:lnTo>
                    <a:lnTo>
                      <a:pt x="597" y="4126"/>
                    </a:lnTo>
                    <a:lnTo>
                      <a:pt x="607" y="4135"/>
                    </a:lnTo>
                    <a:lnTo>
                      <a:pt x="605" y="4137"/>
                    </a:lnTo>
                    <a:lnTo>
                      <a:pt x="591" y="4133"/>
                    </a:lnTo>
                    <a:lnTo>
                      <a:pt x="585" y="4143"/>
                    </a:lnTo>
                    <a:lnTo>
                      <a:pt x="579" y="4143"/>
                    </a:lnTo>
                    <a:lnTo>
                      <a:pt x="567" y="4160"/>
                    </a:lnTo>
                    <a:lnTo>
                      <a:pt x="557" y="4172"/>
                    </a:lnTo>
                    <a:lnTo>
                      <a:pt x="548" y="4191"/>
                    </a:lnTo>
                    <a:lnTo>
                      <a:pt x="535" y="4192"/>
                    </a:lnTo>
                    <a:lnTo>
                      <a:pt x="519" y="4189"/>
                    </a:lnTo>
                    <a:lnTo>
                      <a:pt x="516" y="4194"/>
                    </a:lnTo>
                    <a:lnTo>
                      <a:pt x="516" y="4200"/>
                    </a:lnTo>
                    <a:lnTo>
                      <a:pt x="506" y="4205"/>
                    </a:lnTo>
                    <a:lnTo>
                      <a:pt x="519" y="4210"/>
                    </a:lnTo>
                    <a:lnTo>
                      <a:pt x="531" y="4220"/>
                    </a:lnTo>
                    <a:lnTo>
                      <a:pt x="536" y="4235"/>
                    </a:lnTo>
                    <a:lnTo>
                      <a:pt x="546" y="4246"/>
                    </a:lnTo>
                    <a:lnTo>
                      <a:pt x="556" y="4247"/>
                    </a:lnTo>
                    <a:lnTo>
                      <a:pt x="560" y="4242"/>
                    </a:lnTo>
                    <a:lnTo>
                      <a:pt x="565" y="4250"/>
                    </a:lnTo>
                    <a:lnTo>
                      <a:pt x="580" y="4262"/>
                    </a:lnTo>
                    <a:lnTo>
                      <a:pt x="623" y="4280"/>
                    </a:lnTo>
                    <a:lnTo>
                      <a:pt x="649" y="4301"/>
                    </a:lnTo>
                    <a:lnTo>
                      <a:pt x="656" y="4313"/>
                    </a:lnTo>
                    <a:lnTo>
                      <a:pt x="662" y="4321"/>
                    </a:lnTo>
                    <a:lnTo>
                      <a:pt x="671" y="4323"/>
                    </a:lnTo>
                    <a:lnTo>
                      <a:pt x="683" y="4336"/>
                    </a:lnTo>
                    <a:lnTo>
                      <a:pt x="698" y="4331"/>
                    </a:lnTo>
                    <a:lnTo>
                      <a:pt x="707" y="4329"/>
                    </a:lnTo>
                    <a:lnTo>
                      <a:pt x="714" y="4332"/>
                    </a:lnTo>
                    <a:lnTo>
                      <a:pt x="723" y="4331"/>
                    </a:lnTo>
                    <a:lnTo>
                      <a:pt x="737" y="4336"/>
                    </a:lnTo>
                    <a:lnTo>
                      <a:pt x="743" y="4342"/>
                    </a:lnTo>
                    <a:lnTo>
                      <a:pt x="759" y="4344"/>
                    </a:lnTo>
                    <a:lnTo>
                      <a:pt x="782" y="4354"/>
                    </a:lnTo>
                    <a:lnTo>
                      <a:pt x="791" y="4355"/>
                    </a:lnTo>
                    <a:lnTo>
                      <a:pt x="815" y="4353"/>
                    </a:lnTo>
                    <a:lnTo>
                      <a:pt x="831" y="4358"/>
                    </a:lnTo>
                    <a:lnTo>
                      <a:pt x="847" y="4358"/>
                    </a:lnTo>
                    <a:lnTo>
                      <a:pt x="854" y="4363"/>
                    </a:lnTo>
                    <a:lnTo>
                      <a:pt x="858" y="4368"/>
                    </a:lnTo>
                    <a:lnTo>
                      <a:pt x="896" y="4390"/>
                    </a:lnTo>
                    <a:lnTo>
                      <a:pt x="898" y="4398"/>
                    </a:lnTo>
                    <a:lnTo>
                      <a:pt x="906" y="4402"/>
                    </a:lnTo>
                    <a:lnTo>
                      <a:pt x="914" y="4399"/>
                    </a:lnTo>
                    <a:lnTo>
                      <a:pt x="920" y="4395"/>
                    </a:lnTo>
                    <a:lnTo>
                      <a:pt x="935" y="4388"/>
                    </a:lnTo>
                    <a:lnTo>
                      <a:pt x="944" y="4388"/>
                    </a:lnTo>
                    <a:lnTo>
                      <a:pt x="950" y="4393"/>
                    </a:lnTo>
                    <a:lnTo>
                      <a:pt x="957" y="4392"/>
                    </a:lnTo>
                    <a:lnTo>
                      <a:pt x="973" y="4395"/>
                    </a:lnTo>
                    <a:lnTo>
                      <a:pt x="978" y="4401"/>
                    </a:lnTo>
                    <a:lnTo>
                      <a:pt x="985" y="4404"/>
                    </a:lnTo>
                    <a:lnTo>
                      <a:pt x="993" y="4404"/>
                    </a:lnTo>
                    <a:lnTo>
                      <a:pt x="1000" y="4408"/>
                    </a:lnTo>
                    <a:lnTo>
                      <a:pt x="1004" y="4415"/>
                    </a:lnTo>
                    <a:lnTo>
                      <a:pt x="1000" y="4430"/>
                    </a:lnTo>
                    <a:lnTo>
                      <a:pt x="1012" y="4440"/>
                    </a:lnTo>
                    <a:lnTo>
                      <a:pt x="1028" y="4445"/>
                    </a:lnTo>
                    <a:lnTo>
                      <a:pt x="1035" y="4450"/>
                    </a:lnTo>
                    <a:lnTo>
                      <a:pt x="1040" y="4453"/>
                    </a:lnTo>
                    <a:lnTo>
                      <a:pt x="1048" y="4458"/>
                    </a:lnTo>
                    <a:lnTo>
                      <a:pt x="1055" y="4458"/>
                    </a:lnTo>
                    <a:lnTo>
                      <a:pt x="1067" y="4469"/>
                    </a:lnTo>
                    <a:lnTo>
                      <a:pt x="1071" y="4477"/>
                    </a:lnTo>
                    <a:lnTo>
                      <a:pt x="1079" y="4477"/>
                    </a:lnTo>
                    <a:lnTo>
                      <a:pt x="1084" y="4493"/>
                    </a:lnTo>
                    <a:lnTo>
                      <a:pt x="1087" y="4500"/>
                    </a:lnTo>
                    <a:lnTo>
                      <a:pt x="1095" y="4500"/>
                    </a:lnTo>
                    <a:lnTo>
                      <a:pt x="1111" y="4504"/>
                    </a:lnTo>
                    <a:lnTo>
                      <a:pt x="1119" y="4501"/>
                    </a:lnTo>
                    <a:lnTo>
                      <a:pt x="1124" y="4496"/>
                    </a:lnTo>
                    <a:lnTo>
                      <a:pt x="1130" y="4481"/>
                    </a:lnTo>
                    <a:lnTo>
                      <a:pt x="1138" y="4477"/>
                    </a:lnTo>
                    <a:lnTo>
                      <a:pt x="1145" y="4473"/>
                    </a:lnTo>
                    <a:lnTo>
                      <a:pt x="1148" y="4466"/>
                    </a:lnTo>
                    <a:lnTo>
                      <a:pt x="1154" y="4456"/>
                    </a:lnTo>
                    <a:lnTo>
                      <a:pt x="1144" y="4451"/>
                    </a:lnTo>
                    <a:lnTo>
                      <a:pt x="1132" y="4423"/>
                    </a:lnTo>
                    <a:lnTo>
                      <a:pt x="1113" y="4391"/>
                    </a:lnTo>
                    <a:lnTo>
                      <a:pt x="1105" y="4380"/>
                    </a:lnTo>
                    <a:lnTo>
                      <a:pt x="1101" y="4366"/>
                    </a:lnTo>
                    <a:lnTo>
                      <a:pt x="1101" y="4344"/>
                    </a:lnTo>
                    <a:lnTo>
                      <a:pt x="1108" y="4317"/>
                    </a:lnTo>
                    <a:lnTo>
                      <a:pt x="1106" y="4305"/>
                    </a:lnTo>
                    <a:lnTo>
                      <a:pt x="1097" y="4326"/>
                    </a:lnTo>
                    <a:lnTo>
                      <a:pt x="1094" y="4320"/>
                    </a:lnTo>
                    <a:lnTo>
                      <a:pt x="1091" y="4302"/>
                    </a:lnTo>
                    <a:lnTo>
                      <a:pt x="1081" y="4285"/>
                    </a:lnTo>
                    <a:lnTo>
                      <a:pt x="1069" y="4268"/>
                    </a:lnTo>
                    <a:lnTo>
                      <a:pt x="1059" y="4268"/>
                    </a:lnTo>
                    <a:lnTo>
                      <a:pt x="1054" y="4253"/>
                    </a:lnTo>
                    <a:lnTo>
                      <a:pt x="1063" y="4240"/>
                    </a:lnTo>
                    <a:lnTo>
                      <a:pt x="1064" y="4229"/>
                    </a:lnTo>
                    <a:lnTo>
                      <a:pt x="1071" y="4218"/>
                    </a:lnTo>
                    <a:lnTo>
                      <a:pt x="1075" y="4218"/>
                    </a:lnTo>
                    <a:lnTo>
                      <a:pt x="1076" y="4215"/>
                    </a:lnTo>
                    <a:lnTo>
                      <a:pt x="1079" y="4207"/>
                    </a:lnTo>
                    <a:lnTo>
                      <a:pt x="1089" y="4198"/>
                    </a:lnTo>
                    <a:lnTo>
                      <a:pt x="1095" y="4162"/>
                    </a:lnTo>
                    <a:lnTo>
                      <a:pt x="1102" y="4165"/>
                    </a:lnTo>
                    <a:lnTo>
                      <a:pt x="1106" y="4144"/>
                    </a:lnTo>
                    <a:lnTo>
                      <a:pt x="1107" y="4133"/>
                    </a:lnTo>
                    <a:lnTo>
                      <a:pt x="1098" y="4117"/>
                    </a:lnTo>
                    <a:lnTo>
                      <a:pt x="1110" y="4121"/>
                    </a:lnTo>
                    <a:lnTo>
                      <a:pt x="1121" y="4121"/>
                    </a:lnTo>
                    <a:lnTo>
                      <a:pt x="1119" y="4128"/>
                    </a:lnTo>
                    <a:lnTo>
                      <a:pt x="1126" y="4139"/>
                    </a:lnTo>
                    <a:lnTo>
                      <a:pt x="1130" y="4154"/>
                    </a:lnTo>
                    <a:lnTo>
                      <a:pt x="1138" y="4154"/>
                    </a:lnTo>
                    <a:lnTo>
                      <a:pt x="1143" y="4151"/>
                    </a:lnTo>
                    <a:lnTo>
                      <a:pt x="1148" y="4151"/>
                    </a:lnTo>
                    <a:lnTo>
                      <a:pt x="1160" y="4123"/>
                    </a:lnTo>
                    <a:lnTo>
                      <a:pt x="1166" y="4119"/>
                    </a:lnTo>
                    <a:lnTo>
                      <a:pt x="1159" y="4117"/>
                    </a:lnTo>
                    <a:lnTo>
                      <a:pt x="1155" y="4111"/>
                    </a:lnTo>
                    <a:lnTo>
                      <a:pt x="1149" y="4107"/>
                    </a:lnTo>
                    <a:lnTo>
                      <a:pt x="1140" y="4107"/>
                    </a:lnTo>
                    <a:lnTo>
                      <a:pt x="1133" y="4105"/>
                    </a:lnTo>
                    <a:lnTo>
                      <a:pt x="1130" y="4099"/>
                    </a:lnTo>
                    <a:lnTo>
                      <a:pt x="1137" y="4091"/>
                    </a:lnTo>
                    <a:lnTo>
                      <a:pt x="1138" y="4084"/>
                    </a:lnTo>
                    <a:lnTo>
                      <a:pt x="1145" y="4081"/>
                    </a:lnTo>
                    <a:lnTo>
                      <a:pt x="1154" y="4087"/>
                    </a:lnTo>
                    <a:lnTo>
                      <a:pt x="1166" y="4084"/>
                    </a:lnTo>
                    <a:lnTo>
                      <a:pt x="1157" y="4027"/>
                    </a:lnTo>
                    <a:lnTo>
                      <a:pt x="1150" y="4025"/>
                    </a:lnTo>
                    <a:lnTo>
                      <a:pt x="1145" y="4019"/>
                    </a:lnTo>
                    <a:lnTo>
                      <a:pt x="1143" y="4010"/>
                    </a:lnTo>
                    <a:lnTo>
                      <a:pt x="1139" y="4004"/>
                    </a:lnTo>
                    <a:lnTo>
                      <a:pt x="1133" y="3998"/>
                    </a:lnTo>
                    <a:lnTo>
                      <a:pt x="1126" y="3998"/>
                    </a:lnTo>
                    <a:lnTo>
                      <a:pt x="1108" y="4000"/>
                    </a:lnTo>
                    <a:lnTo>
                      <a:pt x="1095" y="3997"/>
                    </a:lnTo>
                    <a:lnTo>
                      <a:pt x="1094" y="4005"/>
                    </a:lnTo>
                    <a:lnTo>
                      <a:pt x="1081" y="3993"/>
                    </a:lnTo>
                    <a:lnTo>
                      <a:pt x="1081" y="3986"/>
                    </a:lnTo>
                    <a:lnTo>
                      <a:pt x="1076" y="3978"/>
                    </a:lnTo>
                    <a:lnTo>
                      <a:pt x="1081" y="3971"/>
                    </a:lnTo>
                    <a:lnTo>
                      <a:pt x="1076" y="3965"/>
                    </a:lnTo>
                    <a:lnTo>
                      <a:pt x="1076" y="3957"/>
                    </a:lnTo>
                    <a:lnTo>
                      <a:pt x="1047" y="3947"/>
                    </a:lnTo>
                    <a:lnTo>
                      <a:pt x="1058" y="3903"/>
                    </a:lnTo>
                    <a:lnTo>
                      <a:pt x="1071" y="3896"/>
                    </a:lnTo>
                    <a:lnTo>
                      <a:pt x="1076" y="3888"/>
                    </a:lnTo>
                    <a:lnTo>
                      <a:pt x="1074" y="3881"/>
                    </a:lnTo>
                    <a:lnTo>
                      <a:pt x="1063" y="3870"/>
                    </a:lnTo>
                    <a:lnTo>
                      <a:pt x="1073" y="3825"/>
                    </a:lnTo>
                    <a:lnTo>
                      <a:pt x="1086" y="3816"/>
                    </a:lnTo>
                    <a:lnTo>
                      <a:pt x="1091" y="3810"/>
                    </a:lnTo>
                    <a:lnTo>
                      <a:pt x="1090" y="3801"/>
                    </a:lnTo>
                    <a:lnTo>
                      <a:pt x="1092" y="3794"/>
                    </a:lnTo>
                    <a:lnTo>
                      <a:pt x="1092" y="3787"/>
                    </a:lnTo>
                    <a:lnTo>
                      <a:pt x="1096" y="3778"/>
                    </a:lnTo>
                    <a:lnTo>
                      <a:pt x="1101" y="3772"/>
                    </a:lnTo>
                    <a:lnTo>
                      <a:pt x="1107" y="3777"/>
                    </a:lnTo>
                    <a:lnTo>
                      <a:pt x="1111" y="3784"/>
                    </a:lnTo>
                    <a:lnTo>
                      <a:pt x="1123" y="3794"/>
                    </a:lnTo>
                    <a:lnTo>
                      <a:pt x="1140" y="3831"/>
                    </a:lnTo>
                    <a:lnTo>
                      <a:pt x="1149" y="3833"/>
                    </a:lnTo>
                    <a:lnTo>
                      <a:pt x="1175" y="3816"/>
                    </a:lnTo>
                    <a:lnTo>
                      <a:pt x="1172" y="3807"/>
                    </a:lnTo>
                    <a:lnTo>
                      <a:pt x="1169" y="3800"/>
                    </a:lnTo>
                    <a:lnTo>
                      <a:pt x="1165" y="3775"/>
                    </a:lnTo>
                    <a:lnTo>
                      <a:pt x="1157" y="3762"/>
                    </a:lnTo>
                    <a:lnTo>
                      <a:pt x="1166" y="3763"/>
                    </a:lnTo>
                    <a:lnTo>
                      <a:pt x="1173" y="3760"/>
                    </a:lnTo>
                    <a:lnTo>
                      <a:pt x="1193" y="3746"/>
                    </a:lnTo>
                    <a:lnTo>
                      <a:pt x="1200" y="3742"/>
                    </a:lnTo>
                    <a:lnTo>
                      <a:pt x="1205" y="3736"/>
                    </a:lnTo>
                    <a:lnTo>
                      <a:pt x="1205" y="3728"/>
                    </a:lnTo>
                    <a:lnTo>
                      <a:pt x="1205" y="3719"/>
                    </a:lnTo>
                    <a:lnTo>
                      <a:pt x="1213" y="3718"/>
                    </a:lnTo>
                    <a:lnTo>
                      <a:pt x="1221" y="3719"/>
                    </a:lnTo>
                    <a:lnTo>
                      <a:pt x="1229" y="3715"/>
                    </a:lnTo>
                    <a:lnTo>
                      <a:pt x="1234" y="3709"/>
                    </a:lnTo>
                    <a:lnTo>
                      <a:pt x="1241" y="3705"/>
                    </a:lnTo>
                    <a:lnTo>
                      <a:pt x="1248" y="3703"/>
                    </a:lnTo>
                    <a:lnTo>
                      <a:pt x="1253" y="3697"/>
                    </a:lnTo>
                    <a:lnTo>
                      <a:pt x="1261" y="3692"/>
                    </a:lnTo>
                    <a:lnTo>
                      <a:pt x="1266" y="3686"/>
                    </a:lnTo>
                    <a:lnTo>
                      <a:pt x="1267" y="3678"/>
                    </a:lnTo>
                    <a:lnTo>
                      <a:pt x="1274" y="3672"/>
                    </a:lnTo>
                    <a:lnTo>
                      <a:pt x="1289" y="3669"/>
                    </a:lnTo>
                    <a:lnTo>
                      <a:pt x="1305" y="3669"/>
                    </a:lnTo>
                    <a:lnTo>
                      <a:pt x="1306" y="3677"/>
                    </a:lnTo>
                    <a:lnTo>
                      <a:pt x="1310" y="3685"/>
                    </a:lnTo>
                    <a:lnTo>
                      <a:pt x="1326" y="3681"/>
                    </a:lnTo>
                    <a:lnTo>
                      <a:pt x="1331" y="3687"/>
                    </a:lnTo>
                    <a:lnTo>
                      <a:pt x="1336" y="3680"/>
                    </a:lnTo>
                    <a:lnTo>
                      <a:pt x="1338" y="3671"/>
                    </a:lnTo>
                    <a:lnTo>
                      <a:pt x="1343" y="3665"/>
                    </a:lnTo>
                    <a:lnTo>
                      <a:pt x="1350" y="3665"/>
                    </a:lnTo>
                    <a:lnTo>
                      <a:pt x="1358" y="3662"/>
                    </a:lnTo>
                    <a:lnTo>
                      <a:pt x="1366" y="3662"/>
                    </a:lnTo>
                    <a:lnTo>
                      <a:pt x="1371" y="3678"/>
                    </a:lnTo>
                    <a:lnTo>
                      <a:pt x="1376" y="3685"/>
                    </a:lnTo>
                    <a:lnTo>
                      <a:pt x="1385" y="3681"/>
                    </a:lnTo>
                    <a:lnTo>
                      <a:pt x="1392" y="3681"/>
                    </a:lnTo>
                    <a:lnTo>
                      <a:pt x="1399" y="3683"/>
                    </a:lnTo>
                    <a:lnTo>
                      <a:pt x="1415" y="3680"/>
                    </a:lnTo>
                    <a:lnTo>
                      <a:pt x="1423" y="3681"/>
                    </a:lnTo>
                    <a:lnTo>
                      <a:pt x="1430" y="3685"/>
                    </a:lnTo>
                    <a:lnTo>
                      <a:pt x="1436" y="3691"/>
                    </a:lnTo>
                    <a:lnTo>
                      <a:pt x="1442" y="3705"/>
                    </a:lnTo>
                    <a:lnTo>
                      <a:pt x="1463" y="3718"/>
                    </a:lnTo>
                    <a:lnTo>
                      <a:pt x="1468" y="3724"/>
                    </a:lnTo>
                    <a:lnTo>
                      <a:pt x="1471" y="3732"/>
                    </a:lnTo>
                    <a:lnTo>
                      <a:pt x="1482" y="3745"/>
                    </a:lnTo>
                    <a:lnTo>
                      <a:pt x="1481" y="3752"/>
                    </a:lnTo>
                    <a:lnTo>
                      <a:pt x="1482" y="3761"/>
                    </a:lnTo>
                    <a:lnTo>
                      <a:pt x="1487" y="3767"/>
                    </a:lnTo>
                    <a:lnTo>
                      <a:pt x="1494" y="3764"/>
                    </a:lnTo>
                    <a:lnTo>
                      <a:pt x="1494" y="3757"/>
                    </a:lnTo>
                    <a:lnTo>
                      <a:pt x="1493" y="3748"/>
                    </a:lnTo>
                    <a:lnTo>
                      <a:pt x="1494" y="3741"/>
                    </a:lnTo>
                    <a:lnTo>
                      <a:pt x="1489" y="3734"/>
                    </a:lnTo>
                    <a:lnTo>
                      <a:pt x="1494" y="3728"/>
                    </a:lnTo>
                    <a:lnTo>
                      <a:pt x="1503" y="3726"/>
                    </a:lnTo>
                    <a:lnTo>
                      <a:pt x="1505" y="3734"/>
                    </a:lnTo>
                    <a:lnTo>
                      <a:pt x="1511" y="3739"/>
                    </a:lnTo>
                    <a:lnTo>
                      <a:pt x="1514" y="3747"/>
                    </a:lnTo>
                    <a:lnTo>
                      <a:pt x="1520" y="3752"/>
                    </a:lnTo>
                    <a:lnTo>
                      <a:pt x="1536" y="3757"/>
                    </a:lnTo>
                    <a:lnTo>
                      <a:pt x="1549" y="3766"/>
                    </a:lnTo>
                    <a:lnTo>
                      <a:pt x="1558" y="3763"/>
                    </a:lnTo>
                    <a:lnTo>
                      <a:pt x="1578" y="3750"/>
                    </a:lnTo>
                    <a:lnTo>
                      <a:pt x="1578" y="3741"/>
                    </a:lnTo>
                    <a:lnTo>
                      <a:pt x="1584" y="3737"/>
                    </a:lnTo>
                    <a:lnTo>
                      <a:pt x="1590" y="3732"/>
                    </a:lnTo>
                    <a:lnTo>
                      <a:pt x="1598" y="3731"/>
                    </a:lnTo>
                    <a:lnTo>
                      <a:pt x="1606" y="3734"/>
                    </a:lnTo>
                    <a:lnTo>
                      <a:pt x="1606" y="3725"/>
                    </a:lnTo>
                    <a:lnTo>
                      <a:pt x="1614" y="3725"/>
                    </a:lnTo>
                    <a:lnTo>
                      <a:pt x="1622" y="3728"/>
                    </a:lnTo>
                    <a:lnTo>
                      <a:pt x="1629" y="3723"/>
                    </a:lnTo>
                    <a:lnTo>
                      <a:pt x="1637" y="3728"/>
                    </a:lnTo>
                    <a:lnTo>
                      <a:pt x="1648" y="3739"/>
                    </a:lnTo>
                    <a:lnTo>
                      <a:pt x="1662" y="3730"/>
                    </a:lnTo>
                    <a:lnTo>
                      <a:pt x="1666" y="3723"/>
                    </a:lnTo>
                    <a:lnTo>
                      <a:pt x="1682" y="3723"/>
                    </a:lnTo>
                    <a:lnTo>
                      <a:pt x="1689" y="3719"/>
                    </a:lnTo>
                    <a:lnTo>
                      <a:pt x="1704" y="3725"/>
                    </a:lnTo>
                    <a:lnTo>
                      <a:pt x="1709" y="3731"/>
                    </a:lnTo>
                    <a:lnTo>
                      <a:pt x="1710" y="3747"/>
                    </a:lnTo>
                    <a:lnTo>
                      <a:pt x="1716" y="3753"/>
                    </a:lnTo>
                    <a:lnTo>
                      <a:pt x="1721" y="3760"/>
                    </a:lnTo>
                    <a:lnTo>
                      <a:pt x="1737" y="3757"/>
                    </a:lnTo>
                    <a:lnTo>
                      <a:pt x="1752" y="3761"/>
                    </a:lnTo>
                    <a:lnTo>
                      <a:pt x="1752" y="3761"/>
                    </a:lnTo>
                    <a:lnTo>
                      <a:pt x="1754" y="3772"/>
                    </a:lnTo>
                    <a:lnTo>
                      <a:pt x="1772" y="3771"/>
                    </a:lnTo>
                    <a:lnTo>
                      <a:pt x="1778" y="3766"/>
                    </a:lnTo>
                    <a:lnTo>
                      <a:pt x="1785" y="3751"/>
                    </a:lnTo>
                    <a:lnTo>
                      <a:pt x="1790" y="3745"/>
                    </a:lnTo>
                    <a:lnTo>
                      <a:pt x="1796" y="3747"/>
                    </a:lnTo>
                    <a:lnTo>
                      <a:pt x="1807" y="3760"/>
                    </a:lnTo>
                    <a:lnTo>
                      <a:pt x="1824" y="3761"/>
                    </a:lnTo>
                    <a:lnTo>
                      <a:pt x="1839" y="3757"/>
                    </a:lnTo>
                    <a:lnTo>
                      <a:pt x="1847" y="3752"/>
                    </a:lnTo>
                    <a:lnTo>
                      <a:pt x="1863" y="3747"/>
                    </a:lnTo>
                    <a:lnTo>
                      <a:pt x="1874" y="3709"/>
                    </a:lnTo>
                    <a:lnTo>
                      <a:pt x="1877" y="3702"/>
                    </a:lnTo>
                    <a:lnTo>
                      <a:pt x="1872" y="3696"/>
                    </a:lnTo>
                    <a:lnTo>
                      <a:pt x="1870" y="3692"/>
                    </a:lnTo>
                    <a:lnTo>
                      <a:pt x="1856" y="3691"/>
                    </a:lnTo>
                    <a:lnTo>
                      <a:pt x="1840" y="3689"/>
                    </a:lnTo>
                    <a:lnTo>
                      <a:pt x="1834" y="3682"/>
                    </a:lnTo>
                    <a:lnTo>
                      <a:pt x="1831" y="3677"/>
                    </a:lnTo>
                    <a:lnTo>
                      <a:pt x="1813" y="3674"/>
                    </a:lnTo>
                    <a:lnTo>
                      <a:pt x="1806" y="3671"/>
                    </a:lnTo>
                    <a:lnTo>
                      <a:pt x="1807" y="3662"/>
                    </a:lnTo>
                    <a:lnTo>
                      <a:pt x="1802" y="3655"/>
                    </a:lnTo>
                    <a:lnTo>
                      <a:pt x="1786" y="3653"/>
                    </a:lnTo>
                    <a:lnTo>
                      <a:pt x="1788" y="3644"/>
                    </a:lnTo>
                    <a:lnTo>
                      <a:pt x="1795" y="3642"/>
                    </a:lnTo>
                    <a:lnTo>
                      <a:pt x="1807" y="3632"/>
                    </a:lnTo>
                    <a:lnTo>
                      <a:pt x="1823" y="3626"/>
                    </a:lnTo>
                    <a:lnTo>
                      <a:pt x="1837" y="3617"/>
                    </a:lnTo>
                    <a:lnTo>
                      <a:pt x="1840" y="3611"/>
                    </a:lnTo>
                    <a:lnTo>
                      <a:pt x="1842" y="3602"/>
                    </a:lnTo>
                    <a:lnTo>
                      <a:pt x="1823" y="3575"/>
                    </a:lnTo>
                    <a:lnTo>
                      <a:pt x="1831" y="3572"/>
                    </a:lnTo>
                    <a:lnTo>
                      <a:pt x="1838" y="3565"/>
                    </a:lnTo>
                    <a:lnTo>
                      <a:pt x="1839" y="3558"/>
                    </a:lnTo>
                    <a:lnTo>
                      <a:pt x="1845" y="3553"/>
                    </a:lnTo>
                    <a:lnTo>
                      <a:pt x="1854" y="3552"/>
                    </a:lnTo>
                    <a:lnTo>
                      <a:pt x="1863" y="3553"/>
                    </a:lnTo>
                    <a:lnTo>
                      <a:pt x="1870" y="3552"/>
                    </a:lnTo>
                    <a:lnTo>
                      <a:pt x="1877" y="3554"/>
                    </a:lnTo>
                    <a:lnTo>
                      <a:pt x="1893" y="3554"/>
                    </a:lnTo>
                    <a:lnTo>
                      <a:pt x="1902" y="3551"/>
                    </a:lnTo>
                    <a:lnTo>
                      <a:pt x="1904" y="3543"/>
                    </a:lnTo>
                    <a:lnTo>
                      <a:pt x="1901" y="3537"/>
                    </a:lnTo>
                    <a:lnTo>
                      <a:pt x="1886" y="3529"/>
                    </a:lnTo>
                    <a:lnTo>
                      <a:pt x="1854" y="3524"/>
                    </a:lnTo>
                    <a:lnTo>
                      <a:pt x="1850" y="3518"/>
                    </a:lnTo>
                    <a:lnTo>
                      <a:pt x="1852" y="3509"/>
                    </a:lnTo>
                    <a:lnTo>
                      <a:pt x="1859" y="3509"/>
                    </a:lnTo>
                    <a:lnTo>
                      <a:pt x="1866" y="3506"/>
                    </a:lnTo>
                    <a:lnTo>
                      <a:pt x="1871" y="3499"/>
                    </a:lnTo>
                    <a:lnTo>
                      <a:pt x="1865" y="3494"/>
                    </a:lnTo>
                    <a:lnTo>
                      <a:pt x="1858" y="3498"/>
                    </a:lnTo>
                    <a:lnTo>
                      <a:pt x="1842" y="3498"/>
                    </a:lnTo>
                    <a:lnTo>
                      <a:pt x="1842" y="3489"/>
                    </a:lnTo>
                    <a:lnTo>
                      <a:pt x="1844" y="3482"/>
                    </a:lnTo>
                    <a:lnTo>
                      <a:pt x="1849" y="3476"/>
                    </a:lnTo>
                    <a:lnTo>
                      <a:pt x="1838" y="3463"/>
                    </a:lnTo>
                    <a:lnTo>
                      <a:pt x="1854" y="3463"/>
                    </a:lnTo>
                    <a:lnTo>
                      <a:pt x="1859" y="3457"/>
                    </a:lnTo>
                    <a:lnTo>
                      <a:pt x="1867" y="3457"/>
                    </a:lnTo>
                    <a:lnTo>
                      <a:pt x="1872" y="3463"/>
                    </a:lnTo>
                    <a:lnTo>
                      <a:pt x="1880" y="3462"/>
                    </a:lnTo>
                    <a:lnTo>
                      <a:pt x="1888" y="3463"/>
                    </a:lnTo>
                    <a:lnTo>
                      <a:pt x="1896" y="3461"/>
                    </a:lnTo>
                    <a:lnTo>
                      <a:pt x="1920" y="3461"/>
                    </a:lnTo>
                    <a:lnTo>
                      <a:pt x="1925" y="3468"/>
                    </a:lnTo>
                    <a:lnTo>
                      <a:pt x="1935" y="3456"/>
                    </a:lnTo>
                    <a:lnTo>
                      <a:pt x="1942" y="3452"/>
                    </a:lnTo>
                    <a:lnTo>
                      <a:pt x="1958" y="3454"/>
                    </a:lnTo>
                    <a:lnTo>
                      <a:pt x="1966" y="3449"/>
                    </a:lnTo>
                    <a:lnTo>
                      <a:pt x="1973" y="3446"/>
                    </a:lnTo>
                    <a:lnTo>
                      <a:pt x="1987" y="3436"/>
                    </a:lnTo>
                    <a:lnTo>
                      <a:pt x="1994" y="3439"/>
                    </a:lnTo>
                    <a:lnTo>
                      <a:pt x="2000" y="3444"/>
                    </a:lnTo>
                    <a:lnTo>
                      <a:pt x="2008" y="3444"/>
                    </a:lnTo>
                    <a:lnTo>
                      <a:pt x="2010" y="3436"/>
                    </a:lnTo>
                    <a:lnTo>
                      <a:pt x="2027" y="3432"/>
                    </a:lnTo>
                    <a:lnTo>
                      <a:pt x="2033" y="3428"/>
                    </a:lnTo>
                    <a:lnTo>
                      <a:pt x="2042" y="3427"/>
                    </a:lnTo>
                    <a:lnTo>
                      <a:pt x="2049" y="3424"/>
                    </a:lnTo>
                    <a:lnTo>
                      <a:pt x="2057" y="3424"/>
                    </a:lnTo>
                    <a:lnTo>
                      <a:pt x="2064" y="3427"/>
                    </a:lnTo>
                    <a:lnTo>
                      <a:pt x="2069" y="3419"/>
                    </a:lnTo>
                    <a:lnTo>
                      <a:pt x="2070" y="3412"/>
                    </a:lnTo>
                    <a:lnTo>
                      <a:pt x="2074" y="3403"/>
                    </a:lnTo>
                    <a:lnTo>
                      <a:pt x="2081" y="3400"/>
                    </a:lnTo>
                    <a:lnTo>
                      <a:pt x="2089" y="3398"/>
                    </a:lnTo>
                    <a:lnTo>
                      <a:pt x="2096" y="3402"/>
                    </a:lnTo>
                    <a:lnTo>
                      <a:pt x="2114" y="3396"/>
                    </a:lnTo>
                    <a:lnTo>
                      <a:pt x="2114" y="3397"/>
                    </a:lnTo>
                    <a:lnTo>
                      <a:pt x="2151" y="3387"/>
                    </a:lnTo>
                    <a:lnTo>
                      <a:pt x="2183" y="3384"/>
                    </a:lnTo>
                    <a:lnTo>
                      <a:pt x="2211" y="3375"/>
                    </a:lnTo>
                    <a:lnTo>
                      <a:pt x="2218" y="3369"/>
                    </a:lnTo>
                    <a:lnTo>
                      <a:pt x="2226" y="3370"/>
                    </a:lnTo>
                    <a:lnTo>
                      <a:pt x="2234" y="3368"/>
                    </a:lnTo>
                    <a:lnTo>
                      <a:pt x="2238" y="3362"/>
                    </a:lnTo>
                    <a:lnTo>
                      <a:pt x="2238" y="3353"/>
                    </a:lnTo>
                    <a:lnTo>
                      <a:pt x="2238" y="3346"/>
                    </a:lnTo>
                    <a:lnTo>
                      <a:pt x="2247" y="3347"/>
                    </a:lnTo>
                    <a:lnTo>
                      <a:pt x="2254" y="3344"/>
                    </a:lnTo>
                    <a:lnTo>
                      <a:pt x="2259" y="3338"/>
                    </a:lnTo>
                    <a:lnTo>
                      <a:pt x="2265" y="3333"/>
                    </a:lnTo>
                    <a:lnTo>
                      <a:pt x="2274" y="3333"/>
                    </a:lnTo>
                    <a:lnTo>
                      <a:pt x="2279" y="3326"/>
                    </a:lnTo>
                    <a:lnTo>
                      <a:pt x="2286" y="3326"/>
                    </a:lnTo>
                    <a:lnTo>
                      <a:pt x="2293" y="3332"/>
                    </a:lnTo>
                    <a:lnTo>
                      <a:pt x="2300" y="3330"/>
                    </a:lnTo>
                    <a:lnTo>
                      <a:pt x="2307" y="3333"/>
                    </a:lnTo>
                    <a:lnTo>
                      <a:pt x="2316" y="3331"/>
                    </a:lnTo>
                    <a:lnTo>
                      <a:pt x="2323" y="3335"/>
                    </a:lnTo>
                    <a:lnTo>
                      <a:pt x="2328" y="3341"/>
                    </a:lnTo>
                    <a:lnTo>
                      <a:pt x="2342" y="3349"/>
                    </a:lnTo>
                    <a:lnTo>
                      <a:pt x="2349" y="3346"/>
                    </a:lnTo>
                    <a:lnTo>
                      <a:pt x="2355" y="3341"/>
                    </a:lnTo>
                    <a:lnTo>
                      <a:pt x="2371" y="3338"/>
                    </a:lnTo>
                    <a:lnTo>
                      <a:pt x="2379" y="3341"/>
                    </a:lnTo>
                    <a:lnTo>
                      <a:pt x="2385" y="3347"/>
                    </a:lnTo>
                    <a:lnTo>
                      <a:pt x="2388" y="3354"/>
                    </a:lnTo>
                    <a:lnTo>
                      <a:pt x="2390" y="3370"/>
                    </a:lnTo>
                    <a:lnTo>
                      <a:pt x="2388" y="3379"/>
                    </a:lnTo>
                    <a:lnTo>
                      <a:pt x="2391" y="3386"/>
                    </a:lnTo>
                    <a:lnTo>
                      <a:pt x="2403" y="3397"/>
                    </a:lnTo>
                    <a:lnTo>
                      <a:pt x="2399" y="3403"/>
                    </a:lnTo>
                    <a:lnTo>
                      <a:pt x="2401" y="3420"/>
                    </a:lnTo>
                    <a:lnTo>
                      <a:pt x="2396" y="3427"/>
                    </a:lnTo>
                    <a:lnTo>
                      <a:pt x="2391" y="3433"/>
                    </a:lnTo>
                    <a:lnTo>
                      <a:pt x="2394" y="3440"/>
                    </a:lnTo>
                    <a:lnTo>
                      <a:pt x="2397" y="3448"/>
                    </a:lnTo>
                    <a:lnTo>
                      <a:pt x="2413" y="3444"/>
                    </a:lnTo>
                    <a:lnTo>
                      <a:pt x="2420" y="3449"/>
                    </a:lnTo>
                    <a:lnTo>
                      <a:pt x="2428" y="3448"/>
                    </a:lnTo>
                    <a:lnTo>
                      <a:pt x="2431" y="3439"/>
                    </a:lnTo>
                    <a:lnTo>
                      <a:pt x="2439" y="3439"/>
                    </a:lnTo>
                    <a:lnTo>
                      <a:pt x="2446" y="3441"/>
                    </a:lnTo>
                    <a:lnTo>
                      <a:pt x="2449" y="3433"/>
                    </a:lnTo>
                    <a:lnTo>
                      <a:pt x="2449" y="3425"/>
                    </a:lnTo>
                    <a:lnTo>
                      <a:pt x="2456" y="3427"/>
                    </a:lnTo>
                    <a:lnTo>
                      <a:pt x="2460" y="3434"/>
                    </a:lnTo>
                    <a:lnTo>
                      <a:pt x="2462" y="3443"/>
                    </a:lnTo>
                    <a:lnTo>
                      <a:pt x="2467" y="3448"/>
                    </a:lnTo>
                    <a:lnTo>
                      <a:pt x="2465" y="3455"/>
                    </a:lnTo>
                    <a:lnTo>
                      <a:pt x="2463" y="3463"/>
                    </a:lnTo>
                    <a:lnTo>
                      <a:pt x="2479" y="3465"/>
                    </a:lnTo>
                    <a:lnTo>
                      <a:pt x="2477" y="3457"/>
                    </a:lnTo>
                    <a:lnTo>
                      <a:pt x="2472" y="3451"/>
                    </a:lnTo>
                    <a:lnTo>
                      <a:pt x="2479" y="3448"/>
                    </a:lnTo>
                    <a:lnTo>
                      <a:pt x="2495" y="3451"/>
                    </a:lnTo>
                    <a:lnTo>
                      <a:pt x="2503" y="3456"/>
                    </a:lnTo>
                    <a:lnTo>
                      <a:pt x="2508" y="3462"/>
                    </a:lnTo>
                    <a:lnTo>
                      <a:pt x="2516" y="3466"/>
                    </a:lnTo>
                    <a:lnTo>
                      <a:pt x="2523" y="3466"/>
                    </a:lnTo>
                    <a:lnTo>
                      <a:pt x="2527" y="3459"/>
                    </a:lnTo>
                    <a:lnTo>
                      <a:pt x="2535" y="3455"/>
                    </a:lnTo>
                    <a:lnTo>
                      <a:pt x="2537" y="3463"/>
                    </a:lnTo>
                    <a:lnTo>
                      <a:pt x="2537" y="3471"/>
                    </a:lnTo>
                    <a:lnTo>
                      <a:pt x="2528" y="3473"/>
                    </a:lnTo>
                    <a:lnTo>
                      <a:pt x="2522" y="3478"/>
                    </a:lnTo>
                    <a:lnTo>
                      <a:pt x="2517" y="3486"/>
                    </a:lnTo>
                    <a:lnTo>
                      <a:pt x="2515" y="3493"/>
                    </a:lnTo>
                    <a:lnTo>
                      <a:pt x="2516" y="3502"/>
                    </a:lnTo>
                    <a:lnTo>
                      <a:pt x="2521" y="3508"/>
                    </a:lnTo>
                    <a:lnTo>
                      <a:pt x="2528" y="3508"/>
                    </a:lnTo>
                    <a:lnTo>
                      <a:pt x="2533" y="3502"/>
                    </a:lnTo>
                    <a:lnTo>
                      <a:pt x="2548" y="3495"/>
                    </a:lnTo>
                    <a:lnTo>
                      <a:pt x="2555" y="3498"/>
                    </a:lnTo>
                    <a:lnTo>
                      <a:pt x="2564" y="3498"/>
                    </a:lnTo>
                    <a:lnTo>
                      <a:pt x="2570" y="3503"/>
                    </a:lnTo>
                    <a:lnTo>
                      <a:pt x="2578" y="3503"/>
                    </a:lnTo>
                    <a:lnTo>
                      <a:pt x="2575" y="3495"/>
                    </a:lnTo>
                    <a:lnTo>
                      <a:pt x="2580" y="3489"/>
                    </a:lnTo>
                    <a:lnTo>
                      <a:pt x="2589" y="3488"/>
                    </a:lnTo>
                    <a:lnTo>
                      <a:pt x="2598" y="3477"/>
                    </a:lnTo>
                    <a:lnTo>
                      <a:pt x="2614" y="3475"/>
                    </a:lnTo>
                    <a:lnTo>
                      <a:pt x="2627" y="3463"/>
                    </a:lnTo>
                    <a:lnTo>
                      <a:pt x="2633" y="3449"/>
                    </a:lnTo>
                    <a:lnTo>
                      <a:pt x="2639" y="3444"/>
                    </a:lnTo>
                    <a:lnTo>
                      <a:pt x="2648" y="3445"/>
                    </a:lnTo>
                    <a:lnTo>
                      <a:pt x="2664" y="3441"/>
                    </a:lnTo>
                    <a:lnTo>
                      <a:pt x="2671" y="3439"/>
                    </a:lnTo>
                    <a:lnTo>
                      <a:pt x="2675" y="3432"/>
                    </a:lnTo>
                    <a:lnTo>
                      <a:pt x="2691" y="3430"/>
                    </a:lnTo>
                    <a:lnTo>
                      <a:pt x="2704" y="3422"/>
                    </a:lnTo>
                    <a:lnTo>
                      <a:pt x="2708" y="3429"/>
                    </a:lnTo>
                    <a:lnTo>
                      <a:pt x="2709" y="3436"/>
                    </a:lnTo>
                    <a:lnTo>
                      <a:pt x="2704" y="3444"/>
                    </a:lnTo>
                    <a:lnTo>
                      <a:pt x="2697" y="3446"/>
                    </a:lnTo>
                    <a:lnTo>
                      <a:pt x="2689" y="3446"/>
                    </a:lnTo>
                    <a:lnTo>
                      <a:pt x="2688" y="345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5" name="Djibouti"/>
            <p:cNvSpPr>
              <a:spLocks noChangeAspect="1"/>
            </p:cNvSpPr>
            <p:nvPr>
              <p:custDataLst>
                <p:tags r:id="rId90"/>
              </p:custDataLst>
            </p:nvPr>
          </p:nvSpPr>
          <p:spPr bwMode="gray">
            <a:xfrm>
              <a:off x="5528017" y="4299701"/>
              <a:ext cx="37450" cy="49153"/>
            </a:xfrm>
            <a:custGeom>
              <a:avLst/>
              <a:gdLst/>
              <a:ahLst/>
              <a:cxnLst>
                <a:cxn ang="0">
                  <a:pos x="65" y="0"/>
                </a:cxn>
                <a:cxn ang="0">
                  <a:pos x="48" y="11"/>
                </a:cxn>
                <a:cxn ang="0">
                  <a:pos x="33" y="19"/>
                </a:cxn>
                <a:cxn ang="0">
                  <a:pos x="28" y="25"/>
                </a:cxn>
                <a:cxn ang="0">
                  <a:pos x="22" y="29"/>
                </a:cxn>
                <a:cxn ang="0">
                  <a:pos x="17" y="51"/>
                </a:cxn>
                <a:cxn ang="0">
                  <a:pos x="15" y="62"/>
                </a:cxn>
                <a:cxn ang="0">
                  <a:pos x="9" y="74"/>
                </a:cxn>
                <a:cxn ang="0">
                  <a:pos x="0" y="85"/>
                </a:cxn>
                <a:cxn ang="0">
                  <a:pos x="0" y="88"/>
                </a:cxn>
                <a:cxn ang="0">
                  <a:pos x="1" y="97"/>
                </a:cxn>
                <a:cxn ang="0">
                  <a:pos x="7" y="103"/>
                </a:cxn>
                <a:cxn ang="0">
                  <a:pos x="20" y="105"/>
                </a:cxn>
                <a:cxn ang="0">
                  <a:pos x="24" y="102"/>
                </a:cxn>
                <a:cxn ang="0">
                  <a:pos x="31" y="105"/>
                </a:cxn>
                <a:cxn ang="0">
                  <a:pos x="32" y="103"/>
                </a:cxn>
                <a:cxn ang="0">
                  <a:pos x="33" y="100"/>
                </a:cxn>
                <a:cxn ang="0">
                  <a:pos x="45" y="96"/>
                </a:cxn>
                <a:cxn ang="0">
                  <a:pos x="50" y="97"/>
                </a:cxn>
                <a:cxn ang="0">
                  <a:pos x="59" y="105"/>
                </a:cxn>
                <a:cxn ang="0">
                  <a:pos x="59" y="106"/>
                </a:cxn>
                <a:cxn ang="0">
                  <a:pos x="61" y="100"/>
                </a:cxn>
                <a:cxn ang="0">
                  <a:pos x="71" y="88"/>
                </a:cxn>
                <a:cxn ang="0">
                  <a:pos x="76" y="76"/>
                </a:cxn>
                <a:cxn ang="0">
                  <a:pos x="79" y="74"/>
                </a:cxn>
                <a:cxn ang="0">
                  <a:pos x="76" y="72"/>
                </a:cxn>
                <a:cxn ang="0">
                  <a:pos x="74" y="72"/>
                </a:cxn>
                <a:cxn ang="0">
                  <a:pos x="71" y="69"/>
                </a:cxn>
                <a:cxn ang="0">
                  <a:pos x="64" y="70"/>
                </a:cxn>
                <a:cxn ang="0">
                  <a:pos x="56" y="69"/>
                </a:cxn>
                <a:cxn ang="0">
                  <a:pos x="48" y="72"/>
                </a:cxn>
                <a:cxn ang="0">
                  <a:pos x="47" y="74"/>
                </a:cxn>
                <a:cxn ang="0">
                  <a:pos x="44" y="75"/>
                </a:cxn>
                <a:cxn ang="0">
                  <a:pos x="40" y="74"/>
                </a:cxn>
                <a:cxn ang="0">
                  <a:pos x="38" y="70"/>
                </a:cxn>
                <a:cxn ang="0">
                  <a:pos x="39" y="69"/>
                </a:cxn>
                <a:cxn ang="0">
                  <a:pos x="44" y="70"/>
                </a:cxn>
                <a:cxn ang="0">
                  <a:pos x="47" y="70"/>
                </a:cxn>
                <a:cxn ang="0">
                  <a:pos x="48" y="67"/>
                </a:cxn>
                <a:cxn ang="0">
                  <a:pos x="53" y="59"/>
                </a:cxn>
                <a:cxn ang="0">
                  <a:pos x="56" y="57"/>
                </a:cxn>
                <a:cxn ang="0">
                  <a:pos x="61" y="57"/>
                </a:cxn>
                <a:cxn ang="0">
                  <a:pos x="66" y="51"/>
                </a:cxn>
                <a:cxn ang="0">
                  <a:pos x="77" y="48"/>
                </a:cxn>
                <a:cxn ang="0">
                  <a:pos x="83" y="45"/>
                </a:cxn>
                <a:cxn ang="0">
                  <a:pos x="83" y="38"/>
                </a:cxn>
                <a:cxn ang="0">
                  <a:pos x="81" y="22"/>
                </a:cxn>
                <a:cxn ang="0">
                  <a:pos x="80" y="20"/>
                </a:cxn>
                <a:cxn ang="0">
                  <a:pos x="75" y="16"/>
                </a:cxn>
                <a:cxn ang="0">
                  <a:pos x="71" y="9"/>
                </a:cxn>
                <a:cxn ang="0">
                  <a:pos x="67" y="5"/>
                </a:cxn>
                <a:cxn ang="0">
                  <a:pos x="65" y="0"/>
                </a:cxn>
              </a:cxnLst>
              <a:rect l="0" t="0" r="r" b="b"/>
              <a:pathLst>
                <a:path w="83" h="106">
                  <a:moveTo>
                    <a:pt x="65" y="0"/>
                  </a:moveTo>
                  <a:lnTo>
                    <a:pt x="48" y="11"/>
                  </a:lnTo>
                  <a:lnTo>
                    <a:pt x="33" y="19"/>
                  </a:lnTo>
                  <a:lnTo>
                    <a:pt x="28" y="25"/>
                  </a:lnTo>
                  <a:lnTo>
                    <a:pt x="22" y="29"/>
                  </a:lnTo>
                  <a:lnTo>
                    <a:pt x="17" y="51"/>
                  </a:lnTo>
                  <a:lnTo>
                    <a:pt x="15" y="62"/>
                  </a:lnTo>
                  <a:lnTo>
                    <a:pt x="9" y="74"/>
                  </a:lnTo>
                  <a:lnTo>
                    <a:pt x="0" y="85"/>
                  </a:lnTo>
                  <a:lnTo>
                    <a:pt x="0" y="88"/>
                  </a:lnTo>
                  <a:lnTo>
                    <a:pt x="1" y="97"/>
                  </a:lnTo>
                  <a:lnTo>
                    <a:pt x="7" y="103"/>
                  </a:lnTo>
                  <a:lnTo>
                    <a:pt x="20" y="105"/>
                  </a:lnTo>
                  <a:lnTo>
                    <a:pt x="24" y="102"/>
                  </a:lnTo>
                  <a:lnTo>
                    <a:pt x="31" y="105"/>
                  </a:lnTo>
                  <a:lnTo>
                    <a:pt x="32" y="103"/>
                  </a:lnTo>
                  <a:lnTo>
                    <a:pt x="33" y="100"/>
                  </a:lnTo>
                  <a:lnTo>
                    <a:pt x="45" y="96"/>
                  </a:lnTo>
                  <a:lnTo>
                    <a:pt x="50" y="97"/>
                  </a:lnTo>
                  <a:lnTo>
                    <a:pt x="59" y="105"/>
                  </a:lnTo>
                  <a:lnTo>
                    <a:pt x="59" y="106"/>
                  </a:lnTo>
                  <a:lnTo>
                    <a:pt x="61" y="100"/>
                  </a:lnTo>
                  <a:lnTo>
                    <a:pt x="71" y="88"/>
                  </a:lnTo>
                  <a:lnTo>
                    <a:pt x="76" y="76"/>
                  </a:lnTo>
                  <a:lnTo>
                    <a:pt x="79" y="74"/>
                  </a:lnTo>
                  <a:lnTo>
                    <a:pt x="76" y="72"/>
                  </a:lnTo>
                  <a:lnTo>
                    <a:pt x="74" y="72"/>
                  </a:lnTo>
                  <a:lnTo>
                    <a:pt x="71" y="69"/>
                  </a:lnTo>
                  <a:lnTo>
                    <a:pt x="64" y="70"/>
                  </a:lnTo>
                  <a:lnTo>
                    <a:pt x="56" y="69"/>
                  </a:lnTo>
                  <a:lnTo>
                    <a:pt x="48" y="72"/>
                  </a:lnTo>
                  <a:lnTo>
                    <a:pt x="47" y="74"/>
                  </a:lnTo>
                  <a:lnTo>
                    <a:pt x="44" y="75"/>
                  </a:lnTo>
                  <a:lnTo>
                    <a:pt x="40" y="74"/>
                  </a:lnTo>
                  <a:lnTo>
                    <a:pt x="38" y="70"/>
                  </a:lnTo>
                  <a:lnTo>
                    <a:pt x="39" y="69"/>
                  </a:lnTo>
                  <a:lnTo>
                    <a:pt x="44" y="70"/>
                  </a:lnTo>
                  <a:lnTo>
                    <a:pt x="47" y="70"/>
                  </a:lnTo>
                  <a:lnTo>
                    <a:pt x="48" y="67"/>
                  </a:lnTo>
                  <a:lnTo>
                    <a:pt x="53" y="59"/>
                  </a:lnTo>
                  <a:lnTo>
                    <a:pt x="56" y="57"/>
                  </a:lnTo>
                  <a:lnTo>
                    <a:pt x="61" y="57"/>
                  </a:lnTo>
                  <a:lnTo>
                    <a:pt x="66" y="51"/>
                  </a:lnTo>
                  <a:lnTo>
                    <a:pt x="77" y="48"/>
                  </a:lnTo>
                  <a:lnTo>
                    <a:pt x="83" y="45"/>
                  </a:lnTo>
                  <a:lnTo>
                    <a:pt x="83" y="38"/>
                  </a:lnTo>
                  <a:lnTo>
                    <a:pt x="81" y="22"/>
                  </a:lnTo>
                  <a:lnTo>
                    <a:pt x="80" y="20"/>
                  </a:lnTo>
                  <a:lnTo>
                    <a:pt x="75" y="16"/>
                  </a:lnTo>
                  <a:lnTo>
                    <a:pt x="71" y="9"/>
                  </a:lnTo>
                  <a:lnTo>
                    <a:pt x="67" y="5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grpSp>
          <p:nvGrpSpPr>
            <p:cNvPr id="96" name="Group 135"/>
            <p:cNvGrpSpPr>
              <a:grpSpLocks noChangeAspect="1"/>
            </p:cNvGrpSpPr>
            <p:nvPr/>
          </p:nvGrpSpPr>
          <p:grpSpPr bwMode="gray">
            <a:xfrm>
              <a:off x="5123106" y="3440706"/>
              <a:ext cx="954967" cy="863682"/>
              <a:chOff x="2802" y="1979"/>
              <a:chExt cx="408" cy="369"/>
            </a:xfrm>
            <a:grpFill/>
          </p:grpSpPr>
          <p:sp>
            <p:nvSpPr>
              <p:cNvPr id="284" name="Lebanon"/>
              <p:cNvSpPr>
                <a:spLocks noChangeAspect="1"/>
              </p:cNvSpPr>
              <p:nvPr>
                <p:custDataLst>
                  <p:tags r:id="rId266"/>
                </p:custDataLst>
              </p:nvPr>
            </p:nvSpPr>
            <p:spPr bwMode="gray">
              <a:xfrm>
                <a:off x="2899" y="2082"/>
                <a:ext cx="19" cy="23"/>
              </a:xfrm>
              <a:custGeom>
                <a:avLst/>
                <a:gdLst/>
                <a:ahLst/>
                <a:cxnLst>
                  <a:cxn ang="0">
                    <a:pos x="39" y="96"/>
                  </a:cxn>
                  <a:cxn ang="0">
                    <a:pos x="45" y="93"/>
                  </a:cxn>
                  <a:cxn ang="0">
                    <a:pos x="55" y="83"/>
                  </a:cxn>
                  <a:cxn ang="0">
                    <a:pos x="58" y="78"/>
                  </a:cxn>
                  <a:cxn ang="0">
                    <a:pos x="53" y="75"/>
                  </a:cxn>
                  <a:cxn ang="0">
                    <a:pos x="58" y="68"/>
                  </a:cxn>
                  <a:cxn ang="0">
                    <a:pos x="72" y="62"/>
                  </a:cxn>
                  <a:cxn ang="0">
                    <a:pos x="79" y="62"/>
                  </a:cxn>
                  <a:cxn ang="0">
                    <a:pos x="77" y="59"/>
                  </a:cxn>
                  <a:cxn ang="0">
                    <a:pos x="74" y="53"/>
                  </a:cxn>
                  <a:cxn ang="0">
                    <a:pos x="77" y="48"/>
                  </a:cxn>
                  <a:cxn ang="0">
                    <a:pos x="87" y="42"/>
                  </a:cxn>
                  <a:cxn ang="0">
                    <a:pos x="91" y="38"/>
                  </a:cxn>
                  <a:cxn ang="0">
                    <a:pos x="91" y="34"/>
                  </a:cxn>
                  <a:cxn ang="0">
                    <a:pos x="88" y="25"/>
                  </a:cxn>
                  <a:cxn ang="0">
                    <a:pos x="85" y="19"/>
                  </a:cxn>
                  <a:cxn ang="0">
                    <a:pos x="77" y="15"/>
                  </a:cxn>
                  <a:cxn ang="0">
                    <a:pos x="81" y="10"/>
                  </a:cxn>
                  <a:cxn ang="0">
                    <a:pos x="85" y="9"/>
                  </a:cxn>
                  <a:cxn ang="0">
                    <a:pos x="84" y="4"/>
                  </a:cxn>
                  <a:cxn ang="0">
                    <a:pos x="77" y="0"/>
                  </a:cxn>
                  <a:cxn ang="0">
                    <a:pos x="72" y="4"/>
                  </a:cxn>
                  <a:cxn ang="0">
                    <a:pos x="58" y="14"/>
                  </a:cxn>
                  <a:cxn ang="0">
                    <a:pos x="41" y="29"/>
                  </a:cxn>
                  <a:cxn ang="0">
                    <a:pos x="27" y="54"/>
                  </a:cxn>
                  <a:cxn ang="0">
                    <a:pos x="25" y="58"/>
                  </a:cxn>
                  <a:cxn ang="0">
                    <a:pos x="17" y="73"/>
                  </a:cxn>
                  <a:cxn ang="0">
                    <a:pos x="11" y="85"/>
                  </a:cxn>
                  <a:cxn ang="0">
                    <a:pos x="1" y="106"/>
                  </a:cxn>
                  <a:cxn ang="0">
                    <a:pos x="2" y="113"/>
                  </a:cxn>
                  <a:cxn ang="0">
                    <a:pos x="16" y="116"/>
                  </a:cxn>
                  <a:cxn ang="0">
                    <a:pos x="21" y="113"/>
                  </a:cxn>
                  <a:cxn ang="0">
                    <a:pos x="27" y="101"/>
                  </a:cxn>
                  <a:cxn ang="0">
                    <a:pos x="31" y="100"/>
                  </a:cxn>
                </a:cxnLst>
                <a:rect l="0" t="0" r="r" b="b"/>
                <a:pathLst>
                  <a:path w="95" h="116">
                    <a:moveTo>
                      <a:pt x="32" y="102"/>
                    </a:moveTo>
                    <a:lnTo>
                      <a:pt x="39" y="96"/>
                    </a:lnTo>
                    <a:lnTo>
                      <a:pt x="44" y="95"/>
                    </a:lnTo>
                    <a:lnTo>
                      <a:pt x="45" y="93"/>
                    </a:lnTo>
                    <a:lnTo>
                      <a:pt x="52" y="88"/>
                    </a:lnTo>
                    <a:lnTo>
                      <a:pt x="55" y="83"/>
                    </a:lnTo>
                    <a:lnTo>
                      <a:pt x="58" y="83"/>
                    </a:lnTo>
                    <a:lnTo>
                      <a:pt x="58" y="78"/>
                    </a:lnTo>
                    <a:lnTo>
                      <a:pt x="53" y="75"/>
                    </a:lnTo>
                    <a:lnTo>
                      <a:pt x="53" y="75"/>
                    </a:lnTo>
                    <a:lnTo>
                      <a:pt x="55" y="69"/>
                    </a:lnTo>
                    <a:lnTo>
                      <a:pt x="58" y="68"/>
                    </a:lnTo>
                    <a:lnTo>
                      <a:pt x="59" y="63"/>
                    </a:lnTo>
                    <a:lnTo>
                      <a:pt x="72" y="62"/>
                    </a:lnTo>
                    <a:lnTo>
                      <a:pt x="77" y="63"/>
                    </a:lnTo>
                    <a:lnTo>
                      <a:pt x="79" y="62"/>
                    </a:lnTo>
                    <a:lnTo>
                      <a:pt x="80" y="62"/>
                    </a:lnTo>
                    <a:lnTo>
                      <a:pt x="77" y="59"/>
                    </a:lnTo>
                    <a:lnTo>
                      <a:pt x="72" y="56"/>
                    </a:lnTo>
                    <a:lnTo>
                      <a:pt x="74" y="53"/>
                    </a:lnTo>
                    <a:lnTo>
                      <a:pt x="77" y="52"/>
                    </a:lnTo>
                    <a:lnTo>
                      <a:pt x="77" y="48"/>
                    </a:lnTo>
                    <a:lnTo>
                      <a:pt x="82" y="47"/>
                    </a:lnTo>
                    <a:lnTo>
                      <a:pt x="87" y="42"/>
                    </a:lnTo>
                    <a:lnTo>
                      <a:pt x="90" y="42"/>
                    </a:lnTo>
                    <a:lnTo>
                      <a:pt x="91" y="38"/>
                    </a:lnTo>
                    <a:lnTo>
                      <a:pt x="95" y="36"/>
                    </a:lnTo>
                    <a:lnTo>
                      <a:pt x="91" y="34"/>
                    </a:lnTo>
                    <a:lnTo>
                      <a:pt x="92" y="30"/>
                    </a:lnTo>
                    <a:lnTo>
                      <a:pt x="88" y="25"/>
                    </a:lnTo>
                    <a:lnTo>
                      <a:pt x="90" y="21"/>
                    </a:lnTo>
                    <a:lnTo>
                      <a:pt x="85" y="19"/>
                    </a:lnTo>
                    <a:lnTo>
                      <a:pt x="84" y="15"/>
                    </a:lnTo>
                    <a:lnTo>
                      <a:pt x="77" y="15"/>
                    </a:lnTo>
                    <a:lnTo>
                      <a:pt x="77" y="13"/>
                    </a:lnTo>
                    <a:lnTo>
                      <a:pt x="81" y="10"/>
                    </a:lnTo>
                    <a:lnTo>
                      <a:pt x="81" y="9"/>
                    </a:lnTo>
                    <a:lnTo>
                      <a:pt x="85" y="9"/>
                    </a:lnTo>
                    <a:lnTo>
                      <a:pt x="85" y="7"/>
                    </a:lnTo>
                    <a:lnTo>
                      <a:pt x="84" y="4"/>
                    </a:lnTo>
                    <a:lnTo>
                      <a:pt x="79" y="4"/>
                    </a:lnTo>
                    <a:lnTo>
                      <a:pt x="77" y="0"/>
                    </a:lnTo>
                    <a:lnTo>
                      <a:pt x="75" y="0"/>
                    </a:lnTo>
                    <a:lnTo>
                      <a:pt x="72" y="4"/>
                    </a:lnTo>
                    <a:lnTo>
                      <a:pt x="55" y="4"/>
                    </a:lnTo>
                    <a:lnTo>
                      <a:pt x="58" y="14"/>
                    </a:lnTo>
                    <a:lnTo>
                      <a:pt x="48" y="21"/>
                    </a:lnTo>
                    <a:lnTo>
                      <a:pt x="41" y="29"/>
                    </a:lnTo>
                    <a:lnTo>
                      <a:pt x="33" y="53"/>
                    </a:lnTo>
                    <a:lnTo>
                      <a:pt x="27" y="54"/>
                    </a:lnTo>
                    <a:lnTo>
                      <a:pt x="27" y="58"/>
                    </a:lnTo>
                    <a:lnTo>
                      <a:pt x="25" y="58"/>
                    </a:lnTo>
                    <a:lnTo>
                      <a:pt x="22" y="63"/>
                    </a:lnTo>
                    <a:lnTo>
                      <a:pt x="17" y="73"/>
                    </a:lnTo>
                    <a:lnTo>
                      <a:pt x="16" y="77"/>
                    </a:lnTo>
                    <a:lnTo>
                      <a:pt x="11" y="85"/>
                    </a:lnTo>
                    <a:lnTo>
                      <a:pt x="6" y="99"/>
                    </a:lnTo>
                    <a:lnTo>
                      <a:pt x="1" y="106"/>
                    </a:lnTo>
                    <a:lnTo>
                      <a:pt x="0" y="111"/>
                    </a:lnTo>
                    <a:lnTo>
                      <a:pt x="2" y="113"/>
                    </a:lnTo>
                    <a:lnTo>
                      <a:pt x="14" y="112"/>
                    </a:lnTo>
                    <a:lnTo>
                      <a:pt x="16" y="116"/>
                    </a:lnTo>
                    <a:lnTo>
                      <a:pt x="18" y="116"/>
                    </a:lnTo>
                    <a:lnTo>
                      <a:pt x="21" y="113"/>
                    </a:lnTo>
                    <a:lnTo>
                      <a:pt x="26" y="115"/>
                    </a:lnTo>
                    <a:lnTo>
                      <a:pt x="27" y="101"/>
                    </a:lnTo>
                    <a:lnTo>
                      <a:pt x="29" y="99"/>
                    </a:lnTo>
                    <a:lnTo>
                      <a:pt x="31" y="100"/>
                    </a:lnTo>
                    <a:lnTo>
                      <a:pt x="32" y="10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5" name="Group 137"/>
              <p:cNvGrpSpPr>
                <a:grpSpLocks noChangeAspect="1"/>
              </p:cNvGrpSpPr>
              <p:nvPr/>
            </p:nvGrpSpPr>
            <p:grpSpPr bwMode="gray">
              <a:xfrm>
                <a:off x="2889" y="2101"/>
                <a:ext cx="17" cy="51"/>
                <a:chOff x="2889" y="2101"/>
                <a:chExt cx="17" cy="51"/>
              </a:xfrm>
              <a:grpFill/>
            </p:grpSpPr>
            <p:sp>
              <p:nvSpPr>
                <p:cNvPr id="306" name="Israel"/>
                <p:cNvSpPr>
                  <a:spLocks noChangeAspect="1"/>
                </p:cNvSpPr>
                <p:nvPr>
                  <p:custDataLst>
                    <p:tags r:id="rId284"/>
                  </p:custDataLst>
                </p:nvPr>
              </p:nvSpPr>
              <p:spPr bwMode="gray">
                <a:xfrm>
                  <a:off x="2897" y="2111"/>
                  <a:ext cx="8" cy="16"/>
                </a:xfrm>
                <a:custGeom>
                  <a:avLst/>
                  <a:gdLst/>
                  <a:ahLst/>
                  <a:cxnLst>
                    <a:cxn ang="0">
                      <a:pos x="30" y="66"/>
                    </a:cxn>
                    <a:cxn ang="0">
                      <a:pos x="32" y="64"/>
                    </a:cxn>
                    <a:cxn ang="0">
                      <a:pos x="33" y="55"/>
                    </a:cxn>
                    <a:cxn ang="0">
                      <a:pos x="36" y="49"/>
                    </a:cxn>
                    <a:cxn ang="0">
                      <a:pos x="33" y="40"/>
                    </a:cxn>
                    <a:cxn ang="0">
                      <a:pos x="35" y="29"/>
                    </a:cxn>
                    <a:cxn ang="0">
                      <a:pos x="36" y="21"/>
                    </a:cxn>
                    <a:cxn ang="0">
                      <a:pos x="37" y="12"/>
                    </a:cxn>
                    <a:cxn ang="0">
                      <a:pos x="37" y="10"/>
                    </a:cxn>
                    <a:cxn ang="0">
                      <a:pos x="37" y="10"/>
                    </a:cxn>
                    <a:cxn ang="0">
                      <a:pos x="33" y="10"/>
                    </a:cxn>
                    <a:cxn ang="0">
                      <a:pos x="30" y="7"/>
                    </a:cxn>
                    <a:cxn ang="0">
                      <a:pos x="28" y="0"/>
                    </a:cxn>
                    <a:cxn ang="0">
                      <a:pos x="24" y="1"/>
                    </a:cxn>
                    <a:cxn ang="0">
                      <a:pos x="16" y="0"/>
                    </a:cxn>
                    <a:cxn ang="0">
                      <a:pos x="12" y="1"/>
                    </a:cxn>
                    <a:cxn ang="0">
                      <a:pos x="10" y="3"/>
                    </a:cxn>
                    <a:cxn ang="0">
                      <a:pos x="10" y="13"/>
                    </a:cxn>
                    <a:cxn ang="0">
                      <a:pos x="4" y="19"/>
                    </a:cxn>
                    <a:cxn ang="0">
                      <a:pos x="4" y="34"/>
                    </a:cxn>
                    <a:cxn ang="0">
                      <a:pos x="6" y="39"/>
                    </a:cxn>
                    <a:cxn ang="0">
                      <a:pos x="5" y="45"/>
                    </a:cxn>
                    <a:cxn ang="0">
                      <a:pos x="15" y="44"/>
                    </a:cxn>
                    <a:cxn ang="0">
                      <a:pos x="19" y="45"/>
                    </a:cxn>
                    <a:cxn ang="0">
                      <a:pos x="19" y="48"/>
                    </a:cxn>
                    <a:cxn ang="0">
                      <a:pos x="17" y="49"/>
                    </a:cxn>
                    <a:cxn ang="0">
                      <a:pos x="11" y="50"/>
                    </a:cxn>
                    <a:cxn ang="0">
                      <a:pos x="8" y="53"/>
                    </a:cxn>
                    <a:cxn ang="0">
                      <a:pos x="6" y="56"/>
                    </a:cxn>
                    <a:cxn ang="0">
                      <a:pos x="4" y="65"/>
                    </a:cxn>
                    <a:cxn ang="0">
                      <a:pos x="0" y="69"/>
                    </a:cxn>
                    <a:cxn ang="0">
                      <a:pos x="0" y="75"/>
                    </a:cxn>
                    <a:cxn ang="0">
                      <a:pos x="4" y="80"/>
                    </a:cxn>
                    <a:cxn ang="0">
                      <a:pos x="4" y="76"/>
                    </a:cxn>
                    <a:cxn ang="0">
                      <a:pos x="16" y="75"/>
                    </a:cxn>
                    <a:cxn ang="0">
                      <a:pos x="26" y="66"/>
                    </a:cxn>
                    <a:cxn ang="0">
                      <a:pos x="30" y="66"/>
                    </a:cxn>
                  </a:cxnLst>
                  <a:rect l="0" t="0" r="r" b="b"/>
                  <a:pathLst>
                    <a:path w="37" h="80">
                      <a:moveTo>
                        <a:pt x="30" y="66"/>
                      </a:moveTo>
                      <a:lnTo>
                        <a:pt x="32" y="64"/>
                      </a:lnTo>
                      <a:lnTo>
                        <a:pt x="33" y="55"/>
                      </a:lnTo>
                      <a:lnTo>
                        <a:pt x="36" y="49"/>
                      </a:lnTo>
                      <a:lnTo>
                        <a:pt x="33" y="40"/>
                      </a:lnTo>
                      <a:lnTo>
                        <a:pt x="35" y="29"/>
                      </a:lnTo>
                      <a:lnTo>
                        <a:pt x="36" y="21"/>
                      </a:lnTo>
                      <a:lnTo>
                        <a:pt x="37" y="12"/>
                      </a:lnTo>
                      <a:lnTo>
                        <a:pt x="37" y="10"/>
                      </a:lnTo>
                      <a:lnTo>
                        <a:pt x="37" y="10"/>
                      </a:lnTo>
                      <a:lnTo>
                        <a:pt x="33" y="10"/>
                      </a:lnTo>
                      <a:lnTo>
                        <a:pt x="30" y="7"/>
                      </a:lnTo>
                      <a:lnTo>
                        <a:pt x="28" y="0"/>
                      </a:lnTo>
                      <a:lnTo>
                        <a:pt x="24" y="1"/>
                      </a:lnTo>
                      <a:lnTo>
                        <a:pt x="16" y="0"/>
                      </a:lnTo>
                      <a:lnTo>
                        <a:pt x="12" y="1"/>
                      </a:lnTo>
                      <a:lnTo>
                        <a:pt x="10" y="3"/>
                      </a:lnTo>
                      <a:lnTo>
                        <a:pt x="10" y="13"/>
                      </a:lnTo>
                      <a:lnTo>
                        <a:pt x="4" y="19"/>
                      </a:lnTo>
                      <a:lnTo>
                        <a:pt x="4" y="34"/>
                      </a:lnTo>
                      <a:lnTo>
                        <a:pt x="6" y="39"/>
                      </a:lnTo>
                      <a:lnTo>
                        <a:pt x="5" y="45"/>
                      </a:lnTo>
                      <a:lnTo>
                        <a:pt x="15" y="44"/>
                      </a:lnTo>
                      <a:lnTo>
                        <a:pt x="19" y="45"/>
                      </a:lnTo>
                      <a:lnTo>
                        <a:pt x="19" y="48"/>
                      </a:lnTo>
                      <a:lnTo>
                        <a:pt x="17" y="49"/>
                      </a:lnTo>
                      <a:lnTo>
                        <a:pt x="11" y="50"/>
                      </a:lnTo>
                      <a:lnTo>
                        <a:pt x="8" y="53"/>
                      </a:lnTo>
                      <a:lnTo>
                        <a:pt x="6" y="56"/>
                      </a:lnTo>
                      <a:lnTo>
                        <a:pt x="4" y="65"/>
                      </a:lnTo>
                      <a:lnTo>
                        <a:pt x="0" y="69"/>
                      </a:lnTo>
                      <a:lnTo>
                        <a:pt x="0" y="75"/>
                      </a:lnTo>
                      <a:lnTo>
                        <a:pt x="4" y="80"/>
                      </a:lnTo>
                      <a:lnTo>
                        <a:pt x="4" y="76"/>
                      </a:lnTo>
                      <a:lnTo>
                        <a:pt x="16" y="75"/>
                      </a:lnTo>
                      <a:lnTo>
                        <a:pt x="26" y="66"/>
                      </a:lnTo>
                      <a:lnTo>
                        <a:pt x="30" y="6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7" name="Israel"/>
                <p:cNvSpPr>
                  <a:spLocks noChangeAspect="1"/>
                </p:cNvSpPr>
                <p:nvPr>
                  <p:custDataLst>
                    <p:tags r:id="rId285"/>
                  </p:custDataLst>
                </p:nvPr>
              </p:nvSpPr>
              <p:spPr bwMode="gray">
                <a:xfrm>
                  <a:off x="2889" y="2124"/>
                  <a:ext cx="4" cy="5"/>
                </a:xfrm>
                <a:custGeom>
                  <a:avLst/>
                  <a:gdLst/>
                  <a:ahLst/>
                  <a:cxnLst>
                    <a:cxn ang="0">
                      <a:pos x="1" y="24"/>
                    </a:cxn>
                    <a:cxn ang="0">
                      <a:pos x="8" y="21"/>
                    </a:cxn>
                    <a:cxn ang="0">
                      <a:pos x="7" y="16"/>
                    </a:cxn>
                    <a:cxn ang="0">
                      <a:pos x="18" y="5"/>
                    </a:cxn>
                    <a:cxn ang="0">
                      <a:pos x="14" y="0"/>
                    </a:cxn>
                    <a:cxn ang="0">
                      <a:pos x="0" y="14"/>
                    </a:cxn>
                    <a:cxn ang="0">
                      <a:pos x="1" y="24"/>
                    </a:cxn>
                  </a:cxnLst>
                  <a:rect l="0" t="0" r="r" b="b"/>
                  <a:pathLst>
                    <a:path w="18" h="24">
                      <a:moveTo>
                        <a:pt x="1" y="24"/>
                      </a:moveTo>
                      <a:lnTo>
                        <a:pt x="8" y="21"/>
                      </a:lnTo>
                      <a:lnTo>
                        <a:pt x="7" y="16"/>
                      </a:lnTo>
                      <a:lnTo>
                        <a:pt x="18" y="5"/>
                      </a:lnTo>
                      <a:lnTo>
                        <a:pt x="14" y="0"/>
                      </a:lnTo>
                      <a:lnTo>
                        <a:pt x="0" y="14"/>
                      </a:lnTo>
                      <a:lnTo>
                        <a:pt x="1" y="2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8" name="Israel"/>
                <p:cNvSpPr>
                  <a:spLocks noChangeAspect="1"/>
                </p:cNvSpPr>
                <p:nvPr>
                  <p:custDataLst>
                    <p:tags r:id="rId286"/>
                  </p:custDataLst>
                </p:nvPr>
              </p:nvSpPr>
              <p:spPr bwMode="gray">
                <a:xfrm>
                  <a:off x="2890" y="2101"/>
                  <a:ext cx="16" cy="51"/>
                </a:xfrm>
                <a:custGeom>
                  <a:avLst/>
                  <a:gdLst/>
                  <a:ahLst/>
                  <a:cxnLst>
                    <a:cxn ang="0">
                      <a:pos x="45" y="242"/>
                    </a:cxn>
                    <a:cxn ang="0">
                      <a:pos x="55" y="178"/>
                    </a:cxn>
                    <a:cxn ang="0">
                      <a:pos x="70" y="140"/>
                    </a:cxn>
                    <a:cxn ang="0">
                      <a:pos x="71" y="119"/>
                    </a:cxn>
                    <a:cxn ang="0">
                      <a:pos x="65" y="115"/>
                    </a:cxn>
                    <a:cxn ang="0">
                      <a:pos x="43" y="125"/>
                    </a:cxn>
                    <a:cxn ang="0">
                      <a:pos x="39" y="124"/>
                    </a:cxn>
                    <a:cxn ang="0">
                      <a:pos x="43" y="114"/>
                    </a:cxn>
                    <a:cxn ang="0">
                      <a:pos x="47" y="102"/>
                    </a:cxn>
                    <a:cxn ang="0">
                      <a:pos x="56" y="98"/>
                    </a:cxn>
                    <a:cxn ang="0">
                      <a:pos x="58" y="94"/>
                    </a:cxn>
                    <a:cxn ang="0">
                      <a:pos x="44" y="94"/>
                    </a:cxn>
                    <a:cxn ang="0">
                      <a:pos x="43" y="83"/>
                    </a:cxn>
                    <a:cxn ang="0">
                      <a:pos x="49" y="62"/>
                    </a:cxn>
                    <a:cxn ang="0">
                      <a:pos x="51" y="50"/>
                    </a:cxn>
                    <a:cxn ang="0">
                      <a:pos x="63" y="50"/>
                    </a:cxn>
                    <a:cxn ang="0">
                      <a:pos x="69" y="56"/>
                    </a:cxn>
                    <a:cxn ang="0">
                      <a:pos x="76" y="59"/>
                    </a:cxn>
                    <a:cxn ang="0">
                      <a:pos x="81" y="33"/>
                    </a:cxn>
                    <a:cxn ang="0">
                      <a:pos x="80" y="22"/>
                    </a:cxn>
                    <a:cxn ang="0">
                      <a:pos x="81" y="13"/>
                    </a:cxn>
                    <a:cxn ang="0">
                      <a:pos x="80" y="1"/>
                    </a:cxn>
                    <a:cxn ang="0">
                      <a:pos x="76" y="2"/>
                    </a:cxn>
                    <a:cxn ang="0">
                      <a:pos x="70" y="14"/>
                    </a:cxn>
                    <a:cxn ang="0">
                      <a:pos x="65" y="17"/>
                    </a:cxn>
                    <a:cxn ang="0">
                      <a:pos x="51" y="14"/>
                    </a:cxn>
                    <a:cxn ang="0">
                      <a:pos x="47" y="17"/>
                    </a:cxn>
                    <a:cxn ang="0">
                      <a:pos x="39" y="41"/>
                    </a:cxn>
                    <a:cxn ang="0">
                      <a:pos x="29" y="80"/>
                    </a:cxn>
                    <a:cxn ang="0">
                      <a:pos x="13" y="113"/>
                    </a:cxn>
                    <a:cxn ang="0">
                      <a:pos x="6" y="129"/>
                    </a:cxn>
                    <a:cxn ang="0">
                      <a:pos x="0" y="137"/>
                    </a:cxn>
                    <a:cxn ang="0">
                      <a:pos x="4" y="148"/>
                    </a:cxn>
                    <a:cxn ang="0">
                      <a:pos x="39" y="251"/>
                    </a:cxn>
                  </a:cxnLst>
                  <a:rect l="0" t="0" r="r" b="b"/>
                  <a:pathLst>
                    <a:path w="81" h="251">
                      <a:moveTo>
                        <a:pt x="44" y="248"/>
                      </a:moveTo>
                      <a:lnTo>
                        <a:pt x="45" y="242"/>
                      </a:lnTo>
                      <a:lnTo>
                        <a:pt x="49" y="232"/>
                      </a:lnTo>
                      <a:lnTo>
                        <a:pt x="55" y="178"/>
                      </a:lnTo>
                      <a:lnTo>
                        <a:pt x="61" y="158"/>
                      </a:lnTo>
                      <a:lnTo>
                        <a:pt x="70" y="140"/>
                      </a:lnTo>
                      <a:lnTo>
                        <a:pt x="67" y="132"/>
                      </a:lnTo>
                      <a:lnTo>
                        <a:pt x="71" y="119"/>
                      </a:lnTo>
                      <a:lnTo>
                        <a:pt x="69" y="115"/>
                      </a:lnTo>
                      <a:lnTo>
                        <a:pt x="65" y="115"/>
                      </a:lnTo>
                      <a:lnTo>
                        <a:pt x="55" y="124"/>
                      </a:lnTo>
                      <a:lnTo>
                        <a:pt x="43" y="125"/>
                      </a:lnTo>
                      <a:lnTo>
                        <a:pt x="43" y="129"/>
                      </a:lnTo>
                      <a:lnTo>
                        <a:pt x="39" y="124"/>
                      </a:lnTo>
                      <a:lnTo>
                        <a:pt x="39" y="118"/>
                      </a:lnTo>
                      <a:lnTo>
                        <a:pt x="43" y="114"/>
                      </a:lnTo>
                      <a:lnTo>
                        <a:pt x="45" y="105"/>
                      </a:lnTo>
                      <a:lnTo>
                        <a:pt x="47" y="102"/>
                      </a:lnTo>
                      <a:lnTo>
                        <a:pt x="50" y="99"/>
                      </a:lnTo>
                      <a:lnTo>
                        <a:pt x="56" y="98"/>
                      </a:lnTo>
                      <a:lnTo>
                        <a:pt x="58" y="97"/>
                      </a:lnTo>
                      <a:lnTo>
                        <a:pt x="58" y="94"/>
                      </a:lnTo>
                      <a:lnTo>
                        <a:pt x="54" y="93"/>
                      </a:lnTo>
                      <a:lnTo>
                        <a:pt x="44" y="94"/>
                      </a:lnTo>
                      <a:lnTo>
                        <a:pt x="45" y="88"/>
                      </a:lnTo>
                      <a:lnTo>
                        <a:pt x="43" y="83"/>
                      </a:lnTo>
                      <a:lnTo>
                        <a:pt x="43" y="68"/>
                      </a:lnTo>
                      <a:lnTo>
                        <a:pt x="49" y="62"/>
                      </a:lnTo>
                      <a:lnTo>
                        <a:pt x="49" y="52"/>
                      </a:lnTo>
                      <a:lnTo>
                        <a:pt x="51" y="50"/>
                      </a:lnTo>
                      <a:lnTo>
                        <a:pt x="55" y="49"/>
                      </a:lnTo>
                      <a:lnTo>
                        <a:pt x="63" y="50"/>
                      </a:lnTo>
                      <a:lnTo>
                        <a:pt x="67" y="49"/>
                      </a:lnTo>
                      <a:lnTo>
                        <a:pt x="69" y="56"/>
                      </a:lnTo>
                      <a:lnTo>
                        <a:pt x="72" y="59"/>
                      </a:lnTo>
                      <a:lnTo>
                        <a:pt x="76" y="59"/>
                      </a:lnTo>
                      <a:lnTo>
                        <a:pt x="76" y="39"/>
                      </a:lnTo>
                      <a:lnTo>
                        <a:pt x="81" y="33"/>
                      </a:lnTo>
                      <a:lnTo>
                        <a:pt x="78" y="27"/>
                      </a:lnTo>
                      <a:lnTo>
                        <a:pt x="80" y="22"/>
                      </a:lnTo>
                      <a:lnTo>
                        <a:pt x="78" y="17"/>
                      </a:lnTo>
                      <a:lnTo>
                        <a:pt x="81" y="13"/>
                      </a:lnTo>
                      <a:lnTo>
                        <a:pt x="81" y="3"/>
                      </a:lnTo>
                      <a:lnTo>
                        <a:pt x="80" y="1"/>
                      </a:lnTo>
                      <a:lnTo>
                        <a:pt x="78" y="0"/>
                      </a:lnTo>
                      <a:lnTo>
                        <a:pt x="76" y="2"/>
                      </a:lnTo>
                      <a:lnTo>
                        <a:pt x="75" y="16"/>
                      </a:lnTo>
                      <a:lnTo>
                        <a:pt x="70" y="14"/>
                      </a:lnTo>
                      <a:lnTo>
                        <a:pt x="67" y="17"/>
                      </a:lnTo>
                      <a:lnTo>
                        <a:pt x="65" y="17"/>
                      </a:lnTo>
                      <a:lnTo>
                        <a:pt x="63" y="13"/>
                      </a:lnTo>
                      <a:lnTo>
                        <a:pt x="51" y="14"/>
                      </a:lnTo>
                      <a:lnTo>
                        <a:pt x="49" y="12"/>
                      </a:lnTo>
                      <a:lnTo>
                        <a:pt x="47" y="17"/>
                      </a:lnTo>
                      <a:lnTo>
                        <a:pt x="47" y="27"/>
                      </a:lnTo>
                      <a:lnTo>
                        <a:pt x="39" y="41"/>
                      </a:lnTo>
                      <a:lnTo>
                        <a:pt x="38" y="49"/>
                      </a:lnTo>
                      <a:lnTo>
                        <a:pt x="29" y="80"/>
                      </a:lnTo>
                      <a:lnTo>
                        <a:pt x="22" y="104"/>
                      </a:lnTo>
                      <a:lnTo>
                        <a:pt x="13" y="113"/>
                      </a:lnTo>
                      <a:lnTo>
                        <a:pt x="17" y="118"/>
                      </a:lnTo>
                      <a:lnTo>
                        <a:pt x="6" y="129"/>
                      </a:lnTo>
                      <a:lnTo>
                        <a:pt x="7" y="134"/>
                      </a:lnTo>
                      <a:lnTo>
                        <a:pt x="0" y="137"/>
                      </a:lnTo>
                      <a:lnTo>
                        <a:pt x="1" y="142"/>
                      </a:lnTo>
                      <a:lnTo>
                        <a:pt x="4" y="148"/>
                      </a:lnTo>
                      <a:lnTo>
                        <a:pt x="23" y="206"/>
                      </a:lnTo>
                      <a:lnTo>
                        <a:pt x="39" y="251"/>
                      </a:lnTo>
                      <a:lnTo>
                        <a:pt x="44" y="24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86" name="Kuwait"/>
              <p:cNvSpPr>
                <a:spLocks noChangeAspect="1"/>
              </p:cNvSpPr>
              <p:nvPr>
                <p:custDataLst>
                  <p:tags r:id="rId267"/>
                </p:custDataLst>
              </p:nvPr>
            </p:nvSpPr>
            <p:spPr bwMode="gray">
              <a:xfrm>
                <a:off x="3027" y="2143"/>
                <a:ext cx="19" cy="19"/>
              </a:xfrm>
              <a:custGeom>
                <a:avLst/>
                <a:gdLst/>
                <a:ahLst/>
                <a:cxnLst>
                  <a:cxn ang="0">
                    <a:pos x="96" y="95"/>
                  </a:cxn>
                  <a:cxn ang="0">
                    <a:pos x="94" y="84"/>
                  </a:cxn>
                  <a:cxn ang="0">
                    <a:pos x="90" y="81"/>
                  </a:cxn>
                  <a:cxn ang="0">
                    <a:pos x="86" y="73"/>
                  </a:cxn>
                  <a:cxn ang="0">
                    <a:pos x="81" y="52"/>
                  </a:cxn>
                  <a:cxn ang="0">
                    <a:pos x="73" y="48"/>
                  </a:cxn>
                  <a:cxn ang="0">
                    <a:pos x="62" y="47"/>
                  </a:cxn>
                  <a:cxn ang="0">
                    <a:pos x="64" y="42"/>
                  </a:cxn>
                  <a:cxn ang="0">
                    <a:pos x="67" y="39"/>
                  </a:cxn>
                  <a:cxn ang="0">
                    <a:pos x="73" y="36"/>
                  </a:cxn>
                  <a:cxn ang="0">
                    <a:pos x="85" y="33"/>
                  </a:cxn>
                  <a:cxn ang="0">
                    <a:pos x="92" y="26"/>
                  </a:cxn>
                  <a:cxn ang="0">
                    <a:pos x="92" y="22"/>
                  </a:cxn>
                  <a:cxn ang="0">
                    <a:pos x="90" y="18"/>
                  </a:cxn>
                  <a:cxn ang="0">
                    <a:pos x="79" y="11"/>
                  </a:cxn>
                  <a:cxn ang="0">
                    <a:pos x="78" y="6"/>
                  </a:cxn>
                  <a:cxn ang="0">
                    <a:pos x="79" y="5"/>
                  </a:cxn>
                  <a:cxn ang="0">
                    <a:pos x="67" y="1"/>
                  </a:cxn>
                  <a:cxn ang="0">
                    <a:pos x="53" y="0"/>
                  </a:cxn>
                  <a:cxn ang="0">
                    <a:pos x="38" y="6"/>
                  </a:cxn>
                  <a:cxn ang="0">
                    <a:pos x="26" y="23"/>
                  </a:cxn>
                  <a:cxn ang="0">
                    <a:pos x="16" y="43"/>
                  </a:cxn>
                  <a:cxn ang="0">
                    <a:pos x="0" y="59"/>
                  </a:cxn>
                  <a:cxn ang="0">
                    <a:pos x="4" y="61"/>
                  </a:cxn>
                  <a:cxn ang="0">
                    <a:pos x="26" y="65"/>
                  </a:cxn>
                  <a:cxn ang="0">
                    <a:pos x="46" y="73"/>
                  </a:cxn>
                  <a:cxn ang="0">
                    <a:pos x="53" y="80"/>
                  </a:cxn>
                  <a:cxn ang="0">
                    <a:pos x="63" y="95"/>
                  </a:cxn>
                  <a:cxn ang="0">
                    <a:pos x="96" y="95"/>
                  </a:cxn>
                </a:cxnLst>
                <a:rect l="0" t="0" r="r" b="b"/>
                <a:pathLst>
                  <a:path w="96" h="95">
                    <a:moveTo>
                      <a:pt x="96" y="95"/>
                    </a:moveTo>
                    <a:lnTo>
                      <a:pt x="94" y="84"/>
                    </a:lnTo>
                    <a:lnTo>
                      <a:pt x="90" y="81"/>
                    </a:lnTo>
                    <a:lnTo>
                      <a:pt x="86" y="73"/>
                    </a:lnTo>
                    <a:lnTo>
                      <a:pt x="81" y="52"/>
                    </a:lnTo>
                    <a:lnTo>
                      <a:pt x="73" y="48"/>
                    </a:lnTo>
                    <a:lnTo>
                      <a:pt x="62" y="47"/>
                    </a:lnTo>
                    <a:lnTo>
                      <a:pt x="64" y="42"/>
                    </a:lnTo>
                    <a:lnTo>
                      <a:pt x="67" y="39"/>
                    </a:lnTo>
                    <a:lnTo>
                      <a:pt x="73" y="36"/>
                    </a:lnTo>
                    <a:lnTo>
                      <a:pt x="85" y="33"/>
                    </a:lnTo>
                    <a:lnTo>
                      <a:pt x="92" y="26"/>
                    </a:lnTo>
                    <a:lnTo>
                      <a:pt x="92" y="22"/>
                    </a:lnTo>
                    <a:lnTo>
                      <a:pt x="90" y="18"/>
                    </a:lnTo>
                    <a:lnTo>
                      <a:pt x="79" y="11"/>
                    </a:lnTo>
                    <a:lnTo>
                      <a:pt x="78" y="6"/>
                    </a:lnTo>
                    <a:lnTo>
                      <a:pt x="79" y="5"/>
                    </a:lnTo>
                    <a:lnTo>
                      <a:pt x="67" y="1"/>
                    </a:lnTo>
                    <a:lnTo>
                      <a:pt x="53" y="0"/>
                    </a:lnTo>
                    <a:lnTo>
                      <a:pt x="38" y="6"/>
                    </a:lnTo>
                    <a:lnTo>
                      <a:pt x="26" y="23"/>
                    </a:lnTo>
                    <a:lnTo>
                      <a:pt x="16" y="43"/>
                    </a:lnTo>
                    <a:lnTo>
                      <a:pt x="0" y="59"/>
                    </a:lnTo>
                    <a:lnTo>
                      <a:pt x="4" y="61"/>
                    </a:lnTo>
                    <a:lnTo>
                      <a:pt x="26" y="65"/>
                    </a:lnTo>
                    <a:lnTo>
                      <a:pt x="46" y="73"/>
                    </a:lnTo>
                    <a:lnTo>
                      <a:pt x="53" y="80"/>
                    </a:lnTo>
                    <a:lnTo>
                      <a:pt x="63" y="95"/>
                    </a:lnTo>
                    <a:lnTo>
                      <a:pt x="96" y="9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7" name="Saudi Arabia"/>
              <p:cNvSpPr>
                <a:spLocks noChangeAspect="1"/>
              </p:cNvSpPr>
              <p:nvPr>
                <p:custDataLst>
                  <p:tags r:id="rId268"/>
                </p:custDataLst>
              </p:nvPr>
            </p:nvSpPr>
            <p:spPr bwMode="gray">
              <a:xfrm>
                <a:off x="2896" y="2116"/>
                <a:ext cx="231" cy="189"/>
              </a:xfrm>
              <a:custGeom>
                <a:avLst/>
                <a:gdLst/>
                <a:ahLst/>
                <a:cxnLst>
                  <a:cxn ang="0">
                    <a:pos x="9706" y="2910"/>
                  </a:cxn>
                  <a:cxn ang="0">
                    <a:pos x="10455" y="3296"/>
                  </a:cxn>
                  <a:cxn ang="0">
                    <a:pos x="10697" y="3824"/>
                  </a:cxn>
                  <a:cxn ang="0">
                    <a:pos x="11100" y="4189"/>
                  </a:cxn>
                  <a:cxn ang="0">
                    <a:pos x="11258" y="4460"/>
                  </a:cxn>
                  <a:cxn ang="0">
                    <a:pos x="11663" y="4798"/>
                  </a:cxn>
                  <a:cxn ang="0">
                    <a:pos x="11788" y="5234"/>
                  </a:cxn>
                  <a:cxn ang="0">
                    <a:pos x="11824" y="5695"/>
                  </a:cxn>
                  <a:cxn ang="0">
                    <a:pos x="12147" y="6336"/>
                  </a:cxn>
                  <a:cxn ang="0">
                    <a:pos x="12348" y="6619"/>
                  </a:cxn>
                  <a:cxn ang="0">
                    <a:pos x="13158" y="7915"/>
                  </a:cxn>
                  <a:cxn ang="0">
                    <a:pos x="15424" y="10363"/>
                  </a:cxn>
                  <a:cxn ang="0">
                    <a:pos x="10244" y="11935"/>
                  </a:cxn>
                  <a:cxn ang="0">
                    <a:pos x="9104" y="12745"/>
                  </a:cxn>
                  <a:cxn ang="0">
                    <a:pos x="7168" y="12457"/>
                  </a:cxn>
                  <a:cxn ang="0">
                    <a:pos x="6570" y="12466"/>
                  </a:cxn>
                  <a:cxn ang="0">
                    <a:pos x="6524" y="12554"/>
                  </a:cxn>
                  <a:cxn ang="0">
                    <a:pos x="6474" y="12661"/>
                  </a:cxn>
                  <a:cxn ang="0">
                    <a:pos x="6461" y="12671"/>
                  </a:cxn>
                  <a:cxn ang="0">
                    <a:pos x="6442" y="12664"/>
                  </a:cxn>
                  <a:cxn ang="0">
                    <a:pos x="6434" y="12672"/>
                  </a:cxn>
                  <a:cxn ang="0">
                    <a:pos x="6449" y="12718"/>
                  </a:cxn>
                  <a:cxn ang="0">
                    <a:pos x="6493" y="12822"/>
                  </a:cxn>
                  <a:cxn ang="0">
                    <a:pos x="6493" y="12849"/>
                  </a:cxn>
                  <a:cxn ang="0">
                    <a:pos x="6127" y="13229"/>
                  </a:cxn>
                  <a:cxn ang="0">
                    <a:pos x="5877" y="12675"/>
                  </a:cxn>
                  <a:cxn ang="0">
                    <a:pos x="5396" y="12043"/>
                  </a:cxn>
                  <a:cxn ang="0">
                    <a:pos x="4967" y="11398"/>
                  </a:cxn>
                  <a:cxn ang="0">
                    <a:pos x="4842" y="10911"/>
                  </a:cxn>
                  <a:cxn ang="0">
                    <a:pos x="4559" y="10532"/>
                  </a:cxn>
                  <a:cxn ang="0">
                    <a:pos x="4050" y="10087"/>
                  </a:cxn>
                  <a:cxn ang="0">
                    <a:pos x="3642" y="9870"/>
                  </a:cxn>
                  <a:cxn ang="0">
                    <a:pos x="3359" y="8893"/>
                  </a:cxn>
                  <a:cxn ang="0">
                    <a:pos x="3366" y="8593"/>
                  </a:cxn>
                  <a:cxn ang="0">
                    <a:pos x="3225" y="8044"/>
                  </a:cxn>
                  <a:cxn ang="0">
                    <a:pos x="3034" y="7550"/>
                  </a:cxn>
                  <a:cxn ang="0">
                    <a:pos x="2492" y="6909"/>
                  </a:cxn>
                  <a:cxn ang="0">
                    <a:pos x="2243" y="6803"/>
                  </a:cxn>
                  <a:cxn ang="0">
                    <a:pos x="2042" y="6580"/>
                  </a:cxn>
                  <a:cxn ang="0">
                    <a:pos x="1833" y="5901"/>
                  </a:cxn>
                  <a:cxn ang="0">
                    <a:pos x="1507" y="5504"/>
                  </a:cxn>
                  <a:cxn ang="0">
                    <a:pos x="1117" y="4757"/>
                  </a:cxn>
                  <a:cxn ang="0">
                    <a:pos x="724" y="4245"/>
                  </a:cxn>
                  <a:cxn ang="0">
                    <a:pos x="242" y="3599"/>
                  </a:cxn>
                  <a:cxn ang="0">
                    <a:pos x="0" y="3649"/>
                  </a:cxn>
                  <a:cxn ang="0">
                    <a:pos x="249" y="2682"/>
                  </a:cxn>
                  <a:cxn ang="0">
                    <a:pos x="1352" y="2467"/>
                  </a:cxn>
                  <a:cxn ang="0">
                    <a:pos x="2171" y="1850"/>
                  </a:cxn>
                  <a:cxn ang="0">
                    <a:pos x="1840" y="685"/>
                  </a:cxn>
                  <a:cxn ang="0">
                    <a:pos x="3424" y="0"/>
                  </a:cxn>
                  <a:cxn ang="0">
                    <a:pos x="6284" y="1324"/>
                  </a:cxn>
                  <a:cxn ang="0">
                    <a:pos x="6826" y="2203"/>
                  </a:cxn>
                </a:cxnLst>
                <a:rect l="0" t="0" r="r" b="b"/>
                <a:pathLst>
                  <a:path w="15957" h="13229">
                    <a:moveTo>
                      <a:pt x="9071" y="2723"/>
                    </a:moveTo>
                    <a:lnTo>
                      <a:pt x="9131" y="2757"/>
                    </a:lnTo>
                    <a:lnTo>
                      <a:pt x="9432" y="2810"/>
                    </a:lnTo>
                    <a:lnTo>
                      <a:pt x="9706" y="2910"/>
                    </a:lnTo>
                    <a:lnTo>
                      <a:pt x="9809" y="2999"/>
                    </a:lnTo>
                    <a:lnTo>
                      <a:pt x="9934" y="3216"/>
                    </a:lnTo>
                    <a:lnTo>
                      <a:pt x="10393" y="3219"/>
                    </a:lnTo>
                    <a:lnTo>
                      <a:pt x="10455" y="3296"/>
                    </a:lnTo>
                    <a:lnTo>
                      <a:pt x="10504" y="3434"/>
                    </a:lnTo>
                    <a:lnTo>
                      <a:pt x="10545" y="3497"/>
                    </a:lnTo>
                    <a:lnTo>
                      <a:pt x="10573" y="3599"/>
                    </a:lnTo>
                    <a:lnTo>
                      <a:pt x="10697" y="3824"/>
                    </a:lnTo>
                    <a:lnTo>
                      <a:pt x="10817" y="3869"/>
                    </a:lnTo>
                    <a:lnTo>
                      <a:pt x="10903" y="4039"/>
                    </a:lnTo>
                    <a:lnTo>
                      <a:pt x="11097" y="4175"/>
                    </a:lnTo>
                    <a:lnTo>
                      <a:pt x="11100" y="4189"/>
                    </a:lnTo>
                    <a:lnTo>
                      <a:pt x="11062" y="4232"/>
                    </a:lnTo>
                    <a:lnTo>
                      <a:pt x="11097" y="4290"/>
                    </a:lnTo>
                    <a:lnTo>
                      <a:pt x="11134" y="4426"/>
                    </a:lnTo>
                    <a:lnTo>
                      <a:pt x="11258" y="4460"/>
                    </a:lnTo>
                    <a:lnTo>
                      <a:pt x="11313" y="4512"/>
                    </a:lnTo>
                    <a:lnTo>
                      <a:pt x="11537" y="4658"/>
                    </a:lnTo>
                    <a:lnTo>
                      <a:pt x="11613" y="4723"/>
                    </a:lnTo>
                    <a:lnTo>
                      <a:pt x="11663" y="4798"/>
                    </a:lnTo>
                    <a:lnTo>
                      <a:pt x="11680" y="4839"/>
                    </a:lnTo>
                    <a:lnTo>
                      <a:pt x="11658" y="4977"/>
                    </a:lnTo>
                    <a:lnTo>
                      <a:pt x="11764" y="5127"/>
                    </a:lnTo>
                    <a:lnTo>
                      <a:pt x="11788" y="5234"/>
                    </a:lnTo>
                    <a:lnTo>
                      <a:pt x="11781" y="5294"/>
                    </a:lnTo>
                    <a:lnTo>
                      <a:pt x="11711" y="5381"/>
                    </a:lnTo>
                    <a:lnTo>
                      <a:pt x="11715" y="5546"/>
                    </a:lnTo>
                    <a:lnTo>
                      <a:pt x="11824" y="5695"/>
                    </a:lnTo>
                    <a:lnTo>
                      <a:pt x="12016" y="5908"/>
                    </a:lnTo>
                    <a:lnTo>
                      <a:pt x="12063" y="6177"/>
                    </a:lnTo>
                    <a:lnTo>
                      <a:pt x="12135" y="6264"/>
                    </a:lnTo>
                    <a:lnTo>
                      <a:pt x="12147" y="6336"/>
                    </a:lnTo>
                    <a:lnTo>
                      <a:pt x="12184" y="6371"/>
                    </a:lnTo>
                    <a:lnTo>
                      <a:pt x="12207" y="6448"/>
                    </a:lnTo>
                    <a:lnTo>
                      <a:pt x="12243" y="6448"/>
                    </a:lnTo>
                    <a:lnTo>
                      <a:pt x="12348" y="6619"/>
                    </a:lnTo>
                    <a:lnTo>
                      <a:pt x="12423" y="6638"/>
                    </a:lnTo>
                    <a:lnTo>
                      <a:pt x="12480" y="6842"/>
                    </a:lnTo>
                    <a:lnTo>
                      <a:pt x="12935" y="7241"/>
                    </a:lnTo>
                    <a:lnTo>
                      <a:pt x="13158" y="7915"/>
                    </a:lnTo>
                    <a:lnTo>
                      <a:pt x="15429" y="8331"/>
                    </a:lnTo>
                    <a:lnTo>
                      <a:pt x="15576" y="8167"/>
                    </a:lnTo>
                    <a:lnTo>
                      <a:pt x="15957" y="8740"/>
                    </a:lnTo>
                    <a:lnTo>
                      <a:pt x="15424" y="10363"/>
                    </a:lnTo>
                    <a:lnTo>
                      <a:pt x="13158" y="11166"/>
                    </a:lnTo>
                    <a:lnTo>
                      <a:pt x="11049" y="11512"/>
                    </a:lnTo>
                    <a:lnTo>
                      <a:pt x="10746" y="11729"/>
                    </a:lnTo>
                    <a:lnTo>
                      <a:pt x="10244" y="11935"/>
                    </a:lnTo>
                    <a:lnTo>
                      <a:pt x="9691" y="12918"/>
                    </a:lnTo>
                    <a:lnTo>
                      <a:pt x="9503" y="13060"/>
                    </a:lnTo>
                    <a:lnTo>
                      <a:pt x="9370" y="13076"/>
                    </a:lnTo>
                    <a:lnTo>
                      <a:pt x="9104" y="12745"/>
                    </a:lnTo>
                    <a:lnTo>
                      <a:pt x="8174" y="12657"/>
                    </a:lnTo>
                    <a:lnTo>
                      <a:pt x="8036" y="12551"/>
                    </a:lnTo>
                    <a:lnTo>
                      <a:pt x="7547" y="12502"/>
                    </a:lnTo>
                    <a:lnTo>
                      <a:pt x="7168" y="12457"/>
                    </a:lnTo>
                    <a:lnTo>
                      <a:pt x="6859" y="12543"/>
                    </a:lnTo>
                    <a:lnTo>
                      <a:pt x="6711" y="12286"/>
                    </a:lnTo>
                    <a:lnTo>
                      <a:pt x="6580" y="12452"/>
                    </a:lnTo>
                    <a:lnTo>
                      <a:pt x="6570" y="12466"/>
                    </a:lnTo>
                    <a:lnTo>
                      <a:pt x="6560" y="12481"/>
                    </a:lnTo>
                    <a:lnTo>
                      <a:pt x="6551" y="12499"/>
                    </a:lnTo>
                    <a:lnTo>
                      <a:pt x="6542" y="12517"/>
                    </a:lnTo>
                    <a:lnTo>
                      <a:pt x="6524" y="12554"/>
                    </a:lnTo>
                    <a:lnTo>
                      <a:pt x="6507" y="12592"/>
                    </a:lnTo>
                    <a:lnTo>
                      <a:pt x="6492" y="12625"/>
                    </a:lnTo>
                    <a:lnTo>
                      <a:pt x="6480" y="12652"/>
                    </a:lnTo>
                    <a:lnTo>
                      <a:pt x="6474" y="12661"/>
                    </a:lnTo>
                    <a:lnTo>
                      <a:pt x="6468" y="12668"/>
                    </a:lnTo>
                    <a:lnTo>
                      <a:pt x="6466" y="12670"/>
                    </a:lnTo>
                    <a:lnTo>
                      <a:pt x="6464" y="12671"/>
                    </a:lnTo>
                    <a:lnTo>
                      <a:pt x="6461" y="12671"/>
                    </a:lnTo>
                    <a:lnTo>
                      <a:pt x="6460" y="12670"/>
                    </a:lnTo>
                    <a:lnTo>
                      <a:pt x="6452" y="12667"/>
                    </a:lnTo>
                    <a:lnTo>
                      <a:pt x="6447" y="12665"/>
                    </a:lnTo>
                    <a:lnTo>
                      <a:pt x="6442" y="12664"/>
                    </a:lnTo>
                    <a:lnTo>
                      <a:pt x="6439" y="12665"/>
                    </a:lnTo>
                    <a:lnTo>
                      <a:pt x="6436" y="12666"/>
                    </a:lnTo>
                    <a:lnTo>
                      <a:pt x="6435" y="12669"/>
                    </a:lnTo>
                    <a:lnTo>
                      <a:pt x="6434" y="12672"/>
                    </a:lnTo>
                    <a:lnTo>
                      <a:pt x="6434" y="12676"/>
                    </a:lnTo>
                    <a:lnTo>
                      <a:pt x="6437" y="12688"/>
                    </a:lnTo>
                    <a:lnTo>
                      <a:pt x="6442" y="12702"/>
                    </a:lnTo>
                    <a:lnTo>
                      <a:pt x="6449" y="12718"/>
                    </a:lnTo>
                    <a:lnTo>
                      <a:pt x="6457" y="12735"/>
                    </a:lnTo>
                    <a:lnTo>
                      <a:pt x="6474" y="12773"/>
                    </a:lnTo>
                    <a:lnTo>
                      <a:pt x="6488" y="12807"/>
                    </a:lnTo>
                    <a:lnTo>
                      <a:pt x="6493" y="12822"/>
                    </a:lnTo>
                    <a:lnTo>
                      <a:pt x="6495" y="12835"/>
                    </a:lnTo>
                    <a:lnTo>
                      <a:pt x="6495" y="12841"/>
                    </a:lnTo>
                    <a:lnTo>
                      <a:pt x="6495" y="12845"/>
                    </a:lnTo>
                    <a:lnTo>
                      <a:pt x="6493" y="12849"/>
                    </a:lnTo>
                    <a:lnTo>
                      <a:pt x="6490" y="12851"/>
                    </a:lnTo>
                    <a:lnTo>
                      <a:pt x="6442" y="13138"/>
                    </a:lnTo>
                    <a:lnTo>
                      <a:pt x="6289" y="13180"/>
                    </a:lnTo>
                    <a:lnTo>
                      <a:pt x="6127" y="13229"/>
                    </a:lnTo>
                    <a:lnTo>
                      <a:pt x="6092" y="13137"/>
                    </a:lnTo>
                    <a:lnTo>
                      <a:pt x="6092" y="13002"/>
                    </a:lnTo>
                    <a:lnTo>
                      <a:pt x="5928" y="12707"/>
                    </a:lnTo>
                    <a:lnTo>
                      <a:pt x="5877" y="12675"/>
                    </a:lnTo>
                    <a:lnTo>
                      <a:pt x="5820" y="12590"/>
                    </a:lnTo>
                    <a:lnTo>
                      <a:pt x="5760" y="12346"/>
                    </a:lnTo>
                    <a:lnTo>
                      <a:pt x="5511" y="12104"/>
                    </a:lnTo>
                    <a:lnTo>
                      <a:pt x="5396" y="12043"/>
                    </a:lnTo>
                    <a:lnTo>
                      <a:pt x="5329" y="11966"/>
                    </a:lnTo>
                    <a:lnTo>
                      <a:pt x="5175" y="11749"/>
                    </a:lnTo>
                    <a:lnTo>
                      <a:pt x="5026" y="11439"/>
                    </a:lnTo>
                    <a:lnTo>
                      <a:pt x="4967" y="11398"/>
                    </a:lnTo>
                    <a:lnTo>
                      <a:pt x="4943" y="11357"/>
                    </a:lnTo>
                    <a:lnTo>
                      <a:pt x="4900" y="11197"/>
                    </a:lnTo>
                    <a:lnTo>
                      <a:pt x="4893" y="11035"/>
                    </a:lnTo>
                    <a:lnTo>
                      <a:pt x="4842" y="10911"/>
                    </a:lnTo>
                    <a:lnTo>
                      <a:pt x="4758" y="10766"/>
                    </a:lnTo>
                    <a:lnTo>
                      <a:pt x="4661" y="10672"/>
                    </a:lnTo>
                    <a:lnTo>
                      <a:pt x="4617" y="10581"/>
                    </a:lnTo>
                    <a:lnTo>
                      <a:pt x="4559" y="10532"/>
                    </a:lnTo>
                    <a:lnTo>
                      <a:pt x="4443" y="10363"/>
                    </a:lnTo>
                    <a:lnTo>
                      <a:pt x="4361" y="10288"/>
                    </a:lnTo>
                    <a:lnTo>
                      <a:pt x="4157" y="10146"/>
                    </a:lnTo>
                    <a:lnTo>
                      <a:pt x="4050" y="10087"/>
                    </a:lnTo>
                    <a:lnTo>
                      <a:pt x="4015" y="10102"/>
                    </a:lnTo>
                    <a:lnTo>
                      <a:pt x="3932" y="10071"/>
                    </a:lnTo>
                    <a:lnTo>
                      <a:pt x="3740" y="9952"/>
                    </a:lnTo>
                    <a:lnTo>
                      <a:pt x="3642" y="9870"/>
                    </a:lnTo>
                    <a:lnTo>
                      <a:pt x="3582" y="9793"/>
                    </a:lnTo>
                    <a:lnTo>
                      <a:pt x="3491" y="9608"/>
                    </a:lnTo>
                    <a:lnTo>
                      <a:pt x="3451" y="9466"/>
                    </a:lnTo>
                    <a:lnTo>
                      <a:pt x="3359" y="8893"/>
                    </a:lnTo>
                    <a:lnTo>
                      <a:pt x="3309" y="8803"/>
                    </a:lnTo>
                    <a:lnTo>
                      <a:pt x="3299" y="8728"/>
                    </a:lnTo>
                    <a:lnTo>
                      <a:pt x="3333" y="8694"/>
                    </a:lnTo>
                    <a:lnTo>
                      <a:pt x="3366" y="8593"/>
                    </a:lnTo>
                    <a:lnTo>
                      <a:pt x="3383" y="8406"/>
                    </a:lnTo>
                    <a:lnTo>
                      <a:pt x="3326" y="8203"/>
                    </a:lnTo>
                    <a:lnTo>
                      <a:pt x="3283" y="8114"/>
                    </a:lnTo>
                    <a:lnTo>
                      <a:pt x="3225" y="8044"/>
                    </a:lnTo>
                    <a:lnTo>
                      <a:pt x="3174" y="7927"/>
                    </a:lnTo>
                    <a:lnTo>
                      <a:pt x="3141" y="7785"/>
                    </a:lnTo>
                    <a:lnTo>
                      <a:pt x="3091" y="7700"/>
                    </a:lnTo>
                    <a:lnTo>
                      <a:pt x="3034" y="7550"/>
                    </a:lnTo>
                    <a:lnTo>
                      <a:pt x="2859" y="7241"/>
                    </a:lnTo>
                    <a:lnTo>
                      <a:pt x="2650" y="7038"/>
                    </a:lnTo>
                    <a:lnTo>
                      <a:pt x="2518" y="6946"/>
                    </a:lnTo>
                    <a:lnTo>
                      <a:pt x="2492" y="6909"/>
                    </a:lnTo>
                    <a:lnTo>
                      <a:pt x="2451" y="6902"/>
                    </a:lnTo>
                    <a:lnTo>
                      <a:pt x="2435" y="6861"/>
                    </a:lnTo>
                    <a:lnTo>
                      <a:pt x="2326" y="6803"/>
                    </a:lnTo>
                    <a:lnTo>
                      <a:pt x="2243" y="6803"/>
                    </a:lnTo>
                    <a:lnTo>
                      <a:pt x="2193" y="6818"/>
                    </a:lnTo>
                    <a:lnTo>
                      <a:pt x="2135" y="6791"/>
                    </a:lnTo>
                    <a:lnTo>
                      <a:pt x="2108" y="6692"/>
                    </a:lnTo>
                    <a:lnTo>
                      <a:pt x="2042" y="6580"/>
                    </a:lnTo>
                    <a:lnTo>
                      <a:pt x="1949" y="6472"/>
                    </a:lnTo>
                    <a:lnTo>
                      <a:pt x="1949" y="6336"/>
                    </a:lnTo>
                    <a:lnTo>
                      <a:pt x="1965" y="6312"/>
                    </a:lnTo>
                    <a:lnTo>
                      <a:pt x="1833" y="5901"/>
                    </a:lnTo>
                    <a:lnTo>
                      <a:pt x="1757" y="5789"/>
                    </a:lnTo>
                    <a:lnTo>
                      <a:pt x="1665" y="5616"/>
                    </a:lnTo>
                    <a:lnTo>
                      <a:pt x="1549" y="5562"/>
                    </a:lnTo>
                    <a:lnTo>
                      <a:pt x="1507" y="5504"/>
                    </a:lnTo>
                    <a:lnTo>
                      <a:pt x="1483" y="5405"/>
                    </a:lnTo>
                    <a:lnTo>
                      <a:pt x="1326" y="5202"/>
                    </a:lnTo>
                    <a:lnTo>
                      <a:pt x="1198" y="4866"/>
                    </a:lnTo>
                    <a:lnTo>
                      <a:pt x="1117" y="4757"/>
                    </a:lnTo>
                    <a:lnTo>
                      <a:pt x="1016" y="4682"/>
                    </a:lnTo>
                    <a:lnTo>
                      <a:pt x="841" y="4447"/>
                    </a:lnTo>
                    <a:lnTo>
                      <a:pt x="824" y="4372"/>
                    </a:lnTo>
                    <a:lnTo>
                      <a:pt x="724" y="4245"/>
                    </a:lnTo>
                    <a:lnTo>
                      <a:pt x="625" y="4019"/>
                    </a:lnTo>
                    <a:lnTo>
                      <a:pt x="434" y="3656"/>
                    </a:lnTo>
                    <a:lnTo>
                      <a:pt x="357" y="3599"/>
                    </a:lnTo>
                    <a:lnTo>
                      <a:pt x="242" y="3599"/>
                    </a:lnTo>
                    <a:lnTo>
                      <a:pt x="125" y="3581"/>
                    </a:lnTo>
                    <a:lnTo>
                      <a:pt x="101" y="3565"/>
                    </a:lnTo>
                    <a:lnTo>
                      <a:pt x="34" y="3581"/>
                    </a:lnTo>
                    <a:lnTo>
                      <a:pt x="0" y="3649"/>
                    </a:lnTo>
                    <a:lnTo>
                      <a:pt x="159" y="3246"/>
                    </a:lnTo>
                    <a:lnTo>
                      <a:pt x="168" y="2943"/>
                    </a:lnTo>
                    <a:lnTo>
                      <a:pt x="192" y="2825"/>
                    </a:lnTo>
                    <a:lnTo>
                      <a:pt x="249" y="2682"/>
                    </a:lnTo>
                    <a:lnTo>
                      <a:pt x="242" y="2477"/>
                    </a:lnTo>
                    <a:lnTo>
                      <a:pt x="276" y="2595"/>
                    </a:lnTo>
                    <a:lnTo>
                      <a:pt x="1117" y="2702"/>
                    </a:lnTo>
                    <a:lnTo>
                      <a:pt x="1352" y="2467"/>
                    </a:lnTo>
                    <a:lnTo>
                      <a:pt x="1366" y="2419"/>
                    </a:lnTo>
                    <a:lnTo>
                      <a:pt x="1567" y="2061"/>
                    </a:lnTo>
                    <a:lnTo>
                      <a:pt x="2145" y="1974"/>
                    </a:lnTo>
                    <a:lnTo>
                      <a:pt x="2171" y="1850"/>
                    </a:lnTo>
                    <a:lnTo>
                      <a:pt x="2255" y="1618"/>
                    </a:lnTo>
                    <a:lnTo>
                      <a:pt x="2560" y="1448"/>
                    </a:lnTo>
                    <a:lnTo>
                      <a:pt x="2569" y="1429"/>
                    </a:lnTo>
                    <a:lnTo>
                      <a:pt x="1840" y="685"/>
                    </a:lnTo>
                    <a:lnTo>
                      <a:pt x="1731" y="590"/>
                    </a:lnTo>
                    <a:lnTo>
                      <a:pt x="2281" y="464"/>
                    </a:lnTo>
                    <a:lnTo>
                      <a:pt x="3197" y="281"/>
                    </a:lnTo>
                    <a:lnTo>
                      <a:pt x="3424" y="0"/>
                    </a:lnTo>
                    <a:lnTo>
                      <a:pt x="4576" y="321"/>
                    </a:lnTo>
                    <a:lnTo>
                      <a:pt x="5434" y="970"/>
                    </a:lnTo>
                    <a:lnTo>
                      <a:pt x="6203" y="1265"/>
                    </a:lnTo>
                    <a:lnTo>
                      <a:pt x="6284" y="1324"/>
                    </a:lnTo>
                    <a:lnTo>
                      <a:pt x="6395" y="1591"/>
                    </a:lnTo>
                    <a:lnTo>
                      <a:pt x="6793" y="1625"/>
                    </a:lnTo>
                    <a:lnTo>
                      <a:pt x="6826" y="1659"/>
                    </a:lnTo>
                    <a:lnTo>
                      <a:pt x="6826" y="2203"/>
                    </a:lnTo>
                    <a:lnTo>
                      <a:pt x="6859" y="2247"/>
                    </a:lnTo>
                    <a:lnTo>
                      <a:pt x="7719" y="2641"/>
                    </a:lnTo>
                    <a:lnTo>
                      <a:pt x="9071" y="272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" name="Yemen"/>
              <p:cNvSpPr>
                <a:spLocks noChangeAspect="1"/>
              </p:cNvSpPr>
              <p:nvPr>
                <p:custDataLst>
                  <p:tags r:id="rId269"/>
                </p:custDataLst>
              </p:nvPr>
            </p:nvSpPr>
            <p:spPr bwMode="gray">
              <a:xfrm>
                <a:off x="2984" y="2276"/>
                <a:ext cx="114" cy="72"/>
              </a:xfrm>
              <a:custGeom>
                <a:avLst/>
                <a:gdLst/>
                <a:ahLst/>
                <a:cxnLst>
                  <a:cxn ang="0">
                    <a:pos x="14868" y="4199"/>
                  </a:cxn>
                  <a:cxn ang="0">
                    <a:pos x="14514" y="5031"/>
                  </a:cxn>
                  <a:cxn ang="0">
                    <a:pos x="14466" y="5374"/>
                  </a:cxn>
                  <a:cxn ang="0">
                    <a:pos x="14027" y="5466"/>
                  </a:cxn>
                  <a:cxn ang="0">
                    <a:pos x="13073" y="5967"/>
                  </a:cxn>
                  <a:cxn ang="0">
                    <a:pos x="12036" y="6264"/>
                  </a:cxn>
                  <a:cxn ang="0">
                    <a:pos x="10929" y="6593"/>
                  </a:cxn>
                  <a:cxn ang="0">
                    <a:pos x="9740" y="7051"/>
                  </a:cxn>
                  <a:cxn ang="0">
                    <a:pos x="9205" y="7739"/>
                  </a:cxn>
                  <a:cxn ang="0">
                    <a:pos x="8905" y="7936"/>
                  </a:cxn>
                  <a:cxn ang="0">
                    <a:pos x="7539" y="8146"/>
                  </a:cxn>
                  <a:cxn ang="0">
                    <a:pos x="6784" y="8623"/>
                  </a:cxn>
                  <a:cxn ang="0">
                    <a:pos x="5672" y="8733"/>
                  </a:cxn>
                  <a:cxn ang="0">
                    <a:pos x="4779" y="8801"/>
                  </a:cxn>
                  <a:cxn ang="0">
                    <a:pos x="3686" y="9598"/>
                  </a:cxn>
                  <a:cxn ang="0">
                    <a:pos x="2368" y="9909"/>
                  </a:cxn>
                  <a:cxn ang="0">
                    <a:pos x="1652" y="9818"/>
                  </a:cxn>
                  <a:cxn ang="0">
                    <a:pos x="898" y="9087"/>
                  </a:cxn>
                  <a:cxn ang="0">
                    <a:pos x="716" y="7955"/>
                  </a:cxn>
                  <a:cxn ang="0">
                    <a:pos x="482" y="6794"/>
                  </a:cxn>
                  <a:cxn ang="0">
                    <a:pos x="320" y="6215"/>
                  </a:cxn>
                  <a:cxn ang="0">
                    <a:pos x="67" y="5752"/>
                  </a:cxn>
                  <a:cxn ang="0">
                    <a:pos x="86" y="5552"/>
                  </a:cxn>
                  <a:cxn ang="0">
                    <a:pos x="201" y="5007"/>
                  </a:cxn>
                  <a:cxn ang="0">
                    <a:pos x="153" y="4142"/>
                  </a:cxn>
                  <a:cxn ang="0">
                    <a:pos x="850" y="3308"/>
                  </a:cxn>
                  <a:cxn ang="0">
                    <a:pos x="854" y="3271"/>
                  </a:cxn>
                  <a:cxn ang="0">
                    <a:pos x="847" y="3234"/>
                  </a:cxn>
                  <a:cxn ang="0">
                    <a:pos x="825" y="3184"/>
                  </a:cxn>
                  <a:cxn ang="0">
                    <a:pos x="777" y="3110"/>
                  </a:cxn>
                  <a:cxn ang="0">
                    <a:pos x="741" y="3050"/>
                  </a:cxn>
                  <a:cxn ang="0">
                    <a:pos x="727" y="3014"/>
                  </a:cxn>
                  <a:cxn ang="0">
                    <a:pos x="722" y="2979"/>
                  </a:cxn>
                  <a:cxn ang="0">
                    <a:pos x="730" y="2945"/>
                  </a:cxn>
                  <a:cxn ang="0">
                    <a:pos x="1266" y="2241"/>
                  </a:cxn>
                  <a:cxn ang="0">
                    <a:pos x="3858" y="2689"/>
                  </a:cxn>
                  <a:cxn ang="0">
                    <a:pos x="6615" y="3737"/>
                  </a:cxn>
                  <a:cxn ang="0">
                    <a:pos x="6718" y="3700"/>
                  </a:cxn>
                  <a:cxn ang="0">
                    <a:pos x="6894" y="3652"/>
                  </a:cxn>
                  <a:cxn ang="0">
                    <a:pos x="6943" y="3637"/>
                  </a:cxn>
                  <a:cxn ang="0">
                    <a:pos x="6990" y="3616"/>
                  </a:cxn>
                  <a:cxn ang="0">
                    <a:pos x="7033" y="3591"/>
                  </a:cxn>
                  <a:cxn ang="0">
                    <a:pos x="7072" y="3559"/>
                  </a:cxn>
                  <a:cxn ang="0">
                    <a:pos x="7105" y="3519"/>
                  </a:cxn>
                  <a:cxn ang="0">
                    <a:pos x="9312" y="1068"/>
                  </a:cxn>
                  <a:cxn ang="0">
                    <a:pos x="10014" y="620"/>
                  </a:cxn>
                  <a:cxn ang="0">
                    <a:pos x="10264" y="564"/>
                  </a:cxn>
                  <a:cxn ang="0">
                    <a:pos x="10633" y="503"/>
                  </a:cxn>
                  <a:cxn ang="0">
                    <a:pos x="11090" y="440"/>
                  </a:cxn>
                  <a:cxn ang="0">
                    <a:pos x="11961" y="328"/>
                  </a:cxn>
                  <a:cxn ang="0">
                    <a:pos x="12844" y="217"/>
                  </a:cxn>
                  <a:cxn ang="0">
                    <a:pos x="13320" y="152"/>
                  </a:cxn>
                  <a:cxn ang="0">
                    <a:pos x="13716" y="91"/>
                  </a:cxn>
                  <a:cxn ang="0">
                    <a:pos x="14003" y="35"/>
                  </a:cxn>
                  <a:cxn ang="0">
                    <a:pos x="15675" y="3780"/>
                  </a:cxn>
                </a:cxnLst>
                <a:rect l="0" t="0" r="r" b="b"/>
                <a:pathLst>
                  <a:path w="15675" h="9942">
                    <a:moveTo>
                      <a:pt x="15675" y="3780"/>
                    </a:moveTo>
                    <a:lnTo>
                      <a:pt x="15169" y="3985"/>
                    </a:lnTo>
                    <a:lnTo>
                      <a:pt x="14868" y="4199"/>
                    </a:lnTo>
                    <a:lnTo>
                      <a:pt x="14648" y="4443"/>
                    </a:lnTo>
                    <a:lnTo>
                      <a:pt x="14447" y="4864"/>
                    </a:lnTo>
                    <a:lnTo>
                      <a:pt x="14514" y="5031"/>
                    </a:lnTo>
                    <a:lnTo>
                      <a:pt x="14543" y="5260"/>
                    </a:lnTo>
                    <a:lnTo>
                      <a:pt x="14538" y="5308"/>
                    </a:lnTo>
                    <a:lnTo>
                      <a:pt x="14466" y="5374"/>
                    </a:lnTo>
                    <a:lnTo>
                      <a:pt x="14385" y="5418"/>
                    </a:lnTo>
                    <a:lnTo>
                      <a:pt x="14190" y="5385"/>
                    </a:lnTo>
                    <a:lnTo>
                      <a:pt x="14027" y="5466"/>
                    </a:lnTo>
                    <a:lnTo>
                      <a:pt x="13627" y="5576"/>
                    </a:lnTo>
                    <a:lnTo>
                      <a:pt x="13364" y="5843"/>
                    </a:lnTo>
                    <a:lnTo>
                      <a:pt x="13073" y="5967"/>
                    </a:lnTo>
                    <a:lnTo>
                      <a:pt x="12652" y="6020"/>
                    </a:lnTo>
                    <a:lnTo>
                      <a:pt x="12404" y="6082"/>
                    </a:lnTo>
                    <a:lnTo>
                      <a:pt x="12036" y="6264"/>
                    </a:lnTo>
                    <a:lnTo>
                      <a:pt x="11764" y="6336"/>
                    </a:lnTo>
                    <a:lnTo>
                      <a:pt x="11211" y="6574"/>
                    </a:lnTo>
                    <a:lnTo>
                      <a:pt x="10929" y="6593"/>
                    </a:lnTo>
                    <a:lnTo>
                      <a:pt x="10470" y="6679"/>
                    </a:lnTo>
                    <a:lnTo>
                      <a:pt x="9988" y="6908"/>
                    </a:lnTo>
                    <a:lnTo>
                      <a:pt x="9740" y="7051"/>
                    </a:lnTo>
                    <a:lnTo>
                      <a:pt x="9645" y="7262"/>
                    </a:lnTo>
                    <a:lnTo>
                      <a:pt x="9521" y="7448"/>
                    </a:lnTo>
                    <a:lnTo>
                      <a:pt x="9205" y="7739"/>
                    </a:lnTo>
                    <a:lnTo>
                      <a:pt x="9072" y="7825"/>
                    </a:lnTo>
                    <a:lnTo>
                      <a:pt x="9020" y="7897"/>
                    </a:lnTo>
                    <a:lnTo>
                      <a:pt x="8905" y="7936"/>
                    </a:lnTo>
                    <a:lnTo>
                      <a:pt x="8198" y="7906"/>
                    </a:lnTo>
                    <a:lnTo>
                      <a:pt x="7845" y="7951"/>
                    </a:lnTo>
                    <a:lnTo>
                      <a:pt x="7539" y="8146"/>
                    </a:lnTo>
                    <a:lnTo>
                      <a:pt x="7391" y="8347"/>
                    </a:lnTo>
                    <a:lnTo>
                      <a:pt x="6962" y="8585"/>
                    </a:lnTo>
                    <a:lnTo>
                      <a:pt x="6784" y="8623"/>
                    </a:lnTo>
                    <a:lnTo>
                      <a:pt x="6259" y="8776"/>
                    </a:lnTo>
                    <a:lnTo>
                      <a:pt x="5978" y="8801"/>
                    </a:lnTo>
                    <a:lnTo>
                      <a:pt x="5672" y="8733"/>
                    </a:lnTo>
                    <a:lnTo>
                      <a:pt x="5353" y="8786"/>
                    </a:lnTo>
                    <a:lnTo>
                      <a:pt x="5109" y="8762"/>
                    </a:lnTo>
                    <a:lnTo>
                      <a:pt x="4779" y="8801"/>
                    </a:lnTo>
                    <a:lnTo>
                      <a:pt x="4497" y="8977"/>
                    </a:lnTo>
                    <a:lnTo>
                      <a:pt x="4292" y="9321"/>
                    </a:lnTo>
                    <a:lnTo>
                      <a:pt x="3686" y="9598"/>
                    </a:lnTo>
                    <a:lnTo>
                      <a:pt x="3405" y="9771"/>
                    </a:lnTo>
                    <a:lnTo>
                      <a:pt x="2769" y="9785"/>
                    </a:lnTo>
                    <a:lnTo>
                      <a:pt x="2368" y="9909"/>
                    </a:lnTo>
                    <a:lnTo>
                      <a:pt x="2149" y="9890"/>
                    </a:lnTo>
                    <a:lnTo>
                      <a:pt x="1934" y="9942"/>
                    </a:lnTo>
                    <a:lnTo>
                      <a:pt x="1652" y="9818"/>
                    </a:lnTo>
                    <a:lnTo>
                      <a:pt x="1309" y="9832"/>
                    </a:lnTo>
                    <a:lnTo>
                      <a:pt x="1180" y="9435"/>
                    </a:lnTo>
                    <a:lnTo>
                      <a:pt x="898" y="9087"/>
                    </a:lnTo>
                    <a:lnTo>
                      <a:pt x="898" y="8356"/>
                    </a:lnTo>
                    <a:lnTo>
                      <a:pt x="865" y="8108"/>
                    </a:lnTo>
                    <a:lnTo>
                      <a:pt x="716" y="7955"/>
                    </a:lnTo>
                    <a:lnTo>
                      <a:pt x="635" y="7758"/>
                    </a:lnTo>
                    <a:lnTo>
                      <a:pt x="535" y="7310"/>
                    </a:lnTo>
                    <a:lnTo>
                      <a:pt x="482" y="6794"/>
                    </a:lnTo>
                    <a:lnTo>
                      <a:pt x="401" y="6584"/>
                    </a:lnTo>
                    <a:lnTo>
                      <a:pt x="320" y="6450"/>
                    </a:lnTo>
                    <a:lnTo>
                      <a:pt x="320" y="6215"/>
                    </a:lnTo>
                    <a:lnTo>
                      <a:pt x="86" y="5886"/>
                    </a:lnTo>
                    <a:lnTo>
                      <a:pt x="0" y="5814"/>
                    </a:lnTo>
                    <a:lnTo>
                      <a:pt x="67" y="5752"/>
                    </a:lnTo>
                    <a:lnTo>
                      <a:pt x="134" y="5767"/>
                    </a:lnTo>
                    <a:lnTo>
                      <a:pt x="134" y="5666"/>
                    </a:lnTo>
                    <a:lnTo>
                      <a:pt x="86" y="5552"/>
                    </a:lnTo>
                    <a:lnTo>
                      <a:pt x="86" y="5303"/>
                    </a:lnTo>
                    <a:lnTo>
                      <a:pt x="34" y="5155"/>
                    </a:lnTo>
                    <a:lnTo>
                      <a:pt x="201" y="5007"/>
                    </a:lnTo>
                    <a:lnTo>
                      <a:pt x="234" y="4888"/>
                    </a:lnTo>
                    <a:lnTo>
                      <a:pt x="201" y="4438"/>
                    </a:lnTo>
                    <a:lnTo>
                      <a:pt x="153" y="4142"/>
                    </a:lnTo>
                    <a:lnTo>
                      <a:pt x="101" y="4075"/>
                    </a:lnTo>
                    <a:lnTo>
                      <a:pt x="710" y="3760"/>
                    </a:lnTo>
                    <a:lnTo>
                      <a:pt x="850" y="3308"/>
                    </a:lnTo>
                    <a:lnTo>
                      <a:pt x="853" y="3295"/>
                    </a:lnTo>
                    <a:lnTo>
                      <a:pt x="854" y="3283"/>
                    </a:lnTo>
                    <a:lnTo>
                      <a:pt x="854" y="3271"/>
                    </a:lnTo>
                    <a:lnTo>
                      <a:pt x="853" y="3258"/>
                    </a:lnTo>
                    <a:lnTo>
                      <a:pt x="850" y="3246"/>
                    </a:lnTo>
                    <a:lnTo>
                      <a:pt x="847" y="3234"/>
                    </a:lnTo>
                    <a:lnTo>
                      <a:pt x="843" y="3222"/>
                    </a:lnTo>
                    <a:lnTo>
                      <a:pt x="838" y="3209"/>
                    </a:lnTo>
                    <a:lnTo>
                      <a:pt x="825" y="3184"/>
                    </a:lnTo>
                    <a:lnTo>
                      <a:pt x="809" y="3159"/>
                    </a:lnTo>
                    <a:lnTo>
                      <a:pt x="793" y="3135"/>
                    </a:lnTo>
                    <a:lnTo>
                      <a:pt x="777" y="3110"/>
                    </a:lnTo>
                    <a:lnTo>
                      <a:pt x="761" y="3086"/>
                    </a:lnTo>
                    <a:lnTo>
                      <a:pt x="747" y="3061"/>
                    </a:lnTo>
                    <a:lnTo>
                      <a:pt x="741" y="3050"/>
                    </a:lnTo>
                    <a:lnTo>
                      <a:pt x="736" y="3038"/>
                    </a:lnTo>
                    <a:lnTo>
                      <a:pt x="731" y="3026"/>
                    </a:lnTo>
                    <a:lnTo>
                      <a:pt x="727" y="3014"/>
                    </a:lnTo>
                    <a:lnTo>
                      <a:pt x="724" y="3002"/>
                    </a:lnTo>
                    <a:lnTo>
                      <a:pt x="722" y="2991"/>
                    </a:lnTo>
                    <a:lnTo>
                      <a:pt x="722" y="2979"/>
                    </a:lnTo>
                    <a:lnTo>
                      <a:pt x="723" y="2967"/>
                    </a:lnTo>
                    <a:lnTo>
                      <a:pt x="725" y="2956"/>
                    </a:lnTo>
                    <a:lnTo>
                      <a:pt x="730" y="2945"/>
                    </a:lnTo>
                    <a:lnTo>
                      <a:pt x="735" y="2934"/>
                    </a:lnTo>
                    <a:lnTo>
                      <a:pt x="743" y="2922"/>
                    </a:lnTo>
                    <a:lnTo>
                      <a:pt x="1266" y="2241"/>
                    </a:lnTo>
                    <a:lnTo>
                      <a:pt x="1614" y="2657"/>
                    </a:lnTo>
                    <a:lnTo>
                      <a:pt x="2120" y="2602"/>
                    </a:lnTo>
                    <a:lnTo>
                      <a:pt x="3858" y="2689"/>
                    </a:lnTo>
                    <a:lnTo>
                      <a:pt x="4187" y="2967"/>
                    </a:lnTo>
                    <a:lnTo>
                      <a:pt x="6020" y="3083"/>
                    </a:lnTo>
                    <a:lnTo>
                      <a:pt x="6615" y="3737"/>
                    </a:lnTo>
                    <a:lnTo>
                      <a:pt x="6648" y="3723"/>
                    </a:lnTo>
                    <a:lnTo>
                      <a:pt x="6683" y="3710"/>
                    </a:lnTo>
                    <a:lnTo>
                      <a:pt x="6718" y="3700"/>
                    </a:lnTo>
                    <a:lnTo>
                      <a:pt x="6754" y="3690"/>
                    </a:lnTo>
                    <a:lnTo>
                      <a:pt x="6825" y="3671"/>
                    </a:lnTo>
                    <a:lnTo>
                      <a:pt x="6894" y="3652"/>
                    </a:lnTo>
                    <a:lnTo>
                      <a:pt x="6910" y="3648"/>
                    </a:lnTo>
                    <a:lnTo>
                      <a:pt x="6927" y="3642"/>
                    </a:lnTo>
                    <a:lnTo>
                      <a:pt x="6943" y="3637"/>
                    </a:lnTo>
                    <a:lnTo>
                      <a:pt x="6959" y="3630"/>
                    </a:lnTo>
                    <a:lnTo>
                      <a:pt x="6974" y="3624"/>
                    </a:lnTo>
                    <a:lnTo>
                      <a:pt x="6990" y="3616"/>
                    </a:lnTo>
                    <a:lnTo>
                      <a:pt x="7005" y="3609"/>
                    </a:lnTo>
                    <a:lnTo>
                      <a:pt x="7019" y="3600"/>
                    </a:lnTo>
                    <a:lnTo>
                      <a:pt x="7033" y="3591"/>
                    </a:lnTo>
                    <a:lnTo>
                      <a:pt x="7047" y="3582"/>
                    </a:lnTo>
                    <a:lnTo>
                      <a:pt x="7059" y="3571"/>
                    </a:lnTo>
                    <a:lnTo>
                      <a:pt x="7072" y="3559"/>
                    </a:lnTo>
                    <a:lnTo>
                      <a:pt x="7084" y="3547"/>
                    </a:lnTo>
                    <a:lnTo>
                      <a:pt x="7095" y="3534"/>
                    </a:lnTo>
                    <a:lnTo>
                      <a:pt x="7105" y="3519"/>
                    </a:lnTo>
                    <a:lnTo>
                      <a:pt x="7116" y="3504"/>
                    </a:lnTo>
                    <a:lnTo>
                      <a:pt x="8300" y="1543"/>
                    </a:lnTo>
                    <a:lnTo>
                      <a:pt x="9312" y="1068"/>
                    </a:lnTo>
                    <a:lnTo>
                      <a:pt x="9929" y="654"/>
                    </a:lnTo>
                    <a:lnTo>
                      <a:pt x="9962" y="638"/>
                    </a:lnTo>
                    <a:lnTo>
                      <a:pt x="10014" y="620"/>
                    </a:lnTo>
                    <a:lnTo>
                      <a:pt x="10082" y="602"/>
                    </a:lnTo>
                    <a:lnTo>
                      <a:pt x="10166" y="583"/>
                    </a:lnTo>
                    <a:lnTo>
                      <a:pt x="10264" y="564"/>
                    </a:lnTo>
                    <a:lnTo>
                      <a:pt x="10375" y="544"/>
                    </a:lnTo>
                    <a:lnTo>
                      <a:pt x="10498" y="524"/>
                    </a:lnTo>
                    <a:lnTo>
                      <a:pt x="10633" y="503"/>
                    </a:lnTo>
                    <a:lnTo>
                      <a:pt x="10777" y="483"/>
                    </a:lnTo>
                    <a:lnTo>
                      <a:pt x="10930" y="461"/>
                    </a:lnTo>
                    <a:lnTo>
                      <a:pt x="11090" y="440"/>
                    </a:lnTo>
                    <a:lnTo>
                      <a:pt x="11257" y="417"/>
                    </a:lnTo>
                    <a:lnTo>
                      <a:pt x="11603" y="373"/>
                    </a:lnTo>
                    <a:lnTo>
                      <a:pt x="11961" y="328"/>
                    </a:lnTo>
                    <a:lnTo>
                      <a:pt x="12321" y="284"/>
                    </a:lnTo>
                    <a:lnTo>
                      <a:pt x="12673" y="238"/>
                    </a:lnTo>
                    <a:lnTo>
                      <a:pt x="12844" y="217"/>
                    </a:lnTo>
                    <a:lnTo>
                      <a:pt x="13010" y="195"/>
                    </a:lnTo>
                    <a:lnTo>
                      <a:pt x="13168" y="174"/>
                    </a:lnTo>
                    <a:lnTo>
                      <a:pt x="13320" y="152"/>
                    </a:lnTo>
                    <a:lnTo>
                      <a:pt x="13462" y="131"/>
                    </a:lnTo>
                    <a:lnTo>
                      <a:pt x="13595" y="111"/>
                    </a:lnTo>
                    <a:lnTo>
                      <a:pt x="13716" y="91"/>
                    </a:lnTo>
                    <a:lnTo>
                      <a:pt x="13826" y="72"/>
                    </a:lnTo>
                    <a:lnTo>
                      <a:pt x="13921" y="53"/>
                    </a:lnTo>
                    <a:lnTo>
                      <a:pt x="14003" y="35"/>
                    </a:lnTo>
                    <a:lnTo>
                      <a:pt x="14069" y="17"/>
                    </a:lnTo>
                    <a:lnTo>
                      <a:pt x="14118" y="0"/>
                    </a:lnTo>
                    <a:lnTo>
                      <a:pt x="15675" y="378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" name="United Arab Emirates"/>
              <p:cNvSpPr>
                <a:spLocks noChangeAspect="1"/>
              </p:cNvSpPr>
              <p:nvPr>
                <p:custDataLst>
                  <p:tags r:id="rId270"/>
                </p:custDataLst>
              </p:nvPr>
            </p:nvSpPr>
            <p:spPr bwMode="gray">
              <a:xfrm>
                <a:off x="3104" y="2214"/>
                <a:ext cx="3" cy="2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7" y="9"/>
                  </a:cxn>
                  <a:cxn ang="0">
                    <a:pos x="10" y="6"/>
                  </a:cxn>
                  <a:cxn ang="0">
                    <a:pos x="12" y="9"/>
                  </a:cxn>
                  <a:cxn ang="0">
                    <a:pos x="16" y="5"/>
                  </a:cxn>
                  <a:cxn ang="0">
                    <a:pos x="14" y="4"/>
                  </a:cxn>
                  <a:cxn ang="0">
                    <a:pos x="11" y="4"/>
                  </a:cxn>
                  <a:cxn ang="0">
                    <a:pos x="10" y="1"/>
                  </a:cxn>
                  <a:cxn ang="0">
                    <a:pos x="7" y="0"/>
                  </a:cxn>
                  <a:cxn ang="0">
                    <a:pos x="3" y="1"/>
                  </a:cxn>
                  <a:cxn ang="0">
                    <a:pos x="0" y="8"/>
                  </a:cxn>
                </a:cxnLst>
                <a:rect l="0" t="0" r="r" b="b"/>
                <a:pathLst>
                  <a:path w="16" h="9">
                    <a:moveTo>
                      <a:pt x="0" y="8"/>
                    </a:moveTo>
                    <a:lnTo>
                      <a:pt x="7" y="9"/>
                    </a:lnTo>
                    <a:lnTo>
                      <a:pt x="10" y="6"/>
                    </a:lnTo>
                    <a:lnTo>
                      <a:pt x="12" y="9"/>
                    </a:lnTo>
                    <a:lnTo>
                      <a:pt x="16" y="5"/>
                    </a:lnTo>
                    <a:lnTo>
                      <a:pt x="14" y="4"/>
                    </a:lnTo>
                    <a:lnTo>
                      <a:pt x="11" y="4"/>
                    </a:lnTo>
                    <a:lnTo>
                      <a:pt x="10" y="1"/>
                    </a:lnTo>
                    <a:lnTo>
                      <a:pt x="7" y="0"/>
                    </a:lnTo>
                    <a:lnTo>
                      <a:pt x="3" y="1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90" name="Group 149"/>
              <p:cNvGrpSpPr>
                <a:grpSpLocks noChangeAspect="1"/>
              </p:cNvGrpSpPr>
              <p:nvPr/>
            </p:nvGrpSpPr>
            <p:grpSpPr bwMode="gray">
              <a:xfrm>
                <a:off x="3086" y="2189"/>
                <a:ext cx="85" cy="114"/>
                <a:chOff x="3086" y="2189"/>
                <a:chExt cx="85" cy="114"/>
              </a:xfrm>
              <a:grpFill/>
            </p:grpSpPr>
            <p:sp>
              <p:nvSpPr>
                <p:cNvPr id="304" name="Oman"/>
                <p:cNvSpPr>
                  <a:spLocks noChangeAspect="1"/>
                </p:cNvSpPr>
                <p:nvPr>
                  <p:custDataLst>
                    <p:tags r:id="rId282"/>
                  </p:custDataLst>
                </p:nvPr>
              </p:nvSpPr>
              <p:spPr bwMode="gray">
                <a:xfrm>
                  <a:off x="3130" y="2189"/>
                  <a:ext cx="4" cy="8"/>
                </a:xfrm>
                <a:custGeom>
                  <a:avLst/>
                  <a:gdLst/>
                  <a:ahLst/>
                  <a:cxnLst>
                    <a:cxn ang="0">
                      <a:pos x="0" y="15"/>
                    </a:cxn>
                    <a:cxn ang="0">
                      <a:pos x="1" y="19"/>
                    </a:cxn>
                    <a:cxn ang="0">
                      <a:pos x="3" y="25"/>
                    </a:cxn>
                    <a:cxn ang="0">
                      <a:pos x="2" y="27"/>
                    </a:cxn>
                    <a:cxn ang="0">
                      <a:pos x="3" y="31"/>
                    </a:cxn>
                    <a:cxn ang="0">
                      <a:pos x="1" y="36"/>
                    </a:cxn>
                    <a:cxn ang="0">
                      <a:pos x="3" y="37"/>
                    </a:cxn>
                    <a:cxn ang="0">
                      <a:pos x="11" y="40"/>
                    </a:cxn>
                    <a:cxn ang="0">
                      <a:pos x="12" y="36"/>
                    </a:cxn>
                    <a:cxn ang="0">
                      <a:pos x="17" y="27"/>
                    </a:cxn>
                    <a:cxn ang="0">
                      <a:pos x="17" y="18"/>
                    </a:cxn>
                    <a:cxn ang="0">
                      <a:pos x="15" y="15"/>
                    </a:cxn>
                    <a:cxn ang="0">
                      <a:pos x="15" y="11"/>
                    </a:cxn>
                    <a:cxn ang="0">
                      <a:pos x="18" y="9"/>
                    </a:cxn>
                    <a:cxn ang="0">
                      <a:pos x="19" y="4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7" y="4"/>
                    </a:cxn>
                    <a:cxn ang="0">
                      <a:pos x="0" y="15"/>
                    </a:cxn>
                  </a:cxnLst>
                  <a:rect l="0" t="0" r="r" b="b"/>
                  <a:pathLst>
                    <a:path w="19" h="40">
                      <a:moveTo>
                        <a:pt x="0" y="15"/>
                      </a:moveTo>
                      <a:lnTo>
                        <a:pt x="1" y="19"/>
                      </a:lnTo>
                      <a:lnTo>
                        <a:pt x="3" y="25"/>
                      </a:lnTo>
                      <a:lnTo>
                        <a:pt x="2" y="27"/>
                      </a:lnTo>
                      <a:lnTo>
                        <a:pt x="3" y="31"/>
                      </a:lnTo>
                      <a:lnTo>
                        <a:pt x="1" y="36"/>
                      </a:lnTo>
                      <a:lnTo>
                        <a:pt x="3" y="37"/>
                      </a:lnTo>
                      <a:lnTo>
                        <a:pt x="11" y="40"/>
                      </a:lnTo>
                      <a:lnTo>
                        <a:pt x="12" y="36"/>
                      </a:lnTo>
                      <a:lnTo>
                        <a:pt x="17" y="27"/>
                      </a:lnTo>
                      <a:lnTo>
                        <a:pt x="17" y="18"/>
                      </a:lnTo>
                      <a:lnTo>
                        <a:pt x="15" y="15"/>
                      </a:lnTo>
                      <a:lnTo>
                        <a:pt x="15" y="11"/>
                      </a:lnTo>
                      <a:lnTo>
                        <a:pt x="18" y="9"/>
                      </a:lnTo>
                      <a:lnTo>
                        <a:pt x="19" y="4"/>
                      </a:lnTo>
                      <a:lnTo>
                        <a:pt x="15" y="0"/>
                      </a:lnTo>
                      <a:lnTo>
                        <a:pt x="9" y="4"/>
                      </a:lnTo>
                      <a:lnTo>
                        <a:pt x="7" y="4"/>
                      </a:lnTo>
                      <a:lnTo>
                        <a:pt x="0" y="1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5" name="Oman"/>
                <p:cNvSpPr>
                  <a:spLocks noChangeAspect="1"/>
                </p:cNvSpPr>
                <p:nvPr>
                  <p:custDataLst>
                    <p:tags r:id="rId283"/>
                  </p:custDataLst>
                </p:nvPr>
              </p:nvSpPr>
              <p:spPr bwMode="gray">
                <a:xfrm>
                  <a:off x="3086" y="2207"/>
                  <a:ext cx="85" cy="96"/>
                </a:xfrm>
                <a:custGeom>
                  <a:avLst/>
                  <a:gdLst/>
                  <a:ahLst/>
                  <a:cxnLst>
                    <a:cxn ang="0">
                      <a:pos x="203" y="0"/>
                    </a:cxn>
                    <a:cxn ang="0">
                      <a:pos x="187" y="59"/>
                    </a:cxn>
                    <a:cxn ang="0">
                      <a:pos x="203" y="170"/>
                    </a:cxn>
                    <a:cxn ang="0">
                      <a:pos x="0" y="345"/>
                    </a:cxn>
                    <a:cxn ang="0">
                      <a:pos x="83" y="474"/>
                    </a:cxn>
                    <a:cxn ang="0">
                      <a:pos x="107" y="466"/>
                    </a:cxn>
                    <a:cxn ang="0">
                      <a:pos x="137" y="459"/>
                    </a:cxn>
                    <a:cxn ang="0">
                      <a:pos x="154" y="464"/>
                    </a:cxn>
                    <a:cxn ang="0">
                      <a:pos x="165" y="460"/>
                    </a:cxn>
                    <a:cxn ang="0">
                      <a:pos x="179" y="447"/>
                    </a:cxn>
                    <a:cxn ang="0">
                      <a:pos x="180" y="436"/>
                    </a:cxn>
                    <a:cxn ang="0">
                      <a:pos x="186" y="425"/>
                    </a:cxn>
                    <a:cxn ang="0">
                      <a:pos x="224" y="407"/>
                    </a:cxn>
                    <a:cxn ang="0">
                      <a:pos x="241" y="404"/>
                    </a:cxn>
                    <a:cxn ang="0">
                      <a:pos x="253" y="382"/>
                    </a:cxn>
                    <a:cxn ang="0">
                      <a:pos x="262" y="361"/>
                    </a:cxn>
                    <a:cxn ang="0">
                      <a:pos x="278" y="352"/>
                    </a:cxn>
                    <a:cxn ang="0">
                      <a:pos x="289" y="348"/>
                    </a:cxn>
                    <a:cxn ang="0">
                      <a:pos x="309" y="346"/>
                    </a:cxn>
                    <a:cxn ang="0">
                      <a:pos x="319" y="337"/>
                    </a:cxn>
                    <a:cxn ang="0">
                      <a:pos x="314" y="325"/>
                    </a:cxn>
                    <a:cxn ang="0">
                      <a:pos x="312" y="303"/>
                    </a:cxn>
                    <a:cxn ang="0">
                      <a:pos x="314" y="285"/>
                    </a:cxn>
                    <a:cxn ang="0">
                      <a:pos x="335" y="256"/>
                    </a:cxn>
                    <a:cxn ang="0">
                      <a:pos x="342" y="255"/>
                    </a:cxn>
                    <a:cxn ang="0">
                      <a:pos x="347" y="262"/>
                    </a:cxn>
                    <a:cxn ang="0">
                      <a:pos x="355" y="261"/>
                    </a:cxn>
                    <a:cxn ang="0">
                      <a:pos x="369" y="239"/>
                    </a:cxn>
                    <a:cxn ang="0">
                      <a:pos x="382" y="216"/>
                    </a:cxn>
                    <a:cxn ang="0">
                      <a:pos x="416" y="178"/>
                    </a:cxn>
                    <a:cxn ang="0">
                      <a:pos x="422" y="161"/>
                    </a:cxn>
                    <a:cxn ang="0">
                      <a:pos x="427" y="143"/>
                    </a:cxn>
                    <a:cxn ang="0">
                      <a:pos x="419" y="137"/>
                    </a:cxn>
                    <a:cxn ang="0">
                      <a:pos x="406" y="131"/>
                    </a:cxn>
                    <a:cxn ang="0">
                      <a:pos x="391" y="111"/>
                    </a:cxn>
                    <a:cxn ang="0">
                      <a:pos x="382" y="103"/>
                    </a:cxn>
                    <a:cxn ang="0">
                      <a:pos x="375" y="92"/>
                    </a:cxn>
                    <a:cxn ang="0">
                      <a:pos x="366" y="79"/>
                    </a:cxn>
                    <a:cxn ang="0">
                      <a:pos x="347" y="73"/>
                    </a:cxn>
                    <a:cxn ang="0">
                      <a:pos x="315" y="63"/>
                    </a:cxn>
                    <a:cxn ang="0">
                      <a:pos x="285" y="51"/>
                    </a:cxn>
                    <a:cxn ang="0">
                      <a:pos x="266" y="40"/>
                    </a:cxn>
                    <a:cxn ang="0">
                      <a:pos x="252" y="23"/>
                    </a:cxn>
                    <a:cxn ang="0">
                      <a:pos x="241" y="12"/>
                    </a:cxn>
                  </a:cxnLst>
                  <a:rect l="0" t="0" r="r" b="b"/>
                  <a:pathLst>
                    <a:path w="427" h="482">
                      <a:moveTo>
                        <a:pt x="236" y="0"/>
                      </a:moveTo>
                      <a:lnTo>
                        <a:pt x="203" y="0"/>
                      </a:lnTo>
                      <a:lnTo>
                        <a:pt x="220" y="46"/>
                      </a:lnTo>
                      <a:lnTo>
                        <a:pt x="187" y="59"/>
                      </a:lnTo>
                      <a:lnTo>
                        <a:pt x="176" y="130"/>
                      </a:lnTo>
                      <a:lnTo>
                        <a:pt x="203" y="170"/>
                      </a:lnTo>
                      <a:lnTo>
                        <a:pt x="165" y="287"/>
                      </a:lnTo>
                      <a:lnTo>
                        <a:pt x="0" y="345"/>
                      </a:lnTo>
                      <a:lnTo>
                        <a:pt x="57" y="482"/>
                      </a:lnTo>
                      <a:lnTo>
                        <a:pt x="83" y="474"/>
                      </a:lnTo>
                      <a:lnTo>
                        <a:pt x="94" y="473"/>
                      </a:lnTo>
                      <a:lnTo>
                        <a:pt x="107" y="466"/>
                      </a:lnTo>
                      <a:lnTo>
                        <a:pt x="117" y="460"/>
                      </a:lnTo>
                      <a:lnTo>
                        <a:pt x="137" y="459"/>
                      </a:lnTo>
                      <a:lnTo>
                        <a:pt x="150" y="461"/>
                      </a:lnTo>
                      <a:lnTo>
                        <a:pt x="154" y="464"/>
                      </a:lnTo>
                      <a:lnTo>
                        <a:pt x="161" y="464"/>
                      </a:lnTo>
                      <a:lnTo>
                        <a:pt x="165" y="460"/>
                      </a:lnTo>
                      <a:lnTo>
                        <a:pt x="172" y="455"/>
                      </a:lnTo>
                      <a:lnTo>
                        <a:pt x="179" y="447"/>
                      </a:lnTo>
                      <a:lnTo>
                        <a:pt x="180" y="443"/>
                      </a:lnTo>
                      <a:lnTo>
                        <a:pt x="180" y="436"/>
                      </a:lnTo>
                      <a:lnTo>
                        <a:pt x="180" y="430"/>
                      </a:lnTo>
                      <a:lnTo>
                        <a:pt x="186" y="425"/>
                      </a:lnTo>
                      <a:lnTo>
                        <a:pt x="194" y="414"/>
                      </a:lnTo>
                      <a:lnTo>
                        <a:pt x="224" y="407"/>
                      </a:lnTo>
                      <a:lnTo>
                        <a:pt x="234" y="407"/>
                      </a:lnTo>
                      <a:lnTo>
                        <a:pt x="241" y="404"/>
                      </a:lnTo>
                      <a:lnTo>
                        <a:pt x="250" y="394"/>
                      </a:lnTo>
                      <a:lnTo>
                        <a:pt x="253" y="382"/>
                      </a:lnTo>
                      <a:lnTo>
                        <a:pt x="256" y="371"/>
                      </a:lnTo>
                      <a:lnTo>
                        <a:pt x="262" y="361"/>
                      </a:lnTo>
                      <a:lnTo>
                        <a:pt x="269" y="355"/>
                      </a:lnTo>
                      <a:lnTo>
                        <a:pt x="278" y="352"/>
                      </a:lnTo>
                      <a:lnTo>
                        <a:pt x="282" y="347"/>
                      </a:lnTo>
                      <a:lnTo>
                        <a:pt x="289" y="348"/>
                      </a:lnTo>
                      <a:lnTo>
                        <a:pt x="301" y="346"/>
                      </a:lnTo>
                      <a:lnTo>
                        <a:pt x="309" y="346"/>
                      </a:lnTo>
                      <a:lnTo>
                        <a:pt x="316" y="342"/>
                      </a:lnTo>
                      <a:lnTo>
                        <a:pt x="319" y="337"/>
                      </a:lnTo>
                      <a:lnTo>
                        <a:pt x="316" y="328"/>
                      </a:lnTo>
                      <a:lnTo>
                        <a:pt x="314" y="325"/>
                      </a:lnTo>
                      <a:lnTo>
                        <a:pt x="312" y="312"/>
                      </a:lnTo>
                      <a:lnTo>
                        <a:pt x="312" y="303"/>
                      </a:lnTo>
                      <a:lnTo>
                        <a:pt x="315" y="293"/>
                      </a:lnTo>
                      <a:lnTo>
                        <a:pt x="314" y="285"/>
                      </a:lnTo>
                      <a:lnTo>
                        <a:pt x="327" y="265"/>
                      </a:lnTo>
                      <a:lnTo>
                        <a:pt x="335" y="256"/>
                      </a:lnTo>
                      <a:lnTo>
                        <a:pt x="339" y="253"/>
                      </a:lnTo>
                      <a:lnTo>
                        <a:pt x="342" y="255"/>
                      </a:lnTo>
                      <a:lnTo>
                        <a:pt x="344" y="260"/>
                      </a:lnTo>
                      <a:lnTo>
                        <a:pt x="347" y="262"/>
                      </a:lnTo>
                      <a:lnTo>
                        <a:pt x="353" y="264"/>
                      </a:lnTo>
                      <a:lnTo>
                        <a:pt x="355" y="261"/>
                      </a:lnTo>
                      <a:lnTo>
                        <a:pt x="365" y="244"/>
                      </a:lnTo>
                      <a:lnTo>
                        <a:pt x="369" y="239"/>
                      </a:lnTo>
                      <a:lnTo>
                        <a:pt x="376" y="224"/>
                      </a:lnTo>
                      <a:lnTo>
                        <a:pt x="382" y="216"/>
                      </a:lnTo>
                      <a:lnTo>
                        <a:pt x="396" y="206"/>
                      </a:lnTo>
                      <a:lnTo>
                        <a:pt x="416" y="178"/>
                      </a:lnTo>
                      <a:lnTo>
                        <a:pt x="421" y="167"/>
                      </a:lnTo>
                      <a:lnTo>
                        <a:pt x="422" y="161"/>
                      </a:lnTo>
                      <a:lnTo>
                        <a:pt x="427" y="147"/>
                      </a:lnTo>
                      <a:lnTo>
                        <a:pt x="427" y="143"/>
                      </a:lnTo>
                      <a:lnTo>
                        <a:pt x="423" y="140"/>
                      </a:lnTo>
                      <a:lnTo>
                        <a:pt x="419" y="137"/>
                      </a:lnTo>
                      <a:lnTo>
                        <a:pt x="418" y="134"/>
                      </a:lnTo>
                      <a:lnTo>
                        <a:pt x="406" y="131"/>
                      </a:lnTo>
                      <a:lnTo>
                        <a:pt x="396" y="124"/>
                      </a:lnTo>
                      <a:lnTo>
                        <a:pt x="391" y="111"/>
                      </a:lnTo>
                      <a:lnTo>
                        <a:pt x="386" y="108"/>
                      </a:lnTo>
                      <a:lnTo>
                        <a:pt x="382" y="103"/>
                      </a:lnTo>
                      <a:lnTo>
                        <a:pt x="381" y="98"/>
                      </a:lnTo>
                      <a:lnTo>
                        <a:pt x="375" y="92"/>
                      </a:lnTo>
                      <a:lnTo>
                        <a:pt x="373" y="88"/>
                      </a:lnTo>
                      <a:lnTo>
                        <a:pt x="366" y="79"/>
                      </a:lnTo>
                      <a:lnTo>
                        <a:pt x="354" y="73"/>
                      </a:lnTo>
                      <a:lnTo>
                        <a:pt x="347" y="73"/>
                      </a:lnTo>
                      <a:lnTo>
                        <a:pt x="332" y="66"/>
                      </a:lnTo>
                      <a:lnTo>
                        <a:pt x="315" y="63"/>
                      </a:lnTo>
                      <a:lnTo>
                        <a:pt x="309" y="61"/>
                      </a:lnTo>
                      <a:lnTo>
                        <a:pt x="285" y="51"/>
                      </a:lnTo>
                      <a:lnTo>
                        <a:pt x="274" y="43"/>
                      </a:lnTo>
                      <a:lnTo>
                        <a:pt x="266" y="40"/>
                      </a:lnTo>
                      <a:lnTo>
                        <a:pt x="260" y="30"/>
                      </a:lnTo>
                      <a:lnTo>
                        <a:pt x="252" y="23"/>
                      </a:lnTo>
                      <a:lnTo>
                        <a:pt x="250" y="19"/>
                      </a:lnTo>
                      <a:lnTo>
                        <a:pt x="241" y="12"/>
                      </a:lnTo>
                      <a:lnTo>
                        <a:pt x="236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91" name="Bahrain"/>
              <p:cNvSpPr>
                <a:spLocks noChangeAspect="1"/>
              </p:cNvSpPr>
              <p:nvPr>
                <p:custDataLst>
                  <p:tags r:id="rId271"/>
                </p:custDataLst>
              </p:nvPr>
            </p:nvSpPr>
            <p:spPr bwMode="gray">
              <a:xfrm>
                <a:off x="3069" y="2190"/>
                <a:ext cx="1" cy="3"/>
              </a:xfrm>
              <a:custGeom>
                <a:avLst/>
                <a:gdLst/>
                <a:ahLst/>
                <a:cxnLst>
                  <a:cxn ang="0">
                    <a:pos x="8" y="3"/>
                  </a:cxn>
                  <a:cxn ang="0">
                    <a:pos x="0" y="0"/>
                  </a:cxn>
                  <a:cxn ang="0">
                    <a:pos x="0" y="11"/>
                  </a:cxn>
                  <a:cxn ang="0">
                    <a:pos x="3" y="19"/>
                  </a:cxn>
                  <a:cxn ang="0">
                    <a:pos x="8" y="17"/>
                  </a:cxn>
                  <a:cxn ang="0">
                    <a:pos x="8" y="3"/>
                  </a:cxn>
                </a:cxnLst>
                <a:rect l="0" t="0" r="r" b="b"/>
                <a:pathLst>
                  <a:path w="8" h="19">
                    <a:moveTo>
                      <a:pt x="8" y="3"/>
                    </a:moveTo>
                    <a:lnTo>
                      <a:pt x="0" y="0"/>
                    </a:lnTo>
                    <a:lnTo>
                      <a:pt x="0" y="11"/>
                    </a:lnTo>
                    <a:lnTo>
                      <a:pt x="3" y="19"/>
                    </a:lnTo>
                    <a:lnTo>
                      <a:pt x="8" y="17"/>
                    </a:lnTo>
                    <a:lnTo>
                      <a:pt x="8" y="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92" name="Group 153"/>
              <p:cNvGrpSpPr>
                <a:grpSpLocks noChangeAspect="1"/>
              </p:cNvGrpSpPr>
              <p:nvPr/>
            </p:nvGrpSpPr>
            <p:grpSpPr bwMode="gray">
              <a:xfrm>
                <a:off x="3000" y="2012"/>
                <a:ext cx="210" cy="192"/>
                <a:chOff x="3000" y="2012"/>
                <a:chExt cx="210" cy="192"/>
              </a:xfrm>
              <a:grpFill/>
            </p:grpSpPr>
            <p:sp>
              <p:nvSpPr>
                <p:cNvPr id="302" name="Iran"/>
                <p:cNvSpPr>
                  <a:spLocks noChangeAspect="1"/>
                </p:cNvSpPr>
                <p:nvPr>
                  <p:custDataLst>
                    <p:tags r:id="rId280"/>
                  </p:custDataLst>
                </p:nvPr>
              </p:nvSpPr>
              <p:spPr bwMode="gray">
                <a:xfrm>
                  <a:off x="3122" y="2182"/>
                  <a:ext cx="10" cy="5"/>
                </a:xfrm>
                <a:custGeom>
                  <a:avLst/>
                  <a:gdLst/>
                  <a:ahLst/>
                  <a:cxnLst>
                    <a:cxn ang="0">
                      <a:pos x="50" y="2"/>
                    </a:cxn>
                    <a:cxn ang="0">
                      <a:pos x="45" y="0"/>
                    </a:cxn>
                    <a:cxn ang="0">
                      <a:pos x="27" y="2"/>
                    </a:cxn>
                    <a:cxn ang="0">
                      <a:pos x="23" y="10"/>
                    </a:cxn>
                    <a:cxn ang="0">
                      <a:pos x="12" y="18"/>
                    </a:cxn>
                    <a:cxn ang="0">
                      <a:pos x="0" y="22"/>
                    </a:cxn>
                    <a:cxn ang="0">
                      <a:pos x="1" y="26"/>
                    </a:cxn>
                    <a:cxn ang="0">
                      <a:pos x="27" y="19"/>
                    </a:cxn>
                    <a:cxn ang="0">
                      <a:pos x="50" y="2"/>
                    </a:cxn>
                  </a:cxnLst>
                  <a:rect l="0" t="0" r="r" b="b"/>
                  <a:pathLst>
                    <a:path w="50" h="26">
                      <a:moveTo>
                        <a:pt x="50" y="2"/>
                      </a:moveTo>
                      <a:lnTo>
                        <a:pt x="45" y="0"/>
                      </a:lnTo>
                      <a:lnTo>
                        <a:pt x="27" y="2"/>
                      </a:lnTo>
                      <a:lnTo>
                        <a:pt x="23" y="10"/>
                      </a:lnTo>
                      <a:lnTo>
                        <a:pt x="12" y="18"/>
                      </a:lnTo>
                      <a:lnTo>
                        <a:pt x="0" y="22"/>
                      </a:lnTo>
                      <a:lnTo>
                        <a:pt x="1" y="26"/>
                      </a:lnTo>
                      <a:lnTo>
                        <a:pt x="27" y="19"/>
                      </a:lnTo>
                      <a:lnTo>
                        <a:pt x="50" y="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3" name="Iran"/>
                <p:cNvSpPr>
                  <a:spLocks noChangeAspect="1"/>
                </p:cNvSpPr>
                <p:nvPr>
                  <p:custDataLst>
                    <p:tags r:id="rId281"/>
                  </p:custDataLst>
                </p:nvPr>
              </p:nvSpPr>
              <p:spPr bwMode="gray">
                <a:xfrm>
                  <a:off x="3000" y="2012"/>
                  <a:ext cx="210" cy="192"/>
                </a:xfrm>
                <a:custGeom>
                  <a:avLst/>
                  <a:gdLst/>
                  <a:ahLst/>
                  <a:cxnLst>
                    <a:cxn ang="0">
                      <a:pos x="920" y="957"/>
                    </a:cxn>
                    <a:cxn ang="0">
                      <a:pos x="836" y="944"/>
                    </a:cxn>
                    <a:cxn ang="0">
                      <a:pos x="792" y="933"/>
                    </a:cxn>
                    <a:cxn ang="0">
                      <a:pos x="717" y="912"/>
                    </a:cxn>
                    <a:cxn ang="0">
                      <a:pos x="673" y="839"/>
                    </a:cxn>
                    <a:cxn ang="0">
                      <a:pos x="610" y="865"/>
                    </a:cxn>
                    <a:cxn ang="0">
                      <a:pos x="551" y="868"/>
                    </a:cxn>
                    <a:cxn ang="0">
                      <a:pos x="511" y="859"/>
                    </a:cxn>
                    <a:cxn ang="0">
                      <a:pos x="462" y="822"/>
                    </a:cxn>
                    <a:cxn ang="0">
                      <a:pos x="400" y="794"/>
                    </a:cxn>
                    <a:cxn ang="0">
                      <a:pos x="351" y="713"/>
                    </a:cxn>
                    <a:cxn ang="0">
                      <a:pos x="323" y="661"/>
                    </a:cxn>
                    <a:cxn ang="0">
                      <a:pos x="292" y="661"/>
                    </a:cxn>
                    <a:cxn ang="0">
                      <a:pos x="270" y="632"/>
                    </a:cxn>
                    <a:cxn ang="0">
                      <a:pos x="252" y="640"/>
                    </a:cxn>
                    <a:cxn ang="0">
                      <a:pos x="237" y="653"/>
                    </a:cxn>
                    <a:cxn ang="0">
                      <a:pos x="188" y="595"/>
                    </a:cxn>
                    <a:cxn ang="0">
                      <a:pos x="172" y="506"/>
                    </a:cxn>
                    <a:cxn ang="0">
                      <a:pos x="111" y="466"/>
                    </a:cxn>
                    <a:cxn ang="0">
                      <a:pos x="82" y="422"/>
                    </a:cxn>
                    <a:cxn ang="0">
                      <a:pos x="72" y="393"/>
                    </a:cxn>
                    <a:cxn ang="0">
                      <a:pos x="100" y="328"/>
                    </a:cxn>
                    <a:cxn ang="0">
                      <a:pos x="102" y="278"/>
                    </a:cxn>
                    <a:cxn ang="0">
                      <a:pos x="40" y="213"/>
                    </a:cxn>
                    <a:cxn ang="0">
                      <a:pos x="12" y="118"/>
                    </a:cxn>
                    <a:cxn ang="0">
                      <a:pos x="0" y="34"/>
                    </a:cxn>
                    <a:cxn ang="0">
                      <a:pos x="38" y="16"/>
                    </a:cxn>
                    <a:cxn ang="0">
                      <a:pos x="121" y="68"/>
                    </a:cxn>
                    <a:cxn ang="0">
                      <a:pos x="166" y="27"/>
                    </a:cxn>
                    <a:cxn ang="0">
                      <a:pos x="227" y="57"/>
                    </a:cxn>
                    <a:cxn ang="0">
                      <a:pos x="232" y="85"/>
                    </a:cxn>
                    <a:cxn ang="0">
                      <a:pos x="260" y="123"/>
                    </a:cxn>
                    <a:cxn ang="0">
                      <a:pos x="303" y="171"/>
                    </a:cxn>
                    <a:cxn ang="0">
                      <a:pos x="357" y="203"/>
                    </a:cxn>
                    <a:cxn ang="0">
                      <a:pos x="497" y="207"/>
                    </a:cxn>
                    <a:cxn ang="0">
                      <a:pos x="543" y="207"/>
                    </a:cxn>
                    <a:cxn ang="0">
                      <a:pos x="600" y="135"/>
                    </a:cxn>
                    <a:cxn ang="0">
                      <a:pos x="664" y="121"/>
                    </a:cxn>
                    <a:cxn ang="0">
                      <a:pos x="722" y="119"/>
                    </a:cxn>
                    <a:cxn ang="0">
                      <a:pos x="804" y="150"/>
                    </a:cxn>
                    <a:cxn ang="0">
                      <a:pos x="851" y="187"/>
                    </a:cxn>
                    <a:cxn ang="0">
                      <a:pos x="936" y="230"/>
                    </a:cxn>
                    <a:cxn ang="0">
                      <a:pos x="935" y="321"/>
                    </a:cxn>
                    <a:cxn ang="0">
                      <a:pos x="895" y="398"/>
                    </a:cxn>
                    <a:cxn ang="0">
                      <a:pos x="899" y="470"/>
                    </a:cxn>
                    <a:cxn ang="0">
                      <a:pos x="909" y="546"/>
                    </a:cxn>
                    <a:cxn ang="0">
                      <a:pos x="960" y="586"/>
                    </a:cxn>
                    <a:cxn ang="0">
                      <a:pos x="915" y="676"/>
                    </a:cxn>
                    <a:cxn ang="0">
                      <a:pos x="986" y="759"/>
                    </a:cxn>
                    <a:cxn ang="0">
                      <a:pos x="1023" y="829"/>
                    </a:cxn>
                    <a:cxn ang="0">
                      <a:pos x="1033" y="866"/>
                    </a:cxn>
                    <a:cxn ang="0">
                      <a:pos x="970" y="902"/>
                    </a:cxn>
                  </a:cxnLst>
                  <a:rect l="0" t="0" r="r" b="b"/>
                  <a:pathLst>
                    <a:path w="1049" h="961">
                      <a:moveTo>
                        <a:pt x="957" y="958"/>
                      </a:moveTo>
                      <a:lnTo>
                        <a:pt x="954" y="957"/>
                      </a:lnTo>
                      <a:lnTo>
                        <a:pt x="947" y="961"/>
                      </a:lnTo>
                      <a:lnTo>
                        <a:pt x="932" y="960"/>
                      </a:lnTo>
                      <a:lnTo>
                        <a:pt x="920" y="957"/>
                      </a:lnTo>
                      <a:lnTo>
                        <a:pt x="903" y="951"/>
                      </a:lnTo>
                      <a:lnTo>
                        <a:pt x="895" y="944"/>
                      </a:lnTo>
                      <a:lnTo>
                        <a:pt x="889" y="949"/>
                      </a:lnTo>
                      <a:lnTo>
                        <a:pt x="855" y="947"/>
                      </a:lnTo>
                      <a:lnTo>
                        <a:pt x="836" y="944"/>
                      </a:lnTo>
                      <a:lnTo>
                        <a:pt x="825" y="939"/>
                      </a:lnTo>
                      <a:lnTo>
                        <a:pt x="820" y="941"/>
                      </a:lnTo>
                      <a:lnTo>
                        <a:pt x="818" y="945"/>
                      </a:lnTo>
                      <a:lnTo>
                        <a:pt x="806" y="938"/>
                      </a:lnTo>
                      <a:lnTo>
                        <a:pt x="792" y="933"/>
                      </a:lnTo>
                      <a:lnTo>
                        <a:pt x="775" y="933"/>
                      </a:lnTo>
                      <a:lnTo>
                        <a:pt x="755" y="930"/>
                      </a:lnTo>
                      <a:lnTo>
                        <a:pt x="744" y="926"/>
                      </a:lnTo>
                      <a:lnTo>
                        <a:pt x="726" y="925"/>
                      </a:lnTo>
                      <a:lnTo>
                        <a:pt x="717" y="912"/>
                      </a:lnTo>
                      <a:lnTo>
                        <a:pt x="710" y="893"/>
                      </a:lnTo>
                      <a:lnTo>
                        <a:pt x="705" y="869"/>
                      </a:lnTo>
                      <a:lnTo>
                        <a:pt x="697" y="852"/>
                      </a:lnTo>
                      <a:lnTo>
                        <a:pt x="683" y="843"/>
                      </a:lnTo>
                      <a:lnTo>
                        <a:pt x="673" y="839"/>
                      </a:lnTo>
                      <a:lnTo>
                        <a:pt x="665" y="838"/>
                      </a:lnTo>
                      <a:lnTo>
                        <a:pt x="645" y="847"/>
                      </a:lnTo>
                      <a:lnTo>
                        <a:pt x="625" y="853"/>
                      </a:lnTo>
                      <a:lnTo>
                        <a:pt x="619" y="860"/>
                      </a:lnTo>
                      <a:lnTo>
                        <a:pt x="610" y="865"/>
                      </a:lnTo>
                      <a:lnTo>
                        <a:pt x="600" y="865"/>
                      </a:lnTo>
                      <a:lnTo>
                        <a:pt x="584" y="875"/>
                      </a:lnTo>
                      <a:lnTo>
                        <a:pt x="573" y="877"/>
                      </a:lnTo>
                      <a:lnTo>
                        <a:pt x="559" y="874"/>
                      </a:lnTo>
                      <a:lnTo>
                        <a:pt x="551" y="868"/>
                      </a:lnTo>
                      <a:lnTo>
                        <a:pt x="537" y="865"/>
                      </a:lnTo>
                      <a:lnTo>
                        <a:pt x="523" y="868"/>
                      </a:lnTo>
                      <a:lnTo>
                        <a:pt x="516" y="868"/>
                      </a:lnTo>
                      <a:lnTo>
                        <a:pt x="507" y="856"/>
                      </a:lnTo>
                      <a:lnTo>
                        <a:pt x="511" y="859"/>
                      </a:lnTo>
                      <a:lnTo>
                        <a:pt x="509" y="854"/>
                      </a:lnTo>
                      <a:lnTo>
                        <a:pt x="502" y="849"/>
                      </a:lnTo>
                      <a:lnTo>
                        <a:pt x="470" y="838"/>
                      </a:lnTo>
                      <a:lnTo>
                        <a:pt x="462" y="826"/>
                      </a:lnTo>
                      <a:lnTo>
                        <a:pt x="462" y="822"/>
                      </a:lnTo>
                      <a:lnTo>
                        <a:pt x="453" y="812"/>
                      </a:lnTo>
                      <a:lnTo>
                        <a:pt x="438" y="805"/>
                      </a:lnTo>
                      <a:lnTo>
                        <a:pt x="425" y="800"/>
                      </a:lnTo>
                      <a:lnTo>
                        <a:pt x="409" y="799"/>
                      </a:lnTo>
                      <a:lnTo>
                        <a:pt x="400" y="794"/>
                      </a:lnTo>
                      <a:lnTo>
                        <a:pt x="392" y="785"/>
                      </a:lnTo>
                      <a:lnTo>
                        <a:pt x="384" y="762"/>
                      </a:lnTo>
                      <a:lnTo>
                        <a:pt x="374" y="745"/>
                      </a:lnTo>
                      <a:lnTo>
                        <a:pt x="371" y="730"/>
                      </a:lnTo>
                      <a:lnTo>
                        <a:pt x="351" y="713"/>
                      </a:lnTo>
                      <a:lnTo>
                        <a:pt x="347" y="699"/>
                      </a:lnTo>
                      <a:lnTo>
                        <a:pt x="342" y="689"/>
                      </a:lnTo>
                      <a:lnTo>
                        <a:pt x="334" y="685"/>
                      </a:lnTo>
                      <a:lnTo>
                        <a:pt x="324" y="669"/>
                      </a:lnTo>
                      <a:lnTo>
                        <a:pt x="323" y="661"/>
                      </a:lnTo>
                      <a:lnTo>
                        <a:pt x="319" y="655"/>
                      </a:lnTo>
                      <a:lnTo>
                        <a:pt x="313" y="651"/>
                      </a:lnTo>
                      <a:lnTo>
                        <a:pt x="301" y="656"/>
                      </a:lnTo>
                      <a:lnTo>
                        <a:pt x="293" y="664"/>
                      </a:lnTo>
                      <a:lnTo>
                        <a:pt x="292" y="661"/>
                      </a:lnTo>
                      <a:lnTo>
                        <a:pt x="286" y="659"/>
                      </a:lnTo>
                      <a:lnTo>
                        <a:pt x="283" y="654"/>
                      </a:lnTo>
                      <a:lnTo>
                        <a:pt x="276" y="649"/>
                      </a:lnTo>
                      <a:lnTo>
                        <a:pt x="271" y="642"/>
                      </a:lnTo>
                      <a:lnTo>
                        <a:pt x="270" y="632"/>
                      </a:lnTo>
                      <a:lnTo>
                        <a:pt x="265" y="627"/>
                      </a:lnTo>
                      <a:lnTo>
                        <a:pt x="256" y="624"/>
                      </a:lnTo>
                      <a:lnTo>
                        <a:pt x="252" y="628"/>
                      </a:lnTo>
                      <a:lnTo>
                        <a:pt x="254" y="634"/>
                      </a:lnTo>
                      <a:lnTo>
                        <a:pt x="252" y="640"/>
                      </a:lnTo>
                      <a:lnTo>
                        <a:pt x="253" y="646"/>
                      </a:lnTo>
                      <a:lnTo>
                        <a:pt x="244" y="646"/>
                      </a:lnTo>
                      <a:lnTo>
                        <a:pt x="243" y="656"/>
                      </a:lnTo>
                      <a:lnTo>
                        <a:pt x="240" y="655"/>
                      </a:lnTo>
                      <a:lnTo>
                        <a:pt x="237" y="653"/>
                      </a:lnTo>
                      <a:lnTo>
                        <a:pt x="217" y="638"/>
                      </a:lnTo>
                      <a:lnTo>
                        <a:pt x="210" y="630"/>
                      </a:lnTo>
                      <a:lnTo>
                        <a:pt x="205" y="622"/>
                      </a:lnTo>
                      <a:lnTo>
                        <a:pt x="201" y="602"/>
                      </a:lnTo>
                      <a:lnTo>
                        <a:pt x="188" y="595"/>
                      </a:lnTo>
                      <a:lnTo>
                        <a:pt x="189" y="574"/>
                      </a:lnTo>
                      <a:lnTo>
                        <a:pt x="193" y="547"/>
                      </a:lnTo>
                      <a:lnTo>
                        <a:pt x="186" y="533"/>
                      </a:lnTo>
                      <a:lnTo>
                        <a:pt x="179" y="521"/>
                      </a:lnTo>
                      <a:lnTo>
                        <a:pt x="172" y="506"/>
                      </a:lnTo>
                      <a:lnTo>
                        <a:pt x="163" y="497"/>
                      </a:lnTo>
                      <a:lnTo>
                        <a:pt x="150" y="493"/>
                      </a:lnTo>
                      <a:lnTo>
                        <a:pt x="140" y="488"/>
                      </a:lnTo>
                      <a:lnTo>
                        <a:pt x="126" y="477"/>
                      </a:lnTo>
                      <a:lnTo>
                        <a:pt x="111" y="466"/>
                      </a:lnTo>
                      <a:lnTo>
                        <a:pt x="99" y="460"/>
                      </a:lnTo>
                      <a:lnTo>
                        <a:pt x="99" y="449"/>
                      </a:lnTo>
                      <a:lnTo>
                        <a:pt x="93" y="435"/>
                      </a:lnTo>
                      <a:lnTo>
                        <a:pt x="86" y="429"/>
                      </a:lnTo>
                      <a:lnTo>
                        <a:pt x="82" y="422"/>
                      </a:lnTo>
                      <a:lnTo>
                        <a:pt x="73" y="422"/>
                      </a:lnTo>
                      <a:lnTo>
                        <a:pt x="67" y="417"/>
                      </a:lnTo>
                      <a:lnTo>
                        <a:pt x="65" y="401"/>
                      </a:lnTo>
                      <a:lnTo>
                        <a:pt x="68" y="400"/>
                      </a:lnTo>
                      <a:lnTo>
                        <a:pt x="72" y="393"/>
                      </a:lnTo>
                      <a:lnTo>
                        <a:pt x="76" y="368"/>
                      </a:lnTo>
                      <a:lnTo>
                        <a:pt x="80" y="360"/>
                      </a:lnTo>
                      <a:lnTo>
                        <a:pt x="88" y="358"/>
                      </a:lnTo>
                      <a:lnTo>
                        <a:pt x="87" y="349"/>
                      </a:lnTo>
                      <a:lnTo>
                        <a:pt x="100" y="328"/>
                      </a:lnTo>
                      <a:lnTo>
                        <a:pt x="109" y="317"/>
                      </a:lnTo>
                      <a:lnTo>
                        <a:pt x="104" y="299"/>
                      </a:lnTo>
                      <a:lnTo>
                        <a:pt x="110" y="285"/>
                      </a:lnTo>
                      <a:lnTo>
                        <a:pt x="116" y="278"/>
                      </a:lnTo>
                      <a:lnTo>
                        <a:pt x="102" y="278"/>
                      </a:lnTo>
                      <a:lnTo>
                        <a:pt x="80" y="273"/>
                      </a:lnTo>
                      <a:lnTo>
                        <a:pt x="68" y="262"/>
                      </a:lnTo>
                      <a:lnTo>
                        <a:pt x="62" y="240"/>
                      </a:lnTo>
                      <a:lnTo>
                        <a:pt x="50" y="230"/>
                      </a:lnTo>
                      <a:lnTo>
                        <a:pt x="40" y="213"/>
                      </a:lnTo>
                      <a:lnTo>
                        <a:pt x="35" y="180"/>
                      </a:lnTo>
                      <a:lnTo>
                        <a:pt x="34" y="164"/>
                      </a:lnTo>
                      <a:lnTo>
                        <a:pt x="22" y="147"/>
                      </a:lnTo>
                      <a:lnTo>
                        <a:pt x="8" y="139"/>
                      </a:lnTo>
                      <a:lnTo>
                        <a:pt x="12" y="118"/>
                      </a:lnTo>
                      <a:lnTo>
                        <a:pt x="10" y="102"/>
                      </a:lnTo>
                      <a:lnTo>
                        <a:pt x="10" y="85"/>
                      </a:lnTo>
                      <a:lnTo>
                        <a:pt x="8" y="58"/>
                      </a:lnTo>
                      <a:lnTo>
                        <a:pt x="1" y="41"/>
                      </a:lnTo>
                      <a:lnTo>
                        <a:pt x="0" y="34"/>
                      </a:lnTo>
                      <a:lnTo>
                        <a:pt x="14" y="25"/>
                      </a:lnTo>
                      <a:lnTo>
                        <a:pt x="16" y="18"/>
                      </a:lnTo>
                      <a:lnTo>
                        <a:pt x="25" y="0"/>
                      </a:lnTo>
                      <a:lnTo>
                        <a:pt x="34" y="11"/>
                      </a:lnTo>
                      <a:lnTo>
                        <a:pt x="38" y="16"/>
                      </a:lnTo>
                      <a:lnTo>
                        <a:pt x="70" y="62"/>
                      </a:lnTo>
                      <a:lnTo>
                        <a:pt x="86" y="65"/>
                      </a:lnTo>
                      <a:lnTo>
                        <a:pt x="99" y="68"/>
                      </a:lnTo>
                      <a:lnTo>
                        <a:pt x="104" y="68"/>
                      </a:lnTo>
                      <a:lnTo>
                        <a:pt x="121" y="68"/>
                      </a:lnTo>
                      <a:lnTo>
                        <a:pt x="127" y="68"/>
                      </a:lnTo>
                      <a:lnTo>
                        <a:pt x="138" y="65"/>
                      </a:lnTo>
                      <a:lnTo>
                        <a:pt x="150" y="53"/>
                      </a:lnTo>
                      <a:lnTo>
                        <a:pt x="156" y="37"/>
                      </a:lnTo>
                      <a:lnTo>
                        <a:pt x="166" y="27"/>
                      </a:lnTo>
                      <a:lnTo>
                        <a:pt x="178" y="19"/>
                      </a:lnTo>
                      <a:lnTo>
                        <a:pt x="204" y="13"/>
                      </a:lnTo>
                      <a:lnTo>
                        <a:pt x="221" y="22"/>
                      </a:lnTo>
                      <a:lnTo>
                        <a:pt x="220" y="36"/>
                      </a:lnTo>
                      <a:lnTo>
                        <a:pt x="227" y="57"/>
                      </a:lnTo>
                      <a:lnTo>
                        <a:pt x="212" y="65"/>
                      </a:lnTo>
                      <a:lnTo>
                        <a:pt x="209" y="70"/>
                      </a:lnTo>
                      <a:lnTo>
                        <a:pt x="220" y="77"/>
                      </a:lnTo>
                      <a:lnTo>
                        <a:pt x="224" y="81"/>
                      </a:lnTo>
                      <a:lnTo>
                        <a:pt x="232" y="85"/>
                      </a:lnTo>
                      <a:lnTo>
                        <a:pt x="240" y="92"/>
                      </a:lnTo>
                      <a:lnTo>
                        <a:pt x="247" y="95"/>
                      </a:lnTo>
                      <a:lnTo>
                        <a:pt x="254" y="95"/>
                      </a:lnTo>
                      <a:lnTo>
                        <a:pt x="258" y="94"/>
                      </a:lnTo>
                      <a:lnTo>
                        <a:pt x="260" y="123"/>
                      </a:lnTo>
                      <a:lnTo>
                        <a:pt x="265" y="142"/>
                      </a:lnTo>
                      <a:lnTo>
                        <a:pt x="270" y="155"/>
                      </a:lnTo>
                      <a:lnTo>
                        <a:pt x="282" y="165"/>
                      </a:lnTo>
                      <a:lnTo>
                        <a:pt x="293" y="167"/>
                      </a:lnTo>
                      <a:lnTo>
                        <a:pt x="303" y="171"/>
                      </a:lnTo>
                      <a:lnTo>
                        <a:pt x="318" y="170"/>
                      </a:lnTo>
                      <a:lnTo>
                        <a:pt x="329" y="171"/>
                      </a:lnTo>
                      <a:lnTo>
                        <a:pt x="336" y="176"/>
                      </a:lnTo>
                      <a:lnTo>
                        <a:pt x="344" y="192"/>
                      </a:lnTo>
                      <a:lnTo>
                        <a:pt x="357" y="203"/>
                      </a:lnTo>
                      <a:lnTo>
                        <a:pt x="377" y="214"/>
                      </a:lnTo>
                      <a:lnTo>
                        <a:pt x="411" y="225"/>
                      </a:lnTo>
                      <a:lnTo>
                        <a:pt x="423" y="226"/>
                      </a:lnTo>
                      <a:lnTo>
                        <a:pt x="479" y="209"/>
                      </a:lnTo>
                      <a:lnTo>
                        <a:pt x="497" y="207"/>
                      </a:lnTo>
                      <a:lnTo>
                        <a:pt x="519" y="202"/>
                      </a:lnTo>
                      <a:lnTo>
                        <a:pt x="516" y="205"/>
                      </a:lnTo>
                      <a:lnTo>
                        <a:pt x="502" y="208"/>
                      </a:lnTo>
                      <a:lnTo>
                        <a:pt x="519" y="210"/>
                      </a:lnTo>
                      <a:lnTo>
                        <a:pt x="543" y="207"/>
                      </a:lnTo>
                      <a:lnTo>
                        <a:pt x="543" y="187"/>
                      </a:lnTo>
                      <a:lnTo>
                        <a:pt x="534" y="166"/>
                      </a:lnTo>
                      <a:lnTo>
                        <a:pt x="548" y="166"/>
                      </a:lnTo>
                      <a:lnTo>
                        <a:pt x="566" y="162"/>
                      </a:lnTo>
                      <a:lnTo>
                        <a:pt x="600" y="135"/>
                      </a:lnTo>
                      <a:lnTo>
                        <a:pt x="615" y="121"/>
                      </a:lnTo>
                      <a:lnTo>
                        <a:pt x="631" y="117"/>
                      </a:lnTo>
                      <a:lnTo>
                        <a:pt x="642" y="117"/>
                      </a:lnTo>
                      <a:lnTo>
                        <a:pt x="653" y="121"/>
                      </a:lnTo>
                      <a:lnTo>
                        <a:pt x="664" y="121"/>
                      </a:lnTo>
                      <a:lnTo>
                        <a:pt x="669" y="116"/>
                      </a:lnTo>
                      <a:lnTo>
                        <a:pt x="672" y="107"/>
                      </a:lnTo>
                      <a:lnTo>
                        <a:pt x="686" y="105"/>
                      </a:lnTo>
                      <a:lnTo>
                        <a:pt x="707" y="107"/>
                      </a:lnTo>
                      <a:lnTo>
                        <a:pt x="722" y="119"/>
                      </a:lnTo>
                      <a:lnTo>
                        <a:pt x="731" y="131"/>
                      </a:lnTo>
                      <a:lnTo>
                        <a:pt x="769" y="143"/>
                      </a:lnTo>
                      <a:lnTo>
                        <a:pt x="782" y="150"/>
                      </a:lnTo>
                      <a:lnTo>
                        <a:pt x="793" y="153"/>
                      </a:lnTo>
                      <a:lnTo>
                        <a:pt x="804" y="150"/>
                      </a:lnTo>
                      <a:lnTo>
                        <a:pt x="819" y="153"/>
                      </a:lnTo>
                      <a:lnTo>
                        <a:pt x="828" y="158"/>
                      </a:lnTo>
                      <a:lnTo>
                        <a:pt x="837" y="171"/>
                      </a:lnTo>
                      <a:lnTo>
                        <a:pt x="841" y="183"/>
                      </a:lnTo>
                      <a:lnTo>
                        <a:pt x="851" y="187"/>
                      </a:lnTo>
                      <a:lnTo>
                        <a:pt x="867" y="197"/>
                      </a:lnTo>
                      <a:lnTo>
                        <a:pt x="889" y="215"/>
                      </a:lnTo>
                      <a:lnTo>
                        <a:pt x="905" y="225"/>
                      </a:lnTo>
                      <a:lnTo>
                        <a:pt x="931" y="225"/>
                      </a:lnTo>
                      <a:lnTo>
                        <a:pt x="936" y="230"/>
                      </a:lnTo>
                      <a:lnTo>
                        <a:pt x="936" y="267"/>
                      </a:lnTo>
                      <a:lnTo>
                        <a:pt x="939" y="278"/>
                      </a:lnTo>
                      <a:lnTo>
                        <a:pt x="937" y="291"/>
                      </a:lnTo>
                      <a:lnTo>
                        <a:pt x="935" y="305"/>
                      </a:lnTo>
                      <a:lnTo>
                        <a:pt x="935" y="321"/>
                      </a:lnTo>
                      <a:lnTo>
                        <a:pt x="930" y="343"/>
                      </a:lnTo>
                      <a:lnTo>
                        <a:pt x="916" y="365"/>
                      </a:lnTo>
                      <a:lnTo>
                        <a:pt x="916" y="380"/>
                      </a:lnTo>
                      <a:lnTo>
                        <a:pt x="895" y="388"/>
                      </a:lnTo>
                      <a:lnTo>
                        <a:pt x="895" y="398"/>
                      </a:lnTo>
                      <a:lnTo>
                        <a:pt x="895" y="418"/>
                      </a:lnTo>
                      <a:lnTo>
                        <a:pt x="909" y="423"/>
                      </a:lnTo>
                      <a:lnTo>
                        <a:pt x="910" y="434"/>
                      </a:lnTo>
                      <a:lnTo>
                        <a:pt x="903" y="452"/>
                      </a:lnTo>
                      <a:lnTo>
                        <a:pt x="899" y="470"/>
                      </a:lnTo>
                      <a:lnTo>
                        <a:pt x="901" y="482"/>
                      </a:lnTo>
                      <a:lnTo>
                        <a:pt x="907" y="498"/>
                      </a:lnTo>
                      <a:lnTo>
                        <a:pt x="910" y="516"/>
                      </a:lnTo>
                      <a:lnTo>
                        <a:pt x="907" y="533"/>
                      </a:lnTo>
                      <a:lnTo>
                        <a:pt x="909" y="546"/>
                      </a:lnTo>
                      <a:lnTo>
                        <a:pt x="919" y="557"/>
                      </a:lnTo>
                      <a:lnTo>
                        <a:pt x="931" y="560"/>
                      </a:lnTo>
                      <a:lnTo>
                        <a:pt x="943" y="560"/>
                      </a:lnTo>
                      <a:lnTo>
                        <a:pt x="954" y="570"/>
                      </a:lnTo>
                      <a:lnTo>
                        <a:pt x="960" y="586"/>
                      </a:lnTo>
                      <a:lnTo>
                        <a:pt x="960" y="601"/>
                      </a:lnTo>
                      <a:lnTo>
                        <a:pt x="954" y="618"/>
                      </a:lnTo>
                      <a:lnTo>
                        <a:pt x="931" y="646"/>
                      </a:lnTo>
                      <a:lnTo>
                        <a:pt x="919" y="671"/>
                      </a:lnTo>
                      <a:lnTo>
                        <a:pt x="915" y="676"/>
                      </a:lnTo>
                      <a:lnTo>
                        <a:pt x="923" y="686"/>
                      </a:lnTo>
                      <a:lnTo>
                        <a:pt x="937" y="698"/>
                      </a:lnTo>
                      <a:lnTo>
                        <a:pt x="958" y="741"/>
                      </a:lnTo>
                      <a:lnTo>
                        <a:pt x="970" y="751"/>
                      </a:lnTo>
                      <a:lnTo>
                        <a:pt x="986" y="759"/>
                      </a:lnTo>
                      <a:lnTo>
                        <a:pt x="1013" y="768"/>
                      </a:lnTo>
                      <a:lnTo>
                        <a:pt x="1018" y="774"/>
                      </a:lnTo>
                      <a:lnTo>
                        <a:pt x="1023" y="800"/>
                      </a:lnTo>
                      <a:lnTo>
                        <a:pt x="1024" y="815"/>
                      </a:lnTo>
                      <a:lnTo>
                        <a:pt x="1023" y="829"/>
                      </a:lnTo>
                      <a:lnTo>
                        <a:pt x="1043" y="833"/>
                      </a:lnTo>
                      <a:lnTo>
                        <a:pt x="1048" y="838"/>
                      </a:lnTo>
                      <a:lnTo>
                        <a:pt x="1049" y="848"/>
                      </a:lnTo>
                      <a:lnTo>
                        <a:pt x="1046" y="854"/>
                      </a:lnTo>
                      <a:lnTo>
                        <a:pt x="1033" y="866"/>
                      </a:lnTo>
                      <a:lnTo>
                        <a:pt x="1021" y="869"/>
                      </a:lnTo>
                      <a:lnTo>
                        <a:pt x="1006" y="875"/>
                      </a:lnTo>
                      <a:lnTo>
                        <a:pt x="992" y="880"/>
                      </a:lnTo>
                      <a:lnTo>
                        <a:pt x="979" y="890"/>
                      </a:lnTo>
                      <a:lnTo>
                        <a:pt x="970" y="902"/>
                      </a:lnTo>
                      <a:lnTo>
                        <a:pt x="959" y="931"/>
                      </a:lnTo>
                      <a:lnTo>
                        <a:pt x="957" y="944"/>
                      </a:lnTo>
                      <a:lnTo>
                        <a:pt x="957" y="95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93" name="Iraq"/>
              <p:cNvSpPr>
                <a:spLocks noChangeAspect="1"/>
              </p:cNvSpPr>
              <p:nvPr>
                <p:custDataLst>
                  <p:tags r:id="rId272"/>
                </p:custDataLst>
              </p:nvPr>
            </p:nvSpPr>
            <p:spPr bwMode="gray">
              <a:xfrm>
                <a:off x="2941" y="2045"/>
                <a:ext cx="107" cy="109"/>
              </a:xfrm>
              <a:custGeom>
                <a:avLst/>
                <a:gdLst/>
                <a:ahLst/>
                <a:cxnLst>
                  <a:cxn ang="0">
                    <a:pos x="527" y="500"/>
                  </a:cxn>
                  <a:cxn ang="0">
                    <a:pos x="510" y="490"/>
                  </a:cxn>
                  <a:cxn ang="0">
                    <a:pos x="505" y="494"/>
                  </a:cxn>
                  <a:cxn ang="0">
                    <a:pos x="479" y="489"/>
                  </a:cxn>
                  <a:cxn ang="0">
                    <a:pos x="452" y="512"/>
                  </a:cxn>
                  <a:cxn ang="0">
                    <a:pos x="426" y="548"/>
                  </a:cxn>
                  <a:cxn ang="0">
                    <a:pos x="265" y="515"/>
                  </a:cxn>
                  <a:cxn ang="0">
                    <a:pos x="263" y="472"/>
                  </a:cxn>
                  <a:cxn ang="0">
                    <a:pos x="232" y="467"/>
                  </a:cxn>
                  <a:cxn ang="0">
                    <a:pos x="218" y="444"/>
                  </a:cxn>
                  <a:cxn ang="0">
                    <a:pos x="100" y="376"/>
                  </a:cxn>
                  <a:cxn ang="0">
                    <a:pos x="0" y="278"/>
                  </a:cxn>
                  <a:cxn ang="0">
                    <a:pos x="58" y="237"/>
                  </a:cxn>
                  <a:cxn ang="0">
                    <a:pos x="95" y="220"/>
                  </a:cxn>
                  <a:cxn ang="0">
                    <a:pos x="111" y="209"/>
                  </a:cxn>
                  <a:cxn ang="0">
                    <a:pos x="133" y="180"/>
                  </a:cxn>
                  <a:cxn ang="0">
                    <a:pos x="140" y="73"/>
                  </a:cxn>
                  <a:cxn ang="0">
                    <a:pos x="189" y="31"/>
                  </a:cxn>
                  <a:cxn ang="0">
                    <a:pos x="229" y="0"/>
                  </a:cxn>
                  <a:cxn ang="0">
                    <a:pos x="279" y="10"/>
                  </a:cxn>
                  <a:cxn ang="0">
                    <a:pos x="306" y="20"/>
                  </a:cxn>
                  <a:cxn ang="0">
                    <a:pos x="329" y="14"/>
                  </a:cxn>
                  <a:cxn ang="0">
                    <a:pos x="344" y="64"/>
                  </a:cxn>
                  <a:cxn ang="0">
                    <a:pos x="362" y="96"/>
                  </a:cxn>
                  <a:cxn ang="0">
                    <a:pos x="396" y="112"/>
                  </a:cxn>
                  <a:cxn ang="0">
                    <a:pos x="404" y="119"/>
                  </a:cxn>
                  <a:cxn ang="0">
                    <a:pos x="403" y="152"/>
                  </a:cxn>
                  <a:cxn ang="0">
                    <a:pos x="381" y="184"/>
                  </a:cxn>
                  <a:cxn ang="0">
                    <a:pos x="374" y="195"/>
                  </a:cxn>
                  <a:cxn ang="0">
                    <a:pos x="366" y="227"/>
                  </a:cxn>
                  <a:cxn ang="0">
                    <a:pos x="359" y="236"/>
                  </a:cxn>
                  <a:cxn ang="0">
                    <a:pos x="367" y="256"/>
                  </a:cxn>
                  <a:cxn ang="0">
                    <a:pos x="380" y="264"/>
                  </a:cxn>
                  <a:cxn ang="0">
                    <a:pos x="393" y="283"/>
                  </a:cxn>
                  <a:cxn ang="0">
                    <a:pos x="405" y="301"/>
                  </a:cxn>
                  <a:cxn ang="0">
                    <a:pos x="432" y="322"/>
                  </a:cxn>
                  <a:cxn ang="0">
                    <a:pos x="457" y="331"/>
                  </a:cxn>
                  <a:cxn ang="0">
                    <a:pos x="473" y="355"/>
                  </a:cxn>
                  <a:cxn ang="0">
                    <a:pos x="487" y="381"/>
                  </a:cxn>
                  <a:cxn ang="0">
                    <a:pos x="482" y="429"/>
                  </a:cxn>
                  <a:cxn ang="0">
                    <a:pos x="499" y="456"/>
                  </a:cxn>
                  <a:cxn ang="0">
                    <a:pos x="511" y="472"/>
                  </a:cxn>
                  <a:cxn ang="0">
                    <a:pos x="534" y="489"/>
                  </a:cxn>
                </a:cxnLst>
                <a:rect l="0" t="0" r="r" b="b"/>
                <a:pathLst>
                  <a:path w="534" h="548">
                    <a:moveTo>
                      <a:pt x="534" y="489"/>
                    </a:moveTo>
                    <a:lnTo>
                      <a:pt x="527" y="500"/>
                    </a:lnTo>
                    <a:lnTo>
                      <a:pt x="520" y="495"/>
                    </a:lnTo>
                    <a:lnTo>
                      <a:pt x="510" y="490"/>
                    </a:lnTo>
                    <a:lnTo>
                      <a:pt x="507" y="491"/>
                    </a:lnTo>
                    <a:lnTo>
                      <a:pt x="505" y="494"/>
                    </a:lnTo>
                    <a:lnTo>
                      <a:pt x="493" y="490"/>
                    </a:lnTo>
                    <a:lnTo>
                      <a:pt x="479" y="489"/>
                    </a:lnTo>
                    <a:lnTo>
                      <a:pt x="463" y="495"/>
                    </a:lnTo>
                    <a:lnTo>
                      <a:pt x="452" y="512"/>
                    </a:lnTo>
                    <a:lnTo>
                      <a:pt x="442" y="532"/>
                    </a:lnTo>
                    <a:lnTo>
                      <a:pt x="426" y="548"/>
                    </a:lnTo>
                    <a:lnTo>
                      <a:pt x="328" y="543"/>
                    </a:lnTo>
                    <a:lnTo>
                      <a:pt x="265" y="515"/>
                    </a:lnTo>
                    <a:lnTo>
                      <a:pt x="263" y="511"/>
                    </a:lnTo>
                    <a:lnTo>
                      <a:pt x="263" y="472"/>
                    </a:lnTo>
                    <a:lnTo>
                      <a:pt x="261" y="469"/>
                    </a:lnTo>
                    <a:lnTo>
                      <a:pt x="232" y="467"/>
                    </a:lnTo>
                    <a:lnTo>
                      <a:pt x="224" y="449"/>
                    </a:lnTo>
                    <a:lnTo>
                      <a:pt x="218" y="444"/>
                    </a:lnTo>
                    <a:lnTo>
                      <a:pt x="162" y="423"/>
                    </a:lnTo>
                    <a:lnTo>
                      <a:pt x="100" y="376"/>
                    </a:lnTo>
                    <a:lnTo>
                      <a:pt x="16" y="353"/>
                    </a:lnTo>
                    <a:lnTo>
                      <a:pt x="0" y="278"/>
                    </a:lnTo>
                    <a:lnTo>
                      <a:pt x="43" y="248"/>
                    </a:lnTo>
                    <a:lnTo>
                      <a:pt x="58" y="237"/>
                    </a:lnTo>
                    <a:lnTo>
                      <a:pt x="73" y="232"/>
                    </a:lnTo>
                    <a:lnTo>
                      <a:pt x="95" y="220"/>
                    </a:lnTo>
                    <a:lnTo>
                      <a:pt x="107" y="213"/>
                    </a:lnTo>
                    <a:lnTo>
                      <a:pt x="111" y="209"/>
                    </a:lnTo>
                    <a:lnTo>
                      <a:pt x="123" y="204"/>
                    </a:lnTo>
                    <a:lnTo>
                      <a:pt x="133" y="180"/>
                    </a:lnTo>
                    <a:lnTo>
                      <a:pt x="136" y="143"/>
                    </a:lnTo>
                    <a:lnTo>
                      <a:pt x="140" y="73"/>
                    </a:lnTo>
                    <a:lnTo>
                      <a:pt x="171" y="60"/>
                    </a:lnTo>
                    <a:lnTo>
                      <a:pt x="189" y="31"/>
                    </a:lnTo>
                    <a:lnTo>
                      <a:pt x="204" y="22"/>
                    </a:lnTo>
                    <a:lnTo>
                      <a:pt x="229" y="0"/>
                    </a:lnTo>
                    <a:lnTo>
                      <a:pt x="249" y="9"/>
                    </a:lnTo>
                    <a:lnTo>
                      <a:pt x="279" y="10"/>
                    </a:lnTo>
                    <a:lnTo>
                      <a:pt x="297" y="9"/>
                    </a:lnTo>
                    <a:lnTo>
                      <a:pt x="306" y="20"/>
                    </a:lnTo>
                    <a:lnTo>
                      <a:pt x="322" y="22"/>
                    </a:lnTo>
                    <a:lnTo>
                      <a:pt x="329" y="14"/>
                    </a:lnTo>
                    <a:lnTo>
                      <a:pt x="334" y="47"/>
                    </a:lnTo>
                    <a:lnTo>
                      <a:pt x="344" y="64"/>
                    </a:lnTo>
                    <a:lnTo>
                      <a:pt x="356" y="74"/>
                    </a:lnTo>
                    <a:lnTo>
                      <a:pt x="362" y="96"/>
                    </a:lnTo>
                    <a:lnTo>
                      <a:pt x="374" y="107"/>
                    </a:lnTo>
                    <a:lnTo>
                      <a:pt x="396" y="112"/>
                    </a:lnTo>
                    <a:lnTo>
                      <a:pt x="410" y="112"/>
                    </a:lnTo>
                    <a:lnTo>
                      <a:pt x="404" y="119"/>
                    </a:lnTo>
                    <a:lnTo>
                      <a:pt x="398" y="133"/>
                    </a:lnTo>
                    <a:lnTo>
                      <a:pt x="403" y="152"/>
                    </a:lnTo>
                    <a:lnTo>
                      <a:pt x="394" y="162"/>
                    </a:lnTo>
                    <a:lnTo>
                      <a:pt x="381" y="184"/>
                    </a:lnTo>
                    <a:lnTo>
                      <a:pt x="382" y="192"/>
                    </a:lnTo>
                    <a:lnTo>
                      <a:pt x="374" y="195"/>
                    </a:lnTo>
                    <a:lnTo>
                      <a:pt x="370" y="202"/>
                    </a:lnTo>
                    <a:lnTo>
                      <a:pt x="366" y="227"/>
                    </a:lnTo>
                    <a:lnTo>
                      <a:pt x="362" y="234"/>
                    </a:lnTo>
                    <a:lnTo>
                      <a:pt x="359" y="236"/>
                    </a:lnTo>
                    <a:lnTo>
                      <a:pt x="361" y="251"/>
                    </a:lnTo>
                    <a:lnTo>
                      <a:pt x="367" y="256"/>
                    </a:lnTo>
                    <a:lnTo>
                      <a:pt x="376" y="256"/>
                    </a:lnTo>
                    <a:lnTo>
                      <a:pt x="380" y="264"/>
                    </a:lnTo>
                    <a:lnTo>
                      <a:pt x="387" y="269"/>
                    </a:lnTo>
                    <a:lnTo>
                      <a:pt x="393" y="283"/>
                    </a:lnTo>
                    <a:lnTo>
                      <a:pt x="393" y="294"/>
                    </a:lnTo>
                    <a:lnTo>
                      <a:pt x="405" y="301"/>
                    </a:lnTo>
                    <a:lnTo>
                      <a:pt x="420" y="311"/>
                    </a:lnTo>
                    <a:lnTo>
                      <a:pt x="432" y="322"/>
                    </a:lnTo>
                    <a:lnTo>
                      <a:pt x="444" y="327"/>
                    </a:lnTo>
                    <a:lnTo>
                      <a:pt x="457" y="331"/>
                    </a:lnTo>
                    <a:lnTo>
                      <a:pt x="466" y="340"/>
                    </a:lnTo>
                    <a:lnTo>
                      <a:pt x="473" y="355"/>
                    </a:lnTo>
                    <a:lnTo>
                      <a:pt x="480" y="367"/>
                    </a:lnTo>
                    <a:lnTo>
                      <a:pt x="487" y="381"/>
                    </a:lnTo>
                    <a:lnTo>
                      <a:pt x="483" y="408"/>
                    </a:lnTo>
                    <a:lnTo>
                      <a:pt x="482" y="429"/>
                    </a:lnTo>
                    <a:lnTo>
                      <a:pt x="495" y="436"/>
                    </a:lnTo>
                    <a:lnTo>
                      <a:pt x="499" y="456"/>
                    </a:lnTo>
                    <a:lnTo>
                      <a:pt x="504" y="464"/>
                    </a:lnTo>
                    <a:lnTo>
                      <a:pt x="511" y="472"/>
                    </a:lnTo>
                    <a:lnTo>
                      <a:pt x="531" y="487"/>
                    </a:lnTo>
                    <a:lnTo>
                      <a:pt x="534" y="48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" name="Qatar"/>
              <p:cNvSpPr>
                <a:spLocks noChangeAspect="1"/>
              </p:cNvSpPr>
              <p:nvPr>
                <p:custDataLst>
                  <p:tags r:id="rId273"/>
                </p:custDataLst>
              </p:nvPr>
            </p:nvSpPr>
            <p:spPr bwMode="gray">
              <a:xfrm>
                <a:off x="3072" y="2191"/>
                <a:ext cx="9" cy="20"/>
              </a:xfrm>
              <a:custGeom>
                <a:avLst/>
                <a:gdLst/>
                <a:ahLst/>
                <a:cxnLst>
                  <a:cxn ang="0">
                    <a:pos x="16" y="98"/>
                  </a:cxn>
                  <a:cxn ang="0">
                    <a:pos x="35" y="90"/>
                  </a:cxn>
                  <a:cxn ang="0">
                    <a:pos x="38" y="87"/>
                  </a:cxn>
                  <a:cxn ang="0">
                    <a:pos x="39" y="81"/>
                  </a:cxn>
                  <a:cxn ang="0">
                    <a:pos x="43" y="74"/>
                  </a:cxn>
                  <a:cxn ang="0">
                    <a:pos x="44" y="70"/>
                  </a:cxn>
                  <a:cxn ang="0">
                    <a:pos x="44" y="55"/>
                  </a:cxn>
                  <a:cxn ang="0">
                    <a:pos x="40" y="50"/>
                  </a:cxn>
                  <a:cxn ang="0">
                    <a:pos x="40" y="42"/>
                  </a:cxn>
                  <a:cxn ang="0">
                    <a:pos x="40" y="33"/>
                  </a:cxn>
                  <a:cxn ang="0">
                    <a:pos x="43" y="32"/>
                  </a:cxn>
                  <a:cxn ang="0">
                    <a:pos x="41" y="29"/>
                  </a:cxn>
                  <a:cxn ang="0">
                    <a:pos x="44" y="25"/>
                  </a:cxn>
                  <a:cxn ang="0">
                    <a:pos x="44" y="21"/>
                  </a:cxn>
                  <a:cxn ang="0">
                    <a:pos x="45" y="16"/>
                  </a:cxn>
                  <a:cxn ang="0">
                    <a:pos x="43" y="15"/>
                  </a:cxn>
                  <a:cxn ang="0">
                    <a:pos x="36" y="12"/>
                  </a:cxn>
                  <a:cxn ang="0">
                    <a:pos x="34" y="10"/>
                  </a:cxn>
                  <a:cxn ang="0">
                    <a:pos x="34" y="6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4"/>
                  </a:cxn>
                  <a:cxn ang="0">
                    <a:pos x="13" y="12"/>
                  </a:cxn>
                  <a:cxn ang="0">
                    <a:pos x="11" y="26"/>
                  </a:cxn>
                  <a:cxn ang="0">
                    <a:pos x="7" y="36"/>
                  </a:cxn>
                  <a:cxn ang="0">
                    <a:pos x="1" y="43"/>
                  </a:cxn>
                  <a:cxn ang="0">
                    <a:pos x="1" y="50"/>
                  </a:cxn>
                  <a:cxn ang="0">
                    <a:pos x="0" y="55"/>
                  </a:cxn>
                  <a:cxn ang="0">
                    <a:pos x="2" y="58"/>
                  </a:cxn>
                  <a:cxn ang="0">
                    <a:pos x="0" y="63"/>
                  </a:cxn>
                  <a:cxn ang="0">
                    <a:pos x="1" y="66"/>
                  </a:cxn>
                  <a:cxn ang="0">
                    <a:pos x="5" y="74"/>
                  </a:cxn>
                  <a:cxn ang="0">
                    <a:pos x="2" y="77"/>
                  </a:cxn>
                  <a:cxn ang="0">
                    <a:pos x="5" y="80"/>
                  </a:cxn>
                  <a:cxn ang="0">
                    <a:pos x="3" y="84"/>
                  </a:cxn>
                  <a:cxn ang="0">
                    <a:pos x="2" y="85"/>
                  </a:cxn>
                  <a:cxn ang="0">
                    <a:pos x="9" y="97"/>
                  </a:cxn>
                  <a:cxn ang="0">
                    <a:pos x="16" y="98"/>
                  </a:cxn>
                </a:cxnLst>
                <a:rect l="0" t="0" r="r" b="b"/>
                <a:pathLst>
                  <a:path w="45" h="98">
                    <a:moveTo>
                      <a:pt x="16" y="98"/>
                    </a:moveTo>
                    <a:lnTo>
                      <a:pt x="35" y="90"/>
                    </a:lnTo>
                    <a:lnTo>
                      <a:pt x="38" y="87"/>
                    </a:lnTo>
                    <a:lnTo>
                      <a:pt x="39" y="81"/>
                    </a:lnTo>
                    <a:lnTo>
                      <a:pt x="43" y="74"/>
                    </a:lnTo>
                    <a:lnTo>
                      <a:pt x="44" y="70"/>
                    </a:lnTo>
                    <a:lnTo>
                      <a:pt x="44" y="55"/>
                    </a:lnTo>
                    <a:lnTo>
                      <a:pt x="40" y="50"/>
                    </a:lnTo>
                    <a:lnTo>
                      <a:pt x="40" y="42"/>
                    </a:lnTo>
                    <a:lnTo>
                      <a:pt x="40" y="33"/>
                    </a:lnTo>
                    <a:lnTo>
                      <a:pt x="43" y="32"/>
                    </a:lnTo>
                    <a:lnTo>
                      <a:pt x="41" y="29"/>
                    </a:lnTo>
                    <a:lnTo>
                      <a:pt x="44" y="25"/>
                    </a:lnTo>
                    <a:lnTo>
                      <a:pt x="44" y="21"/>
                    </a:lnTo>
                    <a:lnTo>
                      <a:pt x="45" y="16"/>
                    </a:lnTo>
                    <a:lnTo>
                      <a:pt x="43" y="15"/>
                    </a:lnTo>
                    <a:lnTo>
                      <a:pt x="36" y="12"/>
                    </a:lnTo>
                    <a:lnTo>
                      <a:pt x="34" y="10"/>
                    </a:lnTo>
                    <a:lnTo>
                      <a:pt x="34" y="6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4"/>
                    </a:lnTo>
                    <a:lnTo>
                      <a:pt x="13" y="12"/>
                    </a:lnTo>
                    <a:lnTo>
                      <a:pt x="11" y="26"/>
                    </a:lnTo>
                    <a:lnTo>
                      <a:pt x="7" y="36"/>
                    </a:lnTo>
                    <a:lnTo>
                      <a:pt x="1" y="43"/>
                    </a:lnTo>
                    <a:lnTo>
                      <a:pt x="1" y="50"/>
                    </a:lnTo>
                    <a:lnTo>
                      <a:pt x="0" y="55"/>
                    </a:lnTo>
                    <a:lnTo>
                      <a:pt x="2" y="58"/>
                    </a:lnTo>
                    <a:lnTo>
                      <a:pt x="0" y="63"/>
                    </a:lnTo>
                    <a:lnTo>
                      <a:pt x="1" y="66"/>
                    </a:lnTo>
                    <a:lnTo>
                      <a:pt x="5" y="74"/>
                    </a:lnTo>
                    <a:lnTo>
                      <a:pt x="2" y="77"/>
                    </a:lnTo>
                    <a:lnTo>
                      <a:pt x="5" y="80"/>
                    </a:lnTo>
                    <a:lnTo>
                      <a:pt x="3" y="84"/>
                    </a:lnTo>
                    <a:lnTo>
                      <a:pt x="2" y="85"/>
                    </a:lnTo>
                    <a:lnTo>
                      <a:pt x="9" y="97"/>
                    </a:lnTo>
                    <a:lnTo>
                      <a:pt x="16" y="9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5" name="United Arab Emirates"/>
              <p:cNvSpPr>
                <a:spLocks noChangeAspect="1"/>
              </p:cNvSpPr>
              <p:nvPr>
                <p:custDataLst>
                  <p:tags r:id="rId274"/>
                </p:custDataLst>
              </p:nvPr>
            </p:nvSpPr>
            <p:spPr bwMode="gray">
              <a:xfrm>
                <a:off x="3075" y="2192"/>
                <a:ext cx="58" cy="43"/>
              </a:xfrm>
              <a:custGeom>
                <a:avLst/>
                <a:gdLst/>
                <a:ahLst/>
                <a:cxnLst>
                  <a:cxn ang="0">
                    <a:pos x="217" y="215"/>
                  </a:cxn>
                  <a:cxn ang="0">
                    <a:pos x="36" y="136"/>
                  </a:cxn>
                  <a:cxn ang="0">
                    <a:pos x="0" y="92"/>
                  </a:cxn>
                  <a:cxn ang="0">
                    <a:pos x="17" y="89"/>
                  </a:cxn>
                  <a:cxn ang="0">
                    <a:pos x="20" y="95"/>
                  </a:cxn>
                  <a:cxn ang="0">
                    <a:pos x="17" y="107"/>
                  </a:cxn>
                  <a:cxn ang="0">
                    <a:pos x="30" y="109"/>
                  </a:cxn>
                  <a:cxn ang="0">
                    <a:pos x="35" y="107"/>
                  </a:cxn>
                  <a:cxn ang="0">
                    <a:pos x="41" y="122"/>
                  </a:cxn>
                  <a:cxn ang="0">
                    <a:pos x="70" y="124"/>
                  </a:cxn>
                  <a:cxn ang="0">
                    <a:pos x="79" y="118"/>
                  </a:cxn>
                  <a:cxn ang="0">
                    <a:pos x="110" y="114"/>
                  </a:cxn>
                  <a:cxn ang="0">
                    <a:pos x="125" y="118"/>
                  </a:cxn>
                  <a:cxn ang="0">
                    <a:pos x="159" y="119"/>
                  </a:cxn>
                  <a:cxn ang="0">
                    <a:pos x="169" y="109"/>
                  </a:cxn>
                  <a:cxn ang="0">
                    <a:pos x="180" y="106"/>
                  </a:cxn>
                  <a:cxn ang="0">
                    <a:pos x="186" y="102"/>
                  </a:cxn>
                  <a:cxn ang="0">
                    <a:pos x="184" y="97"/>
                  </a:cxn>
                  <a:cxn ang="0">
                    <a:pos x="192" y="95"/>
                  </a:cxn>
                  <a:cxn ang="0">
                    <a:pos x="195" y="91"/>
                  </a:cxn>
                  <a:cxn ang="0">
                    <a:pos x="197" y="84"/>
                  </a:cxn>
                  <a:cxn ang="0">
                    <a:pos x="201" y="76"/>
                  </a:cxn>
                  <a:cxn ang="0">
                    <a:pos x="213" y="65"/>
                  </a:cxn>
                  <a:cxn ang="0">
                    <a:pos x="219" y="59"/>
                  </a:cxn>
                  <a:cxn ang="0">
                    <a:pos x="233" y="48"/>
                  </a:cxn>
                  <a:cxn ang="0">
                    <a:pos x="238" y="43"/>
                  </a:cxn>
                  <a:cxn ang="0">
                    <a:pos x="240" y="39"/>
                  </a:cxn>
                  <a:cxn ang="0">
                    <a:pos x="245" y="32"/>
                  </a:cxn>
                  <a:cxn ang="0">
                    <a:pos x="249" y="27"/>
                  </a:cxn>
                  <a:cxn ang="0">
                    <a:pos x="270" y="10"/>
                  </a:cxn>
                  <a:cxn ang="0">
                    <a:pos x="275" y="4"/>
                  </a:cxn>
                  <a:cxn ang="0">
                    <a:pos x="276" y="12"/>
                  </a:cxn>
                  <a:cxn ang="0">
                    <a:pos x="275" y="21"/>
                  </a:cxn>
                  <a:cxn ang="0">
                    <a:pos x="285" y="25"/>
                  </a:cxn>
                  <a:cxn ang="0">
                    <a:pos x="287" y="64"/>
                  </a:cxn>
                  <a:cxn ang="0">
                    <a:pos x="255" y="73"/>
                  </a:cxn>
                  <a:cxn ang="0">
                    <a:pos x="239" y="132"/>
                  </a:cxn>
                </a:cxnLst>
                <a:rect l="0" t="0" r="r" b="b"/>
                <a:pathLst>
                  <a:path w="288" h="215">
                    <a:moveTo>
                      <a:pt x="228" y="203"/>
                    </a:moveTo>
                    <a:lnTo>
                      <a:pt x="217" y="215"/>
                    </a:lnTo>
                    <a:lnTo>
                      <a:pt x="52" y="184"/>
                    </a:lnTo>
                    <a:lnTo>
                      <a:pt x="36" y="136"/>
                    </a:lnTo>
                    <a:lnTo>
                      <a:pt x="3" y="107"/>
                    </a:lnTo>
                    <a:lnTo>
                      <a:pt x="0" y="92"/>
                    </a:lnTo>
                    <a:lnTo>
                      <a:pt x="19" y="84"/>
                    </a:lnTo>
                    <a:lnTo>
                      <a:pt x="17" y="89"/>
                    </a:lnTo>
                    <a:lnTo>
                      <a:pt x="17" y="92"/>
                    </a:lnTo>
                    <a:lnTo>
                      <a:pt x="20" y="95"/>
                    </a:lnTo>
                    <a:lnTo>
                      <a:pt x="17" y="100"/>
                    </a:lnTo>
                    <a:lnTo>
                      <a:pt x="17" y="107"/>
                    </a:lnTo>
                    <a:lnTo>
                      <a:pt x="24" y="107"/>
                    </a:lnTo>
                    <a:lnTo>
                      <a:pt x="30" y="109"/>
                    </a:lnTo>
                    <a:lnTo>
                      <a:pt x="34" y="107"/>
                    </a:lnTo>
                    <a:lnTo>
                      <a:pt x="35" y="107"/>
                    </a:lnTo>
                    <a:lnTo>
                      <a:pt x="36" y="118"/>
                    </a:lnTo>
                    <a:lnTo>
                      <a:pt x="41" y="122"/>
                    </a:lnTo>
                    <a:lnTo>
                      <a:pt x="55" y="124"/>
                    </a:lnTo>
                    <a:lnTo>
                      <a:pt x="70" y="124"/>
                    </a:lnTo>
                    <a:lnTo>
                      <a:pt x="73" y="123"/>
                    </a:lnTo>
                    <a:lnTo>
                      <a:pt x="79" y="118"/>
                    </a:lnTo>
                    <a:lnTo>
                      <a:pt x="88" y="112"/>
                    </a:lnTo>
                    <a:lnTo>
                      <a:pt x="110" y="114"/>
                    </a:lnTo>
                    <a:lnTo>
                      <a:pt x="119" y="118"/>
                    </a:lnTo>
                    <a:lnTo>
                      <a:pt x="125" y="118"/>
                    </a:lnTo>
                    <a:lnTo>
                      <a:pt x="135" y="121"/>
                    </a:lnTo>
                    <a:lnTo>
                      <a:pt x="159" y="119"/>
                    </a:lnTo>
                    <a:lnTo>
                      <a:pt x="164" y="116"/>
                    </a:lnTo>
                    <a:lnTo>
                      <a:pt x="169" y="109"/>
                    </a:lnTo>
                    <a:lnTo>
                      <a:pt x="178" y="107"/>
                    </a:lnTo>
                    <a:lnTo>
                      <a:pt x="180" y="106"/>
                    </a:lnTo>
                    <a:lnTo>
                      <a:pt x="185" y="103"/>
                    </a:lnTo>
                    <a:lnTo>
                      <a:pt x="186" y="102"/>
                    </a:lnTo>
                    <a:lnTo>
                      <a:pt x="184" y="98"/>
                    </a:lnTo>
                    <a:lnTo>
                      <a:pt x="184" y="97"/>
                    </a:lnTo>
                    <a:lnTo>
                      <a:pt x="184" y="96"/>
                    </a:lnTo>
                    <a:lnTo>
                      <a:pt x="192" y="95"/>
                    </a:lnTo>
                    <a:lnTo>
                      <a:pt x="191" y="92"/>
                    </a:lnTo>
                    <a:lnTo>
                      <a:pt x="195" y="91"/>
                    </a:lnTo>
                    <a:lnTo>
                      <a:pt x="194" y="87"/>
                    </a:lnTo>
                    <a:lnTo>
                      <a:pt x="197" y="84"/>
                    </a:lnTo>
                    <a:lnTo>
                      <a:pt x="197" y="80"/>
                    </a:lnTo>
                    <a:lnTo>
                      <a:pt x="201" y="76"/>
                    </a:lnTo>
                    <a:lnTo>
                      <a:pt x="211" y="73"/>
                    </a:lnTo>
                    <a:lnTo>
                      <a:pt x="213" y="65"/>
                    </a:lnTo>
                    <a:lnTo>
                      <a:pt x="217" y="63"/>
                    </a:lnTo>
                    <a:lnTo>
                      <a:pt x="219" y="59"/>
                    </a:lnTo>
                    <a:lnTo>
                      <a:pt x="228" y="53"/>
                    </a:lnTo>
                    <a:lnTo>
                      <a:pt x="233" y="48"/>
                    </a:lnTo>
                    <a:lnTo>
                      <a:pt x="237" y="46"/>
                    </a:lnTo>
                    <a:lnTo>
                      <a:pt x="238" y="43"/>
                    </a:lnTo>
                    <a:lnTo>
                      <a:pt x="239" y="42"/>
                    </a:lnTo>
                    <a:lnTo>
                      <a:pt x="240" y="39"/>
                    </a:lnTo>
                    <a:lnTo>
                      <a:pt x="245" y="35"/>
                    </a:lnTo>
                    <a:lnTo>
                      <a:pt x="245" y="32"/>
                    </a:lnTo>
                    <a:lnTo>
                      <a:pt x="248" y="31"/>
                    </a:lnTo>
                    <a:lnTo>
                      <a:pt x="249" y="27"/>
                    </a:lnTo>
                    <a:lnTo>
                      <a:pt x="259" y="21"/>
                    </a:lnTo>
                    <a:lnTo>
                      <a:pt x="270" y="10"/>
                    </a:lnTo>
                    <a:lnTo>
                      <a:pt x="274" y="0"/>
                    </a:lnTo>
                    <a:lnTo>
                      <a:pt x="275" y="4"/>
                    </a:lnTo>
                    <a:lnTo>
                      <a:pt x="277" y="10"/>
                    </a:lnTo>
                    <a:lnTo>
                      <a:pt x="276" y="12"/>
                    </a:lnTo>
                    <a:lnTo>
                      <a:pt x="277" y="16"/>
                    </a:lnTo>
                    <a:lnTo>
                      <a:pt x="275" y="21"/>
                    </a:lnTo>
                    <a:lnTo>
                      <a:pt x="277" y="22"/>
                    </a:lnTo>
                    <a:lnTo>
                      <a:pt x="285" y="25"/>
                    </a:lnTo>
                    <a:lnTo>
                      <a:pt x="288" y="31"/>
                    </a:lnTo>
                    <a:lnTo>
                      <a:pt x="287" y="64"/>
                    </a:lnTo>
                    <a:lnTo>
                      <a:pt x="288" y="73"/>
                    </a:lnTo>
                    <a:lnTo>
                      <a:pt x="255" y="73"/>
                    </a:lnTo>
                    <a:lnTo>
                      <a:pt x="272" y="119"/>
                    </a:lnTo>
                    <a:lnTo>
                      <a:pt x="239" y="132"/>
                    </a:lnTo>
                    <a:lnTo>
                      <a:pt x="228" y="20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96" name="Group 159"/>
              <p:cNvGrpSpPr>
                <a:grpSpLocks noChangeAspect="1"/>
              </p:cNvGrpSpPr>
              <p:nvPr/>
            </p:nvGrpSpPr>
            <p:grpSpPr bwMode="gray">
              <a:xfrm>
                <a:off x="2802" y="1979"/>
                <a:ext cx="205" cy="88"/>
                <a:chOff x="2802" y="1979"/>
                <a:chExt cx="205" cy="88"/>
              </a:xfrm>
              <a:grpFill/>
            </p:grpSpPr>
            <p:sp>
              <p:nvSpPr>
                <p:cNvPr id="300" name="Turkey"/>
                <p:cNvSpPr>
                  <a:spLocks noChangeAspect="1"/>
                </p:cNvSpPr>
                <p:nvPr>
                  <p:custDataLst>
                    <p:tags r:id="rId278"/>
                  </p:custDataLst>
                </p:nvPr>
              </p:nvSpPr>
              <p:spPr bwMode="gray">
                <a:xfrm>
                  <a:off x="2803" y="1979"/>
                  <a:ext cx="204" cy="88"/>
                </a:xfrm>
                <a:custGeom>
                  <a:avLst/>
                  <a:gdLst/>
                  <a:ahLst/>
                  <a:cxnLst>
                    <a:cxn ang="0">
                      <a:pos x="552" y="379"/>
                    </a:cxn>
                    <a:cxn ang="0">
                      <a:pos x="503" y="390"/>
                    </a:cxn>
                    <a:cxn ang="0">
                      <a:pos x="460" y="379"/>
                    </a:cxn>
                    <a:cxn ang="0">
                      <a:pos x="408" y="418"/>
                    </a:cxn>
                    <a:cxn ang="0">
                      <a:pos x="341" y="409"/>
                    </a:cxn>
                    <a:cxn ang="0">
                      <a:pos x="283" y="370"/>
                    </a:cxn>
                    <a:cxn ang="0">
                      <a:pos x="245" y="391"/>
                    </a:cxn>
                    <a:cxn ang="0">
                      <a:pos x="196" y="417"/>
                    </a:cxn>
                    <a:cxn ang="0">
                      <a:pos x="164" y="381"/>
                    </a:cxn>
                    <a:cxn ang="0">
                      <a:pos x="143" y="380"/>
                    </a:cxn>
                    <a:cxn ang="0">
                      <a:pos x="107" y="386"/>
                    </a:cxn>
                    <a:cxn ang="0">
                      <a:pos x="79" y="378"/>
                    </a:cxn>
                    <a:cxn ang="0">
                      <a:pos x="118" y="362"/>
                    </a:cxn>
                    <a:cxn ang="0">
                      <a:pos x="67" y="355"/>
                    </a:cxn>
                    <a:cxn ang="0">
                      <a:pos x="64" y="325"/>
                    </a:cxn>
                    <a:cxn ang="0">
                      <a:pos x="52" y="312"/>
                    </a:cxn>
                    <a:cxn ang="0">
                      <a:pos x="37" y="283"/>
                    </a:cxn>
                    <a:cxn ang="0">
                      <a:pos x="10" y="268"/>
                    </a:cxn>
                    <a:cxn ang="0">
                      <a:pos x="22" y="246"/>
                    </a:cxn>
                    <a:cxn ang="0">
                      <a:pos x="52" y="260"/>
                    </a:cxn>
                    <a:cxn ang="0">
                      <a:pos x="44" y="226"/>
                    </a:cxn>
                    <a:cxn ang="0">
                      <a:pos x="43" y="186"/>
                    </a:cxn>
                    <a:cxn ang="0">
                      <a:pos x="3" y="160"/>
                    </a:cxn>
                    <a:cxn ang="0">
                      <a:pos x="35" y="122"/>
                    </a:cxn>
                    <a:cxn ang="0">
                      <a:pos x="91" y="126"/>
                    </a:cxn>
                    <a:cxn ang="0">
                      <a:pos x="108" y="123"/>
                    </a:cxn>
                    <a:cxn ang="0">
                      <a:pos x="151" y="111"/>
                    </a:cxn>
                    <a:cxn ang="0">
                      <a:pos x="196" y="94"/>
                    </a:cxn>
                    <a:cxn ang="0">
                      <a:pos x="167" y="83"/>
                    </a:cxn>
                    <a:cxn ang="0">
                      <a:pos x="180" y="66"/>
                    </a:cxn>
                    <a:cxn ang="0">
                      <a:pos x="253" y="74"/>
                    </a:cxn>
                    <a:cxn ang="0">
                      <a:pos x="318" y="41"/>
                    </a:cxn>
                    <a:cxn ang="0">
                      <a:pos x="398" y="7"/>
                    </a:cxn>
                    <a:cxn ang="0">
                      <a:pos x="493" y="0"/>
                    </a:cxn>
                    <a:cxn ang="0">
                      <a:pos x="533" y="35"/>
                    </a:cxn>
                    <a:cxn ang="0">
                      <a:pos x="623" y="80"/>
                    </a:cxn>
                    <a:cxn ang="0">
                      <a:pos x="693" y="77"/>
                    </a:cxn>
                    <a:cxn ang="0">
                      <a:pos x="838" y="40"/>
                    </a:cxn>
                    <a:cxn ang="0">
                      <a:pos x="887" y="43"/>
                    </a:cxn>
                    <a:cxn ang="0">
                      <a:pos x="919" y="42"/>
                    </a:cxn>
                    <a:cxn ang="0">
                      <a:pos x="958" y="89"/>
                    </a:cxn>
                    <a:cxn ang="0">
                      <a:pos x="990" y="143"/>
                    </a:cxn>
                    <a:cxn ang="0">
                      <a:pos x="1001" y="186"/>
                    </a:cxn>
                    <a:cxn ang="0">
                      <a:pos x="997" y="263"/>
                    </a:cxn>
                    <a:cxn ang="0">
                      <a:pos x="1022" y="341"/>
                    </a:cxn>
                    <a:cxn ang="0">
                      <a:pos x="942" y="336"/>
                    </a:cxn>
                    <a:cxn ang="0">
                      <a:pos x="887" y="342"/>
                    </a:cxn>
                    <a:cxn ang="0">
                      <a:pos x="820" y="354"/>
                    </a:cxn>
                    <a:cxn ang="0">
                      <a:pos x="767" y="368"/>
                    </a:cxn>
                    <a:cxn ang="0">
                      <a:pos x="678" y="366"/>
                    </a:cxn>
                    <a:cxn ang="0">
                      <a:pos x="626" y="380"/>
                    </a:cxn>
                    <a:cxn ang="0">
                      <a:pos x="597" y="379"/>
                    </a:cxn>
                    <a:cxn ang="0">
                      <a:pos x="578" y="370"/>
                    </a:cxn>
                    <a:cxn ang="0">
                      <a:pos x="579" y="408"/>
                    </a:cxn>
                    <a:cxn ang="0">
                      <a:pos x="560" y="418"/>
                    </a:cxn>
                    <a:cxn ang="0">
                      <a:pos x="542" y="435"/>
                    </a:cxn>
                  </a:cxnLst>
                  <a:rect l="0" t="0" r="r" b="b"/>
                  <a:pathLst>
                    <a:path w="1022" h="439">
                      <a:moveTo>
                        <a:pt x="538" y="424"/>
                      </a:moveTo>
                      <a:lnTo>
                        <a:pt x="535" y="411"/>
                      </a:lnTo>
                      <a:lnTo>
                        <a:pt x="538" y="395"/>
                      </a:lnTo>
                      <a:lnTo>
                        <a:pt x="548" y="389"/>
                      </a:lnTo>
                      <a:lnTo>
                        <a:pt x="552" y="379"/>
                      </a:lnTo>
                      <a:lnTo>
                        <a:pt x="543" y="370"/>
                      </a:lnTo>
                      <a:lnTo>
                        <a:pt x="526" y="378"/>
                      </a:lnTo>
                      <a:lnTo>
                        <a:pt x="524" y="389"/>
                      </a:lnTo>
                      <a:lnTo>
                        <a:pt x="516" y="391"/>
                      </a:lnTo>
                      <a:lnTo>
                        <a:pt x="503" y="390"/>
                      </a:lnTo>
                      <a:lnTo>
                        <a:pt x="493" y="381"/>
                      </a:lnTo>
                      <a:lnTo>
                        <a:pt x="484" y="376"/>
                      </a:lnTo>
                      <a:lnTo>
                        <a:pt x="477" y="374"/>
                      </a:lnTo>
                      <a:lnTo>
                        <a:pt x="471" y="374"/>
                      </a:lnTo>
                      <a:lnTo>
                        <a:pt x="460" y="379"/>
                      </a:lnTo>
                      <a:lnTo>
                        <a:pt x="441" y="397"/>
                      </a:lnTo>
                      <a:lnTo>
                        <a:pt x="436" y="406"/>
                      </a:lnTo>
                      <a:lnTo>
                        <a:pt x="427" y="407"/>
                      </a:lnTo>
                      <a:lnTo>
                        <a:pt x="419" y="414"/>
                      </a:lnTo>
                      <a:lnTo>
                        <a:pt x="408" y="418"/>
                      </a:lnTo>
                      <a:lnTo>
                        <a:pt x="397" y="417"/>
                      </a:lnTo>
                      <a:lnTo>
                        <a:pt x="379" y="422"/>
                      </a:lnTo>
                      <a:lnTo>
                        <a:pt x="369" y="427"/>
                      </a:lnTo>
                      <a:lnTo>
                        <a:pt x="350" y="421"/>
                      </a:lnTo>
                      <a:lnTo>
                        <a:pt x="341" y="409"/>
                      </a:lnTo>
                      <a:lnTo>
                        <a:pt x="337" y="402"/>
                      </a:lnTo>
                      <a:lnTo>
                        <a:pt x="331" y="397"/>
                      </a:lnTo>
                      <a:lnTo>
                        <a:pt x="321" y="391"/>
                      </a:lnTo>
                      <a:lnTo>
                        <a:pt x="295" y="379"/>
                      </a:lnTo>
                      <a:lnTo>
                        <a:pt x="283" y="370"/>
                      </a:lnTo>
                      <a:lnTo>
                        <a:pt x="267" y="368"/>
                      </a:lnTo>
                      <a:lnTo>
                        <a:pt x="257" y="370"/>
                      </a:lnTo>
                      <a:lnTo>
                        <a:pt x="248" y="370"/>
                      </a:lnTo>
                      <a:lnTo>
                        <a:pt x="245" y="379"/>
                      </a:lnTo>
                      <a:lnTo>
                        <a:pt x="245" y="391"/>
                      </a:lnTo>
                      <a:lnTo>
                        <a:pt x="242" y="396"/>
                      </a:lnTo>
                      <a:lnTo>
                        <a:pt x="240" y="407"/>
                      </a:lnTo>
                      <a:lnTo>
                        <a:pt x="220" y="412"/>
                      </a:lnTo>
                      <a:lnTo>
                        <a:pt x="207" y="417"/>
                      </a:lnTo>
                      <a:lnTo>
                        <a:pt x="196" y="417"/>
                      </a:lnTo>
                      <a:lnTo>
                        <a:pt x="186" y="414"/>
                      </a:lnTo>
                      <a:lnTo>
                        <a:pt x="176" y="409"/>
                      </a:lnTo>
                      <a:lnTo>
                        <a:pt x="167" y="401"/>
                      </a:lnTo>
                      <a:lnTo>
                        <a:pt x="164" y="386"/>
                      </a:lnTo>
                      <a:lnTo>
                        <a:pt x="164" y="381"/>
                      </a:lnTo>
                      <a:lnTo>
                        <a:pt x="156" y="378"/>
                      </a:lnTo>
                      <a:lnTo>
                        <a:pt x="154" y="382"/>
                      </a:lnTo>
                      <a:lnTo>
                        <a:pt x="155" y="386"/>
                      </a:lnTo>
                      <a:lnTo>
                        <a:pt x="151" y="386"/>
                      </a:lnTo>
                      <a:lnTo>
                        <a:pt x="143" y="380"/>
                      </a:lnTo>
                      <a:lnTo>
                        <a:pt x="137" y="374"/>
                      </a:lnTo>
                      <a:lnTo>
                        <a:pt x="134" y="373"/>
                      </a:lnTo>
                      <a:lnTo>
                        <a:pt x="119" y="374"/>
                      </a:lnTo>
                      <a:lnTo>
                        <a:pt x="117" y="380"/>
                      </a:lnTo>
                      <a:lnTo>
                        <a:pt x="107" y="386"/>
                      </a:lnTo>
                      <a:lnTo>
                        <a:pt x="105" y="386"/>
                      </a:lnTo>
                      <a:lnTo>
                        <a:pt x="108" y="379"/>
                      </a:lnTo>
                      <a:lnTo>
                        <a:pt x="107" y="375"/>
                      </a:lnTo>
                      <a:lnTo>
                        <a:pt x="73" y="385"/>
                      </a:lnTo>
                      <a:lnTo>
                        <a:pt x="79" y="378"/>
                      </a:lnTo>
                      <a:lnTo>
                        <a:pt x="87" y="371"/>
                      </a:lnTo>
                      <a:lnTo>
                        <a:pt x="101" y="371"/>
                      </a:lnTo>
                      <a:lnTo>
                        <a:pt x="108" y="368"/>
                      </a:lnTo>
                      <a:lnTo>
                        <a:pt x="110" y="366"/>
                      </a:lnTo>
                      <a:lnTo>
                        <a:pt x="118" y="362"/>
                      </a:lnTo>
                      <a:lnTo>
                        <a:pt x="122" y="357"/>
                      </a:lnTo>
                      <a:lnTo>
                        <a:pt x="113" y="355"/>
                      </a:lnTo>
                      <a:lnTo>
                        <a:pt x="92" y="360"/>
                      </a:lnTo>
                      <a:lnTo>
                        <a:pt x="69" y="360"/>
                      </a:lnTo>
                      <a:lnTo>
                        <a:pt x="67" y="355"/>
                      </a:lnTo>
                      <a:lnTo>
                        <a:pt x="79" y="344"/>
                      </a:lnTo>
                      <a:lnTo>
                        <a:pt x="71" y="336"/>
                      </a:lnTo>
                      <a:lnTo>
                        <a:pt x="68" y="333"/>
                      </a:lnTo>
                      <a:lnTo>
                        <a:pt x="63" y="333"/>
                      </a:lnTo>
                      <a:lnTo>
                        <a:pt x="64" y="325"/>
                      </a:lnTo>
                      <a:lnTo>
                        <a:pt x="69" y="321"/>
                      </a:lnTo>
                      <a:lnTo>
                        <a:pt x="71" y="316"/>
                      </a:lnTo>
                      <a:lnTo>
                        <a:pt x="64" y="317"/>
                      </a:lnTo>
                      <a:lnTo>
                        <a:pt x="57" y="320"/>
                      </a:lnTo>
                      <a:lnTo>
                        <a:pt x="52" y="312"/>
                      </a:lnTo>
                      <a:lnTo>
                        <a:pt x="59" y="309"/>
                      </a:lnTo>
                      <a:lnTo>
                        <a:pt x="60" y="300"/>
                      </a:lnTo>
                      <a:lnTo>
                        <a:pt x="56" y="290"/>
                      </a:lnTo>
                      <a:lnTo>
                        <a:pt x="51" y="287"/>
                      </a:lnTo>
                      <a:lnTo>
                        <a:pt x="37" y="283"/>
                      </a:lnTo>
                      <a:lnTo>
                        <a:pt x="30" y="277"/>
                      </a:lnTo>
                      <a:lnTo>
                        <a:pt x="20" y="279"/>
                      </a:lnTo>
                      <a:lnTo>
                        <a:pt x="16" y="277"/>
                      </a:lnTo>
                      <a:lnTo>
                        <a:pt x="10" y="271"/>
                      </a:lnTo>
                      <a:lnTo>
                        <a:pt x="10" y="268"/>
                      </a:lnTo>
                      <a:lnTo>
                        <a:pt x="16" y="266"/>
                      </a:lnTo>
                      <a:lnTo>
                        <a:pt x="17" y="256"/>
                      </a:lnTo>
                      <a:lnTo>
                        <a:pt x="16" y="251"/>
                      </a:lnTo>
                      <a:lnTo>
                        <a:pt x="19" y="245"/>
                      </a:lnTo>
                      <a:lnTo>
                        <a:pt x="22" y="246"/>
                      </a:lnTo>
                      <a:lnTo>
                        <a:pt x="28" y="262"/>
                      </a:lnTo>
                      <a:lnTo>
                        <a:pt x="35" y="263"/>
                      </a:lnTo>
                      <a:lnTo>
                        <a:pt x="43" y="262"/>
                      </a:lnTo>
                      <a:lnTo>
                        <a:pt x="54" y="262"/>
                      </a:lnTo>
                      <a:lnTo>
                        <a:pt x="52" y="260"/>
                      </a:lnTo>
                      <a:lnTo>
                        <a:pt x="42" y="255"/>
                      </a:lnTo>
                      <a:lnTo>
                        <a:pt x="37" y="246"/>
                      </a:lnTo>
                      <a:lnTo>
                        <a:pt x="38" y="239"/>
                      </a:lnTo>
                      <a:lnTo>
                        <a:pt x="47" y="231"/>
                      </a:lnTo>
                      <a:lnTo>
                        <a:pt x="44" y="226"/>
                      </a:lnTo>
                      <a:lnTo>
                        <a:pt x="38" y="220"/>
                      </a:lnTo>
                      <a:lnTo>
                        <a:pt x="38" y="214"/>
                      </a:lnTo>
                      <a:lnTo>
                        <a:pt x="32" y="206"/>
                      </a:lnTo>
                      <a:lnTo>
                        <a:pt x="33" y="195"/>
                      </a:lnTo>
                      <a:lnTo>
                        <a:pt x="43" y="186"/>
                      </a:lnTo>
                      <a:lnTo>
                        <a:pt x="41" y="182"/>
                      </a:lnTo>
                      <a:lnTo>
                        <a:pt x="25" y="186"/>
                      </a:lnTo>
                      <a:lnTo>
                        <a:pt x="0" y="186"/>
                      </a:lnTo>
                      <a:lnTo>
                        <a:pt x="0" y="181"/>
                      </a:lnTo>
                      <a:lnTo>
                        <a:pt x="3" y="160"/>
                      </a:lnTo>
                      <a:lnTo>
                        <a:pt x="8" y="150"/>
                      </a:lnTo>
                      <a:lnTo>
                        <a:pt x="14" y="149"/>
                      </a:lnTo>
                      <a:lnTo>
                        <a:pt x="20" y="138"/>
                      </a:lnTo>
                      <a:lnTo>
                        <a:pt x="27" y="132"/>
                      </a:lnTo>
                      <a:lnTo>
                        <a:pt x="35" y="122"/>
                      </a:lnTo>
                      <a:lnTo>
                        <a:pt x="48" y="123"/>
                      </a:lnTo>
                      <a:lnTo>
                        <a:pt x="63" y="118"/>
                      </a:lnTo>
                      <a:lnTo>
                        <a:pt x="68" y="123"/>
                      </a:lnTo>
                      <a:lnTo>
                        <a:pt x="80" y="127"/>
                      </a:lnTo>
                      <a:lnTo>
                        <a:pt x="91" y="126"/>
                      </a:lnTo>
                      <a:lnTo>
                        <a:pt x="87" y="112"/>
                      </a:lnTo>
                      <a:lnTo>
                        <a:pt x="96" y="113"/>
                      </a:lnTo>
                      <a:lnTo>
                        <a:pt x="102" y="117"/>
                      </a:lnTo>
                      <a:lnTo>
                        <a:pt x="101" y="122"/>
                      </a:lnTo>
                      <a:lnTo>
                        <a:pt x="108" y="123"/>
                      </a:lnTo>
                      <a:lnTo>
                        <a:pt x="122" y="121"/>
                      </a:lnTo>
                      <a:lnTo>
                        <a:pt x="149" y="121"/>
                      </a:lnTo>
                      <a:lnTo>
                        <a:pt x="161" y="120"/>
                      </a:lnTo>
                      <a:lnTo>
                        <a:pt x="160" y="113"/>
                      </a:lnTo>
                      <a:lnTo>
                        <a:pt x="151" y="111"/>
                      </a:lnTo>
                      <a:lnTo>
                        <a:pt x="150" y="107"/>
                      </a:lnTo>
                      <a:lnTo>
                        <a:pt x="160" y="104"/>
                      </a:lnTo>
                      <a:lnTo>
                        <a:pt x="204" y="100"/>
                      </a:lnTo>
                      <a:lnTo>
                        <a:pt x="204" y="96"/>
                      </a:lnTo>
                      <a:lnTo>
                        <a:pt x="196" y="94"/>
                      </a:lnTo>
                      <a:lnTo>
                        <a:pt x="189" y="96"/>
                      </a:lnTo>
                      <a:lnTo>
                        <a:pt x="176" y="94"/>
                      </a:lnTo>
                      <a:lnTo>
                        <a:pt x="173" y="90"/>
                      </a:lnTo>
                      <a:lnTo>
                        <a:pt x="170" y="89"/>
                      </a:lnTo>
                      <a:lnTo>
                        <a:pt x="167" y="83"/>
                      </a:lnTo>
                      <a:lnTo>
                        <a:pt x="161" y="79"/>
                      </a:lnTo>
                      <a:lnTo>
                        <a:pt x="164" y="73"/>
                      </a:lnTo>
                      <a:lnTo>
                        <a:pt x="170" y="62"/>
                      </a:lnTo>
                      <a:lnTo>
                        <a:pt x="171" y="66"/>
                      </a:lnTo>
                      <a:lnTo>
                        <a:pt x="180" y="66"/>
                      </a:lnTo>
                      <a:lnTo>
                        <a:pt x="193" y="69"/>
                      </a:lnTo>
                      <a:lnTo>
                        <a:pt x="231" y="68"/>
                      </a:lnTo>
                      <a:lnTo>
                        <a:pt x="242" y="72"/>
                      </a:lnTo>
                      <a:lnTo>
                        <a:pt x="248" y="75"/>
                      </a:lnTo>
                      <a:lnTo>
                        <a:pt x="253" y="74"/>
                      </a:lnTo>
                      <a:lnTo>
                        <a:pt x="274" y="77"/>
                      </a:lnTo>
                      <a:lnTo>
                        <a:pt x="288" y="70"/>
                      </a:lnTo>
                      <a:lnTo>
                        <a:pt x="295" y="57"/>
                      </a:lnTo>
                      <a:lnTo>
                        <a:pt x="307" y="51"/>
                      </a:lnTo>
                      <a:lnTo>
                        <a:pt x="318" y="41"/>
                      </a:lnTo>
                      <a:lnTo>
                        <a:pt x="332" y="36"/>
                      </a:lnTo>
                      <a:lnTo>
                        <a:pt x="343" y="26"/>
                      </a:lnTo>
                      <a:lnTo>
                        <a:pt x="355" y="19"/>
                      </a:lnTo>
                      <a:lnTo>
                        <a:pt x="381" y="9"/>
                      </a:lnTo>
                      <a:lnTo>
                        <a:pt x="398" y="7"/>
                      </a:lnTo>
                      <a:lnTo>
                        <a:pt x="414" y="5"/>
                      </a:lnTo>
                      <a:lnTo>
                        <a:pt x="436" y="8"/>
                      </a:lnTo>
                      <a:lnTo>
                        <a:pt x="473" y="8"/>
                      </a:lnTo>
                      <a:lnTo>
                        <a:pt x="485" y="2"/>
                      </a:lnTo>
                      <a:lnTo>
                        <a:pt x="493" y="0"/>
                      </a:lnTo>
                      <a:lnTo>
                        <a:pt x="499" y="3"/>
                      </a:lnTo>
                      <a:lnTo>
                        <a:pt x="499" y="10"/>
                      </a:lnTo>
                      <a:lnTo>
                        <a:pt x="506" y="21"/>
                      </a:lnTo>
                      <a:lnTo>
                        <a:pt x="520" y="29"/>
                      </a:lnTo>
                      <a:lnTo>
                        <a:pt x="533" y="35"/>
                      </a:lnTo>
                      <a:lnTo>
                        <a:pt x="546" y="26"/>
                      </a:lnTo>
                      <a:lnTo>
                        <a:pt x="553" y="37"/>
                      </a:lnTo>
                      <a:lnTo>
                        <a:pt x="560" y="58"/>
                      </a:lnTo>
                      <a:lnTo>
                        <a:pt x="587" y="61"/>
                      </a:lnTo>
                      <a:lnTo>
                        <a:pt x="623" y="80"/>
                      </a:lnTo>
                      <a:lnTo>
                        <a:pt x="629" y="77"/>
                      </a:lnTo>
                      <a:lnTo>
                        <a:pt x="635" y="74"/>
                      </a:lnTo>
                      <a:lnTo>
                        <a:pt x="656" y="84"/>
                      </a:lnTo>
                      <a:lnTo>
                        <a:pt x="677" y="83"/>
                      </a:lnTo>
                      <a:lnTo>
                        <a:pt x="693" y="77"/>
                      </a:lnTo>
                      <a:lnTo>
                        <a:pt x="724" y="72"/>
                      </a:lnTo>
                      <a:lnTo>
                        <a:pt x="758" y="80"/>
                      </a:lnTo>
                      <a:lnTo>
                        <a:pt x="779" y="79"/>
                      </a:lnTo>
                      <a:lnTo>
                        <a:pt x="820" y="51"/>
                      </a:lnTo>
                      <a:lnTo>
                        <a:pt x="838" y="40"/>
                      </a:lnTo>
                      <a:lnTo>
                        <a:pt x="840" y="35"/>
                      </a:lnTo>
                      <a:lnTo>
                        <a:pt x="847" y="41"/>
                      </a:lnTo>
                      <a:lnTo>
                        <a:pt x="855" y="41"/>
                      </a:lnTo>
                      <a:lnTo>
                        <a:pt x="868" y="37"/>
                      </a:lnTo>
                      <a:lnTo>
                        <a:pt x="887" y="43"/>
                      </a:lnTo>
                      <a:lnTo>
                        <a:pt x="893" y="43"/>
                      </a:lnTo>
                      <a:lnTo>
                        <a:pt x="898" y="36"/>
                      </a:lnTo>
                      <a:lnTo>
                        <a:pt x="903" y="32"/>
                      </a:lnTo>
                      <a:lnTo>
                        <a:pt x="911" y="35"/>
                      </a:lnTo>
                      <a:lnTo>
                        <a:pt x="919" y="42"/>
                      </a:lnTo>
                      <a:lnTo>
                        <a:pt x="930" y="58"/>
                      </a:lnTo>
                      <a:lnTo>
                        <a:pt x="935" y="59"/>
                      </a:lnTo>
                      <a:lnTo>
                        <a:pt x="944" y="69"/>
                      </a:lnTo>
                      <a:lnTo>
                        <a:pt x="951" y="75"/>
                      </a:lnTo>
                      <a:lnTo>
                        <a:pt x="958" y="89"/>
                      </a:lnTo>
                      <a:lnTo>
                        <a:pt x="960" y="109"/>
                      </a:lnTo>
                      <a:lnTo>
                        <a:pt x="963" y="123"/>
                      </a:lnTo>
                      <a:lnTo>
                        <a:pt x="971" y="133"/>
                      </a:lnTo>
                      <a:lnTo>
                        <a:pt x="982" y="137"/>
                      </a:lnTo>
                      <a:lnTo>
                        <a:pt x="990" y="143"/>
                      </a:lnTo>
                      <a:lnTo>
                        <a:pt x="1000" y="153"/>
                      </a:lnTo>
                      <a:lnTo>
                        <a:pt x="1008" y="156"/>
                      </a:lnTo>
                      <a:lnTo>
                        <a:pt x="1012" y="161"/>
                      </a:lnTo>
                      <a:lnTo>
                        <a:pt x="1003" y="179"/>
                      </a:lnTo>
                      <a:lnTo>
                        <a:pt x="1001" y="186"/>
                      </a:lnTo>
                      <a:lnTo>
                        <a:pt x="987" y="195"/>
                      </a:lnTo>
                      <a:lnTo>
                        <a:pt x="988" y="202"/>
                      </a:lnTo>
                      <a:lnTo>
                        <a:pt x="995" y="219"/>
                      </a:lnTo>
                      <a:lnTo>
                        <a:pt x="997" y="246"/>
                      </a:lnTo>
                      <a:lnTo>
                        <a:pt x="997" y="263"/>
                      </a:lnTo>
                      <a:lnTo>
                        <a:pt x="999" y="279"/>
                      </a:lnTo>
                      <a:lnTo>
                        <a:pt x="995" y="300"/>
                      </a:lnTo>
                      <a:lnTo>
                        <a:pt x="1009" y="308"/>
                      </a:lnTo>
                      <a:lnTo>
                        <a:pt x="1021" y="325"/>
                      </a:lnTo>
                      <a:lnTo>
                        <a:pt x="1022" y="341"/>
                      </a:lnTo>
                      <a:lnTo>
                        <a:pt x="1015" y="348"/>
                      </a:lnTo>
                      <a:lnTo>
                        <a:pt x="1000" y="347"/>
                      </a:lnTo>
                      <a:lnTo>
                        <a:pt x="990" y="336"/>
                      </a:lnTo>
                      <a:lnTo>
                        <a:pt x="973" y="337"/>
                      </a:lnTo>
                      <a:lnTo>
                        <a:pt x="942" y="336"/>
                      </a:lnTo>
                      <a:lnTo>
                        <a:pt x="922" y="327"/>
                      </a:lnTo>
                      <a:lnTo>
                        <a:pt x="897" y="348"/>
                      </a:lnTo>
                      <a:lnTo>
                        <a:pt x="888" y="349"/>
                      </a:lnTo>
                      <a:lnTo>
                        <a:pt x="887" y="347"/>
                      </a:lnTo>
                      <a:lnTo>
                        <a:pt x="887" y="342"/>
                      </a:lnTo>
                      <a:lnTo>
                        <a:pt x="883" y="339"/>
                      </a:lnTo>
                      <a:lnTo>
                        <a:pt x="881" y="337"/>
                      </a:lnTo>
                      <a:lnTo>
                        <a:pt x="872" y="344"/>
                      </a:lnTo>
                      <a:lnTo>
                        <a:pt x="855" y="352"/>
                      </a:lnTo>
                      <a:lnTo>
                        <a:pt x="820" y="354"/>
                      </a:lnTo>
                      <a:lnTo>
                        <a:pt x="810" y="351"/>
                      </a:lnTo>
                      <a:lnTo>
                        <a:pt x="801" y="351"/>
                      </a:lnTo>
                      <a:lnTo>
                        <a:pt x="785" y="355"/>
                      </a:lnTo>
                      <a:lnTo>
                        <a:pt x="775" y="364"/>
                      </a:lnTo>
                      <a:lnTo>
                        <a:pt x="767" y="368"/>
                      </a:lnTo>
                      <a:lnTo>
                        <a:pt x="754" y="371"/>
                      </a:lnTo>
                      <a:lnTo>
                        <a:pt x="750" y="375"/>
                      </a:lnTo>
                      <a:lnTo>
                        <a:pt x="716" y="381"/>
                      </a:lnTo>
                      <a:lnTo>
                        <a:pt x="689" y="378"/>
                      </a:lnTo>
                      <a:lnTo>
                        <a:pt x="678" y="366"/>
                      </a:lnTo>
                      <a:lnTo>
                        <a:pt x="671" y="365"/>
                      </a:lnTo>
                      <a:lnTo>
                        <a:pt x="657" y="366"/>
                      </a:lnTo>
                      <a:lnTo>
                        <a:pt x="648" y="373"/>
                      </a:lnTo>
                      <a:lnTo>
                        <a:pt x="634" y="378"/>
                      </a:lnTo>
                      <a:lnTo>
                        <a:pt x="626" y="380"/>
                      </a:lnTo>
                      <a:lnTo>
                        <a:pt x="622" y="384"/>
                      </a:lnTo>
                      <a:lnTo>
                        <a:pt x="607" y="381"/>
                      </a:lnTo>
                      <a:lnTo>
                        <a:pt x="598" y="384"/>
                      </a:lnTo>
                      <a:lnTo>
                        <a:pt x="597" y="381"/>
                      </a:lnTo>
                      <a:lnTo>
                        <a:pt x="597" y="379"/>
                      </a:lnTo>
                      <a:lnTo>
                        <a:pt x="597" y="378"/>
                      </a:lnTo>
                      <a:lnTo>
                        <a:pt x="597" y="378"/>
                      </a:lnTo>
                      <a:lnTo>
                        <a:pt x="592" y="374"/>
                      </a:lnTo>
                      <a:lnTo>
                        <a:pt x="583" y="373"/>
                      </a:lnTo>
                      <a:lnTo>
                        <a:pt x="578" y="370"/>
                      </a:lnTo>
                      <a:lnTo>
                        <a:pt x="573" y="381"/>
                      </a:lnTo>
                      <a:lnTo>
                        <a:pt x="571" y="382"/>
                      </a:lnTo>
                      <a:lnTo>
                        <a:pt x="571" y="387"/>
                      </a:lnTo>
                      <a:lnTo>
                        <a:pt x="569" y="396"/>
                      </a:lnTo>
                      <a:lnTo>
                        <a:pt x="579" y="408"/>
                      </a:lnTo>
                      <a:lnTo>
                        <a:pt x="579" y="411"/>
                      </a:lnTo>
                      <a:lnTo>
                        <a:pt x="576" y="412"/>
                      </a:lnTo>
                      <a:lnTo>
                        <a:pt x="569" y="412"/>
                      </a:lnTo>
                      <a:lnTo>
                        <a:pt x="560" y="414"/>
                      </a:lnTo>
                      <a:lnTo>
                        <a:pt x="560" y="418"/>
                      </a:lnTo>
                      <a:lnTo>
                        <a:pt x="560" y="427"/>
                      </a:lnTo>
                      <a:lnTo>
                        <a:pt x="554" y="432"/>
                      </a:lnTo>
                      <a:lnTo>
                        <a:pt x="551" y="433"/>
                      </a:lnTo>
                      <a:lnTo>
                        <a:pt x="548" y="439"/>
                      </a:lnTo>
                      <a:lnTo>
                        <a:pt x="542" y="435"/>
                      </a:lnTo>
                      <a:lnTo>
                        <a:pt x="540" y="432"/>
                      </a:lnTo>
                      <a:lnTo>
                        <a:pt x="536" y="432"/>
                      </a:lnTo>
                      <a:lnTo>
                        <a:pt x="538" y="42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1" name="Turkey"/>
                <p:cNvSpPr>
                  <a:spLocks noChangeAspect="1"/>
                </p:cNvSpPr>
                <p:nvPr>
                  <p:custDataLst>
                    <p:tags r:id="rId279"/>
                  </p:custDataLst>
                </p:nvPr>
              </p:nvSpPr>
              <p:spPr bwMode="gray">
                <a:xfrm>
                  <a:off x="2802" y="1980"/>
                  <a:ext cx="33" cy="28"/>
                </a:xfrm>
                <a:custGeom>
                  <a:avLst/>
                  <a:gdLst/>
                  <a:ahLst/>
                  <a:cxnLst>
                    <a:cxn ang="0">
                      <a:pos x="108" y="8"/>
                    </a:cxn>
                    <a:cxn ang="0">
                      <a:pos x="100" y="6"/>
                    </a:cxn>
                    <a:cxn ang="0">
                      <a:pos x="77" y="10"/>
                    </a:cxn>
                    <a:cxn ang="0">
                      <a:pos x="59" y="0"/>
                    </a:cxn>
                    <a:cxn ang="0">
                      <a:pos x="39" y="8"/>
                    </a:cxn>
                    <a:cxn ang="0">
                      <a:pos x="25" y="10"/>
                    </a:cxn>
                    <a:cxn ang="0">
                      <a:pos x="16" y="18"/>
                    </a:cxn>
                    <a:cxn ang="0">
                      <a:pos x="19" y="24"/>
                    </a:cxn>
                    <a:cxn ang="0">
                      <a:pos x="28" y="31"/>
                    </a:cxn>
                    <a:cxn ang="0">
                      <a:pos x="27" y="42"/>
                    </a:cxn>
                    <a:cxn ang="0">
                      <a:pos x="16" y="51"/>
                    </a:cxn>
                    <a:cxn ang="0">
                      <a:pos x="14" y="67"/>
                    </a:cxn>
                    <a:cxn ang="0">
                      <a:pos x="10" y="81"/>
                    </a:cxn>
                    <a:cxn ang="0">
                      <a:pos x="0" y="96"/>
                    </a:cxn>
                    <a:cxn ang="0">
                      <a:pos x="3" y="100"/>
                    </a:cxn>
                    <a:cxn ang="0">
                      <a:pos x="10" y="104"/>
                    </a:cxn>
                    <a:cxn ang="0">
                      <a:pos x="43" y="100"/>
                    </a:cxn>
                    <a:cxn ang="0">
                      <a:pos x="36" y="107"/>
                    </a:cxn>
                    <a:cxn ang="0">
                      <a:pos x="21" y="113"/>
                    </a:cxn>
                    <a:cxn ang="0">
                      <a:pos x="10" y="120"/>
                    </a:cxn>
                    <a:cxn ang="0">
                      <a:pos x="9" y="127"/>
                    </a:cxn>
                    <a:cxn ang="0">
                      <a:pos x="9" y="140"/>
                    </a:cxn>
                    <a:cxn ang="0">
                      <a:pos x="17" y="137"/>
                    </a:cxn>
                    <a:cxn ang="0">
                      <a:pos x="23" y="127"/>
                    </a:cxn>
                    <a:cxn ang="0">
                      <a:pos x="33" y="118"/>
                    </a:cxn>
                    <a:cxn ang="0">
                      <a:pos x="58" y="101"/>
                    </a:cxn>
                    <a:cxn ang="0">
                      <a:pos x="76" y="86"/>
                    </a:cxn>
                    <a:cxn ang="0">
                      <a:pos x="85" y="75"/>
                    </a:cxn>
                    <a:cxn ang="0">
                      <a:pos x="97" y="75"/>
                    </a:cxn>
                    <a:cxn ang="0">
                      <a:pos x="108" y="73"/>
                    </a:cxn>
                    <a:cxn ang="0">
                      <a:pos x="124" y="73"/>
                    </a:cxn>
                    <a:cxn ang="0">
                      <a:pos x="138" y="74"/>
                    </a:cxn>
                    <a:cxn ang="0">
                      <a:pos x="145" y="78"/>
                    </a:cxn>
                    <a:cxn ang="0">
                      <a:pos x="160" y="73"/>
                    </a:cxn>
                    <a:cxn ang="0">
                      <a:pos x="166" y="64"/>
                    </a:cxn>
                    <a:cxn ang="0">
                      <a:pos x="166" y="56"/>
                    </a:cxn>
                    <a:cxn ang="0">
                      <a:pos x="156" y="54"/>
                    </a:cxn>
                    <a:cxn ang="0">
                      <a:pos x="139" y="48"/>
                    </a:cxn>
                    <a:cxn ang="0">
                      <a:pos x="125" y="42"/>
                    </a:cxn>
                    <a:cxn ang="0">
                      <a:pos x="117" y="36"/>
                    </a:cxn>
                    <a:cxn ang="0">
                      <a:pos x="109" y="27"/>
                    </a:cxn>
                    <a:cxn ang="0">
                      <a:pos x="107" y="16"/>
                    </a:cxn>
                    <a:cxn ang="0">
                      <a:pos x="108" y="8"/>
                    </a:cxn>
                  </a:cxnLst>
                  <a:rect l="0" t="0" r="r" b="b"/>
                  <a:pathLst>
                    <a:path w="166" h="140">
                      <a:moveTo>
                        <a:pt x="108" y="8"/>
                      </a:moveTo>
                      <a:lnTo>
                        <a:pt x="100" y="6"/>
                      </a:lnTo>
                      <a:lnTo>
                        <a:pt x="77" y="10"/>
                      </a:lnTo>
                      <a:lnTo>
                        <a:pt x="59" y="0"/>
                      </a:lnTo>
                      <a:lnTo>
                        <a:pt x="39" y="8"/>
                      </a:lnTo>
                      <a:lnTo>
                        <a:pt x="25" y="10"/>
                      </a:lnTo>
                      <a:lnTo>
                        <a:pt x="16" y="18"/>
                      </a:lnTo>
                      <a:lnTo>
                        <a:pt x="19" y="24"/>
                      </a:lnTo>
                      <a:lnTo>
                        <a:pt x="28" y="31"/>
                      </a:lnTo>
                      <a:lnTo>
                        <a:pt x="27" y="42"/>
                      </a:lnTo>
                      <a:lnTo>
                        <a:pt x="16" y="51"/>
                      </a:lnTo>
                      <a:lnTo>
                        <a:pt x="14" y="67"/>
                      </a:lnTo>
                      <a:lnTo>
                        <a:pt x="10" y="81"/>
                      </a:lnTo>
                      <a:lnTo>
                        <a:pt x="0" y="96"/>
                      </a:lnTo>
                      <a:lnTo>
                        <a:pt x="3" y="100"/>
                      </a:lnTo>
                      <a:lnTo>
                        <a:pt x="10" y="104"/>
                      </a:lnTo>
                      <a:lnTo>
                        <a:pt x="43" y="100"/>
                      </a:lnTo>
                      <a:lnTo>
                        <a:pt x="36" y="107"/>
                      </a:lnTo>
                      <a:lnTo>
                        <a:pt x="21" y="113"/>
                      </a:lnTo>
                      <a:lnTo>
                        <a:pt x="10" y="120"/>
                      </a:lnTo>
                      <a:lnTo>
                        <a:pt x="9" y="127"/>
                      </a:lnTo>
                      <a:lnTo>
                        <a:pt x="9" y="140"/>
                      </a:lnTo>
                      <a:lnTo>
                        <a:pt x="17" y="137"/>
                      </a:lnTo>
                      <a:lnTo>
                        <a:pt x="23" y="127"/>
                      </a:lnTo>
                      <a:lnTo>
                        <a:pt x="33" y="118"/>
                      </a:lnTo>
                      <a:lnTo>
                        <a:pt x="58" y="101"/>
                      </a:lnTo>
                      <a:lnTo>
                        <a:pt x="76" y="86"/>
                      </a:lnTo>
                      <a:lnTo>
                        <a:pt x="85" y="75"/>
                      </a:lnTo>
                      <a:lnTo>
                        <a:pt x="97" y="75"/>
                      </a:lnTo>
                      <a:lnTo>
                        <a:pt x="108" y="73"/>
                      </a:lnTo>
                      <a:lnTo>
                        <a:pt x="124" y="73"/>
                      </a:lnTo>
                      <a:lnTo>
                        <a:pt x="138" y="74"/>
                      </a:lnTo>
                      <a:lnTo>
                        <a:pt x="145" y="78"/>
                      </a:lnTo>
                      <a:lnTo>
                        <a:pt x="160" y="73"/>
                      </a:lnTo>
                      <a:lnTo>
                        <a:pt x="166" y="64"/>
                      </a:lnTo>
                      <a:lnTo>
                        <a:pt x="166" y="56"/>
                      </a:lnTo>
                      <a:lnTo>
                        <a:pt x="156" y="54"/>
                      </a:lnTo>
                      <a:lnTo>
                        <a:pt x="139" y="48"/>
                      </a:lnTo>
                      <a:lnTo>
                        <a:pt x="125" y="42"/>
                      </a:lnTo>
                      <a:lnTo>
                        <a:pt x="117" y="36"/>
                      </a:lnTo>
                      <a:lnTo>
                        <a:pt x="109" y="27"/>
                      </a:lnTo>
                      <a:lnTo>
                        <a:pt x="107" y="16"/>
                      </a:lnTo>
                      <a:lnTo>
                        <a:pt x="108" y="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97" name="Jordan"/>
              <p:cNvSpPr>
                <a:spLocks noChangeAspect="1"/>
              </p:cNvSpPr>
              <p:nvPr>
                <p:custDataLst>
                  <p:tags r:id="rId275"/>
                </p:custDataLst>
              </p:nvPr>
            </p:nvSpPr>
            <p:spPr bwMode="gray">
              <a:xfrm>
                <a:off x="2898" y="2100"/>
                <a:ext cx="47" cy="54"/>
              </a:xfrm>
              <a:custGeom>
                <a:avLst/>
                <a:gdLst/>
                <a:ahLst/>
                <a:cxnLst>
                  <a:cxn ang="0">
                    <a:pos x="215" y="94"/>
                  </a:cxn>
                  <a:cxn ang="0">
                    <a:pos x="231" y="75"/>
                  </a:cxn>
                  <a:cxn ang="0">
                    <a:pos x="215" y="0"/>
                  </a:cxn>
                  <a:cxn ang="0">
                    <a:pos x="165" y="26"/>
                  </a:cxn>
                  <a:cxn ang="0">
                    <a:pos x="141" y="39"/>
                  </a:cxn>
                  <a:cxn ang="0">
                    <a:pos x="96" y="67"/>
                  </a:cxn>
                  <a:cxn ang="0">
                    <a:pos x="87" y="69"/>
                  </a:cxn>
                  <a:cxn ang="0">
                    <a:pos x="75" y="67"/>
                  </a:cxn>
                  <a:cxn ang="0">
                    <a:pos x="70" y="65"/>
                  </a:cxn>
                  <a:cxn ang="0">
                    <a:pos x="62" y="55"/>
                  </a:cxn>
                  <a:cxn ang="0">
                    <a:pos x="54" y="51"/>
                  </a:cxn>
                  <a:cxn ang="0">
                    <a:pos x="48" y="43"/>
                  </a:cxn>
                  <a:cxn ang="0">
                    <a:pos x="44" y="42"/>
                  </a:cxn>
                  <a:cxn ang="0">
                    <a:pos x="32" y="44"/>
                  </a:cxn>
                  <a:cxn ang="0">
                    <a:pos x="32" y="64"/>
                  </a:cxn>
                  <a:cxn ang="0">
                    <a:pos x="32" y="66"/>
                  </a:cxn>
                  <a:cxn ang="0">
                    <a:pos x="31" y="75"/>
                  </a:cxn>
                  <a:cxn ang="0">
                    <a:pos x="30" y="82"/>
                  </a:cxn>
                  <a:cxn ang="0">
                    <a:pos x="28" y="94"/>
                  </a:cxn>
                  <a:cxn ang="0">
                    <a:pos x="31" y="103"/>
                  </a:cxn>
                  <a:cxn ang="0">
                    <a:pos x="28" y="109"/>
                  </a:cxn>
                  <a:cxn ang="0">
                    <a:pos x="27" y="118"/>
                  </a:cxn>
                  <a:cxn ang="0">
                    <a:pos x="25" y="120"/>
                  </a:cxn>
                  <a:cxn ang="0">
                    <a:pos x="27" y="124"/>
                  </a:cxn>
                  <a:cxn ang="0">
                    <a:pos x="23" y="137"/>
                  </a:cxn>
                  <a:cxn ang="0">
                    <a:pos x="26" y="145"/>
                  </a:cxn>
                  <a:cxn ang="0">
                    <a:pos x="17" y="163"/>
                  </a:cxn>
                  <a:cxn ang="0">
                    <a:pos x="11" y="183"/>
                  </a:cxn>
                  <a:cxn ang="0">
                    <a:pos x="5" y="236"/>
                  </a:cxn>
                  <a:cxn ang="0">
                    <a:pos x="1" y="247"/>
                  </a:cxn>
                  <a:cxn ang="0">
                    <a:pos x="0" y="253"/>
                  </a:cxn>
                  <a:cxn ang="0">
                    <a:pos x="0" y="253"/>
                  </a:cxn>
                  <a:cxn ang="0">
                    <a:pos x="3" y="261"/>
                  </a:cxn>
                  <a:cxn ang="0">
                    <a:pos x="64" y="269"/>
                  </a:cxn>
                  <a:cxn ang="0">
                    <a:pos x="81" y="252"/>
                  </a:cxn>
                  <a:cxn ang="0">
                    <a:pos x="82" y="248"/>
                  </a:cxn>
                  <a:cxn ang="0">
                    <a:pos x="97" y="223"/>
                  </a:cxn>
                  <a:cxn ang="0">
                    <a:pos x="139" y="217"/>
                  </a:cxn>
                  <a:cxn ang="0">
                    <a:pos x="140" y="207"/>
                  </a:cxn>
                  <a:cxn ang="0">
                    <a:pos x="146" y="191"/>
                  </a:cxn>
                  <a:cxn ang="0">
                    <a:pos x="168" y="179"/>
                  </a:cxn>
                  <a:cxn ang="0">
                    <a:pos x="170" y="178"/>
                  </a:cxn>
                  <a:cxn ang="0">
                    <a:pos x="117" y="124"/>
                  </a:cxn>
                  <a:cxn ang="0">
                    <a:pos x="108" y="118"/>
                  </a:cxn>
                  <a:cxn ang="0">
                    <a:pos x="149" y="108"/>
                  </a:cxn>
                  <a:cxn ang="0">
                    <a:pos x="215" y="94"/>
                  </a:cxn>
                </a:cxnLst>
                <a:rect l="0" t="0" r="r" b="b"/>
                <a:pathLst>
                  <a:path w="231" h="269">
                    <a:moveTo>
                      <a:pt x="215" y="94"/>
                    </a:moveTo>
                    <a:lnTo>
                      <a:pt x="231" y="75"/>
                    </a:lnTo>
                    <a:lnTo>
                      <a:pt x="215" y="0"/>
                    </a:lnTo>
                    <a:lnTo>
                      <a:pt x="165" y="26"/>
                    </a:lnTo>
                    <a:lnTo>
                      <a:pt x="141" y="39"/>
                    </a:lnTo>
                    <a:lnTo>
                      <a:pt x="96" y="67"/>
                    </a:lnTo>
                    <a:lnTo>
                      <a:pt x="87" y="69"/>
                    </a:lnTo>
                    <a:lnTo>
                      <a:pt x="75" y="67"/>
                    </a:lnTo>
                    <a:lnTo>
                      <a:pt x="70" y="65"/>
                    </a:lnTo>
                    <a:lnTo>
                      <a:pt x="62" y="55"/>
                    </a:lnTo>
                    <a:lnTo>
                      <a:pt x="54" y="51"/>
                    </a:lnTo>
                    <a:lnTo>
                      <a:pt x="48" y="43"/>
                    </a:lnTo>
                    <a:lnTo>
                      <a:pt x="44" y="42"/>
                    </a:lnTo>
                    <a:lnTo>
                      <a:pt x="32" y="44"/>
                    </a:lnTo>
                    <a:lnTo>
                      <a:pt x="32" y="64"/>
                    </a:lnTo>
                    <a:lnTo>
                      <a:pt x="32" y="66"/>
                    </a:lnTo>
                    <a:lnTo>
                      <a:pt x="31" y="75"/>
                    </a:lnTo>
                    <a:lnTo>
                      <a:pt x="30" y="82"/>
                    </a:lnTo>
                    <a:lnTo>
                      <a:pt x="28" y="94"/>
                    </a:lnTo>
                    <a:lnTo>
                      <a:pt x="31" y="103"/>
                    </a:lnTo>
                    <a:lnTo>
                      <a:pt x="28" y="109"/>
                    </a:lnTo>
                    <a:lnTo>
                      <a:pt x="27" y="118"/>
                    </a:lnTo>
                    <a:lnTo>
                      <a:pt x="25" y="120"/>
                    </a:lnTo>
                    <a:lnTo>
                      <a:pt x="27" y="124"/>
                    </a:lnTo>
                    <a:lnTo>
                      <a:pt x="23" y="137"/>
                    </a:lnTo>
                    <a:lnTo>
                      <a:pt x="26" y="145"/>
                    </a:lnTo>
                    <a:lnTo>
                      <a:pt x="17" y="163"/>
                    </a:lnTo>
                    <a:lnTo>
                      <a:pt x="11" y="183"/>
                    </a:lnTo>
                    <a:lnTo>
                      <a:pt x="5" y="236"/>
                    </a:lnTo>
                    <a:lnTo>
                      <a:pt x="1" y="247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3" y="261"/>
                    </a:lnTo>
                    <a:lnTo>
                      <a:pt x="64" y="269"/>
                    </a:lnTo>
                    <a:lnTo>
                      <a:pt x="81" y="252"/>
                    </a:lnTo>
                    <a:lnTo>
                      <a:pt x="82" y="248"/>
                    </a:lnTo>
                    <a:lnTo>
                      <a:pt x="97" y="223"/>
                    </a:lnTo>
                    <a:lnTo>
                      <a:pt x="139" y="217"/>
                    </a:lnTo>
                    <a:lnTo>
                      <a:pt x="140" y="207"/>
                    </a:lnTo>
                    <a:lnTo>
                      <a:pt x="146" y="191"/>
                    </a:lnTo>
                    <a:lnTo>
                      <a:pt x="168" y="179"/>
                    </a:lnTo>
                    <a:lnTo>
                      <a:pt x="170" y="178"/>
                    </a:lnTo>
                    <a:lnTo>
                      <a:pt x="117" y="124"/>
                    </a:lnTo>
                    <a:lnTo>
                      <a:pt x="108" y="118"/>
                    </a:lnTo>
                    <a:lnTo>
                      <a:pt x="149" y="108"/>
                    </a:lnTo>
                    <a:lnTo>
                      <a:pt x="215" y="9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8" name="Syria"/>
              <p:cNvSpPr>
                <a:spLocks noChangeAspect="1"/>
              </p:cNvSpPr>
              <p:nvPr>
                <p:custDataLst>
                  <p:tags r:id="rId276"/>
                </p:custDataLst>
              </p:nvPr>
            </p:nvSpPr>
            <p:spPr bwMode="gray">
              <a:xfrm>
                <a:off x="2905" y="2047"/>
                <a:ext cx="77" cy="67"/>
              </a:xfrm>
              <a:custGeom>
                <a:avLst/>
                <a:gdLst/>
                <a:ahLst/>
                <a:cxnLst>
                  <a:cxn ang="0">
                    <a:pos x="241" y="227"/>
                  </a:cxn>
                  <a:cxn ang="0">
                    <a:pos x="290" y="203"/>
                  </a:cxn>
                  <a:cxn ang="0">
                    <a:pos x="316" y="170"/>
                  </a:cxn>
                  <a:cxn ang="0">
                    <a:pos x="354" y="50"/>
                  </a:cxn>
                  <a:cxn ang="0">
                    <a:pos x="378" y="12"/>
                  </a:cxn>
                  <a:cxn ang="0">
                    <a:pos x="373" y="2"/>
                  </a:cxn>
                  <a:cxn ang="0">
                    <a:pos x="345" y="15"/>
                  </a:cxn>
                  <a:cxn ang="0">
                    <a:pos x="291" y="14"/>
                  </a:cxn>
                  <a:cxn ang="0">
                    <a:pos x="257" y="31"/>
                  </a:cxn>
                  <a:cxn ang="0">
                    <a:pos x="206" y="45"/>
                  </a:cxn>
                  <a:cxn ang="0">
                    <a:pos x="161" y="28"/>
                  </a:cxn>
                  <a:cxn ang="0">
                    <a:pos x="124" y="41"/>
                  </a:cxn>
                  <a:cxn ang="0">
                    <a:pos x="97" y="44"/>
                  </a:cxn>
                  <a:cxn ang="0">
                    <a:pos x="87" y="42"/>
                  </a:cxn>
                  <a:cxn ang="0">
                    <a:pos x="73" y="36"/>
                  </a:cxn>
                  <a:cxn ang="0">
                    <a:pos x="61" y="45"/>
                  </a:cxn>
                  <a:cxn ang="0">
                    <a:pos x="68" y="71"/>
                  </a:cxn>
                  <a:cxn ang="0">
                    <a:pos x="59" y="75"/>
                  </a:cxn>
                  <a:cxn ang="0">
                    <a:pos x="50" y="90"/>
                  </a:cxn>
                  <a:cxn ang="0">
                    <a:pos x="38" y="102"/>
                  </a:cxn>
                  <a:cxn ang="0">
                    <a:pos x="26" y="95"/>
                  </a:cxn>
                  <a:cxn ang="0">
                    <a:pos x="23" y="123"/>
                  </a:cxn>
                  <a:cxn ang="0">
                    <a:pos x="26" y="167"/>
                  </a:cxn>
                  <a:cxn ang="0">
                    <a:pos x="48" y="174"/>
                  </a:cxn>
                  <a:cxn ang="0">
                    <a:pos x="57" y="179"/>
                  </a:cxn>
                  <a:cxn ang="0">
                    <a:pos x="53" y="183"/>
                  </a:cxn>
                  <a:cxn ang="0">
                    <a:pos x="50" y="189"/>
                  </a:cxn>
                  <a:cxn ang="0">
                    <a:pos x="63" y="195"/>
                  </a:cxn>
                  <a:cxn ang="0">
                    <a:pos x="64" y="208"/>
                  </a:cxn>
                  <a:cxn ang="0">
                    <a:pos x="63" y="216"/>
                  </a:cxn>
                  <a:cxn ang="0">
                    <a:pos x="50" y="222"/>
                  </a:cxn>
                  <a:cxn ang="0">
                    <a:pos x="45" y="230"/>
                  </a:cxn>
                  <a:cxn ang="0">
                    <a:pos x="52" y="236"/>
                  </a:cxn>
                  <a:cxn ang="0">
                    <a:pos x="32" y="237"/>
                  </a:cxn>
                  <a:cxn ang="0">
                    <a:pos x="26" y="249"/>
                  </a:cxn>
                  <a:cxn ang="0">
                    <a:pos x="31" y="257"/>
                  </a:cxn>
                  <a:cxn ang="0">
                    <a:pos x="18" y="267"/>
                  </a:cxn>
                  <a:cxn ang="0">
                    <a:pos x="5" y="276"/>
                  </a:cxn>
                  <a:cxn ang="0">
                    <a:pos x="4" y="295"/>
                  </a:cxn>
                  <a:cxn ang="0">
                    <a:pos x="0" y="312"/>
                  </a:cxn>
                  <a:cxn ang="0">
                    <a:pos x="22" y="319"/>
                  </a:cxn>
                  <a:cxn ang="0">
                    <a:pos x="43" y="335"/>
                  </a:cxn>
                  <a:cxn ang="0">
                    <a:pos x="109" y="307"/>
                  </a:cxn>
                </a:cxnLst>
                <a:rect l="0" t="0" r="r" b="b"/>
                <a:pathLst>
                  <a:path w="387" h="337">
                    <a:moveTo>
                      <a:pt x="183" y="268"/>
                    </a:moveTo>
                    <a:lnTo>
                      <a:pt x="226" y="238"/>
                    </a:lnTo>
                    <a:lnTo>
                      <a:pt x="241" y="227"/>
                    </a:lnTo>
                    <a:lnTo>
                      <a:pt x="256" y="222"/>
                    </a:lnTo>
                    <a:lnTo>
                      <a:pt x="278" y="210"/>
                    </a:lnTo>
                    <a:lnTo>
                      <a:pt x="290" y="203"/>
                    </a:lnTo>
                    <a:lnTo>
                      <a:pt x="294" y="199"/>
                    </a:lnTo>
                    <a:lnTo>
                      <a:pt x="306" y="194"/>
                    </a:lnTo>
                    <a:lnTo>
                      <a:pt x="316" y="170"/>
                    </a:lnTo>
                    <a:lnTo>
                      <a:pt x="319" y="133"/>
                    </a:lnTo>
                    <a:lnTo>
                      <a:pt x="323" y="63"/>
                    </a:lnTo>
                    <a:lnTo>
                      <a:pt x="354" y="50"/>
                    </a:lnTo>
                    <a:lnTo>
                      <a:pt x="372" y="21"/>
                    </a:lnTo>
                    <a:lnTo>
                      <a:pt x="387" y="12"/>
                    </a:lnTo>
                    <a:lnTo>
                      <a:pt x="378" y="12"/>
                    </a:lnTo>
                    <a:lnTo>
                      <a:pt x="377" y="10"/>
                    </a:lnTo>
                    <a:lnTo>
                      <a:pt x="377" y="5"/>
                    </a:lnTo>
                    <a:lnTo>
                      <a:pt x="373" y="2"/>
                    </a:lnTo>
                    <a:lnTo>
                      <a:pt x="371" y="0"/>
                    </a:lnTo>
                    <a:lnTo>
                      <a:pt x="362" y="7"/>
                    </a:lnTo>
                    <a:lnTo>
                      <a:pt x="345" y="15"/>
                    </a:lnTo>
                    <a:lnTo>
                      <a:pt x="310" y="17"/>
                    </a:lnTo>
                    <a:lnTo>
                      <a:pt x="300" y="14"/>
                    </a:lnTo>
                    <a:lnTo>
                      <a:pt x="291" y="14"/>
                    </a:lnTo>
                    <a:lnTo>
                      <a:pt x="275" y="18"/>
                    </a:lnTo>
                    <a:lnTo>
                      <a:pt x="265" y="27"/>
                    </a:lnTo>
                    <a:lnTo>
                      <a:pt x="257" y="31"/>
                    </a:lnTo>
                    <a:lnTo>
                      <a:pt x="244" y="34"/>
                    </a:lnTo>
                    <a:lnTo>
                      <a:pt x="238" y="38"/>
                    </a:lnTo>
                    <a:lnTo>
                      <a:pt x="206" y="45"/>
                    </a:lnTo>
                    <a:lnTo>
                      <a:pt x="179" y="41"/>
                    </a:lnTo>
                    <a:lnTo>
                      <a:pt x="168" y="31"/>
                    </a:lnTo>
                    <a:lnTo>
                      <a:pt x="161" y="28"/>
                    </a:lnTo>
                    <a:lnTo>
                      <a:pt x="147" y="29"/>
                    </a:lnTo>
                    <a:lnTo>
                      <a:pt x="138" y="36"/>
                    </a:lnTo>
                    <a:lnTo>
                      <a:pt x="124" y="41"/>
                    </a:lnTo>
                    <a:lnTo>
                      <a:pt x="116" y="43"/>
                    </a:lnTo>
                    <a:lnTo>
                      <a:pt x="112" y="47"/>
                    </a:lnTo>
                    <a:lnTo>
                      <a:pt x="97" y="44"/>
                    </a:lnTo>
                    <a:lnTo>
                      <a:pt x="88" y="47"/>
                    </a:lnTo>
                    <a:lnTo>
                      <a:pt x="87" y="44"/>
                    </a:lnTo>
                    <a:lnTo>
                      <a:pt x="87" y="42"/>
                    </a:lnTo>
                    <a:lnTo>
                      <a:pt x="87" y="41"/>
                    </a:lnTo>
                    <a:lnTo>
                      <a:pt x="82" y="37"/>
                    </a:lnTo>
                    <a:lnTo>
                      <a:pt x="73" y="36"/>
                    </a:lnTo>
                    <a:lnTo>
                      <a:pt x="68" y="33"/>
                    </a:lnTo>
                    <a:lnTo>
                      <a:pt x="63" y="44"/>
                    </a:lnTo>
                    <a:lnTo>
                      <a:pt x="61" y="45"/>
                    </a:lnTo>
                    <a:lnTo>
                      <a:pt x="61" y="50"/>
                    </a:lnTo>
                    <a:lnTo>
                      <a:pt x="59" y="59"/>
                    </a:lnTo>
                    <a:lnTo>
                      <a:pt x="68" y="71"/>
                    </a:lnTo>
                    <a:lnTo>
                      <a:pt x="69" y="74"/>
                    </a:lnTo>
                    <a:lnTo>
                      <a:pt x="66" y="75"/>
                    </a:lnTo>
                    <a:lnTo>
                      <a:pt x="59" y="75"/>
                    </a:lnTo>
                    <a:lnTo>
                      <a:pt x="50" y="77"/>
                    </a:lnTo>
                    <a:lnTo>
                      <a:pt x="50" y="81"/>
                    </a:lnTo>
                    <a:lnTo>
                      <a:pt x="50" y="90"/>
                    </a:lnTo>
                    <a:lnTo>
                      <a:pt x="44" y="95"/>
                    </a:lnTo>
                    <a:lnTo>
                      <a:pt x="41" y="96"/>
                    </a:lnTo>
                    <a:lnTo>
                      <a:pt x="38" y="102"/>
                    </a:lnTo>
                    <a:lnTo>
                      <a:pt x="32" y="98"/>
                    </a:lnTo>
                    <a:lnTo>
                      <a:pt x="30" y="95"/>
                    </a:lnTo>
                    <a:lnTo>
                      <a:pt x="26" y="95"/>
                    </a:lnTo>
                    <a:lnTo>
                      <a:pt x="26" y="106"/>
                    </a:lnTo>
                    <a:lnTo>
                      <a:pt x="21" y="119"/>
                    </a:lnTo>
                    <a:lnTo>
                      <a:pt x="23" y="123"/>
                    </a:lnTo>
                    <a:lnTo>
                      <a:pt x="28" y="136"/>
                    </a:lnTo>
                    <a:lnTo>
                      <a:pt x="28" y="155"/>
                    </a:lnTo>
                    <a:lnTo>
                      <a:pt x="26" y="167"/>
                    </a:lnTo>
                    <a:lnTo>
                      <a:pt x="28" y="178"/>
                    </a:lnTo>
                    <a:lnTo>
                      <a:pt x="45" y="178"/>
                    </a:lnTo>
                    <a:lnTo>
                      <a:pt x="48" y="174"/>
                    </a:lnTo>
                    <a:lnTo>
                      <a:pt x="50" y="174"/>
                    </a:lnTo>
                    <a:lnTo>
                      <a:pt x="52" y="179"/>
                    </a:lnTo>
                    <a:lnTo>
                      <a:pt x="57" y="179"/>
                    </a:lnTo>
                    <a:lnTo>
                      <a:pt x="58" y="181"/>
                    </a:lnTo>
                    <a:lnTo>
                      <a:pt x="58" y="183"/>
                    </a:lnTo>
                    <a:lnTo>
                      <a:pt x="53" y="183"/>
                    </a:lnTo>
                    <a:lnTo>
                      <a:pt x="53" y="185"/>
                    </a:lnTo>
                    <a:lnTo>
                      <a:pt x="50" y="187"/>
                    </a:lnTo>
                    <a:lnTo>
                      <a:pt x="50" y="189"/>
                    </a:lnTo>
                    <a:lnTo>
                      <a:pt x="57" y="189"/>
                    </a:lnTo>
                    <a:lnTo>
                      <a:pt x="58" y="193"/>
                    </a:lnTo>
                    <a:lnTo>
                      <a:pt x="63" y="195"/>
                    </a:lnTo>
                    <a:lnTo>
                      <a:pt x="61" y="199"/>
                    </a:lnTo>
                    <a:lnTo>
                      <a:pt x="65" y="204"/>
                    </a:lnTo>
                    <a:lnTo>
                      <a:pt x="64" y="208"/>
                    </a:lnTo>
                    <a:lnTo>
                      <a:pt x="66" y="210"/>
                    </a:lnTo>
                    <a:lnTo>
                      <a:pt x="64" y="212"/>
                    </a:lnTo>
                    <a:lnTo>
                      <a:pt x="63" y="216"/>
                    </a:lnTo>
                    <a:lnTo>
                      <a:pt x="60" y="216"/>
                    </a:lnTo>
                    <a:lnTo>
                      <a:pt x="55" y="221"/>
                    </a:lnTo>
                    <a:lnTo>
                      <a:pt x="50" y="222"/>
                    </a:lnTo>
                    <a:lnTo>
                      <a:pt x="50" y="226"/>
                    </a:lnTo>
                    <a:lnTo>
                      <a:pt x="47" y="227"/>
                    </a:lnTo>
                    <a:lnTo>
                      <a:pt x="45" y="230"/>
                    </a:lnTo>
                    <a:lnTo>
                      <a:pt x="50" y="233"/>
                    </a:lnTo>
                    <a:lnTo>
                      <a:pt x="52" y="236"/>
                    </a:lnTo>
                    <a:lnTo>
                      <a:pt x="52" y="236"/>
                    </a:lnTo>
                    <a:lnTo>
                      <a:pt x="50" y="237"/>
                    </a:lnTo>
                    <a:lnTo>
                      <a:pt x="45" y="236"/>
                    </a:lnTo>
                    <a:lnTo>
                      <a:pt x="32" y="237"/>
                    </a:lnTo>
                    <a:lnTo>
                      <a:pt x="31" y="242"/>
                    </a:lnTo>
                    <a:lnTo>
                      <a:pt x="28" y="243"/>
                    </a:lnTo>
                    <a:lnTo>
                      <a:pt x="26" y="249"/>
                    </a:lnTo>
                    <a:lnTo>
                      <a:pt x="26" y="249"/>
                    </a:lnTo>
                    <a:lnTo>
                      <a:pt x="31" y="252"/>
                    </a:lnTo>
                    <a:lnTo>
                      <a:pt x="31" y="257"/>
                    </a:lnTo>
                    <a:lnTo>
                      <a:pt x="28" y="257"/>
                    </a:lnTo>
                    <a:lnTo>
                      <a:pt x="25" y="263"/>
                    </a:lnTo>
                    <a:lnTo>
                      <a:pt x="18" y="267"/>
                    </a:lnTo>
                    <a:lnTo>
                      <a:pt x="17" y="270"/>
                    </a:lnTo>
                    <a:lnTo>
                      <a:pt x="12" y="270"/>
                    </a:lnTo>
                    <a:lnTo>
                      <a:pt x="5" y="276"/>
                    </a:lnTo>
                    <a:lnTo>
                      <a:pt x="5" y="286"/>
                    </a:lnTo>
                    <a:lnTo>
                      <a:pt x="2" y="290"/>
                    </a:lnTo>
                    <a:lnTo>
                      <a:pt x="4" y="295"/>
                    </a:lnTo>
                    <a:lnTo>
                      <a:pt x="2" y="300"/>
                    </a:lnTo>
                    <a:lnTo>
                      <a:pt x="5" y="306"/>
                    </a:lnTo>
                    <a:lnTo>
                      <a:pt x="0" y="312"/>
                    </a:lnTo>
                    <a:lnTo>
                      <a:pt x="12" y="310"/>
                    </a:lnTo>
                    <a:lnTo>
                      <a:pt x="16" y="311"/>
                    </a:lnTo>
                    <a:lnTo>
                      <a:pt x="22" y="319"/>
                    </a:lnTo>
                    <a:lnTo>
                      <a:pt x="30" y="324"/>
                    </a:lnTo>
                    <a:lnTo>
                      <a:pt x="38" y="333"/>
                    </a:lnTo>
                    <a:lnTo>
                      <a:pt x="43" y="335"/>
                    </a:lnTo>
                    <a:lnTo>
                      <a:pt x="55" y="337"/>
                    </a:lnTo>
                    <a:lnTo>
                      <a:pt x="63" y="335"/>
                    </a:lnTo>
                    <a:lnTo>
                      <a:pt x="109" y="307"/>
                    </a:lnTo>
                    <a:lnTo>
                      <a:pt x="133" y="294"/>
                    </a:lnTo>
                    <a:lnTo>
                      <a:pt x="183" y="26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9" name="Cyprus"/>
              <p:cNvSpPr>
                <a:spLocks noChangeAspect="1"/>
              </p:cNvSpPr>
              <p:nvPr>
                <p:custDataLst>
                  <p:tags r:id="rId277"/>
                </p:custDataLst>
              </p:nvPr>
            </p:nvSpPr>
            <p:spPr bwMode="gray">
              <a:xfrm>
                <a:off x="2871" y="2069"/>
                <a:ext cx="25" cy="15"/>
              </a:xfrm>
              <a:custGeom>
                <a:avLst/>
                <a:gdLst/>
                <a:ahLst/>
                <a:cxnLst>
                  <a:cxn ang="0">
                    <a:pos x="92" y="16"/>
                  </a:cxn>
                  <a:cxn ang="0">
                    <a:pos x="106" y="11"/>
                  </a:cxn>
                  <a:cxn ang="0">
                    <a:pos x="112" y="5"/>
                  </a:cxn>
                  <a:cxn ang="0">
                    <a:pos x="122" y="0"/>
                  </a:cxn>
                  <a:cxn ang="0">
                    <a:pos x="126" y="0"/>
                  </a:cxn>
                  <a:cxn ang="0">
                    <a:pos x="123" y="9"/>
                  </a:cxn>
                  <a:cxn ang="0">
                    <a:pos x="115" y="17"/>
                  </a:cxn>
                  <a:cxn ang="0">
                    <a:pos x="107" y="21"/>
                  </a:cxn>
                  <a:cxn ang="0">
                    <a:pos x="96" y="37"/>
                  </a:cxn>
                  <a:cxn ang="0">
                    <a:pos x="99" y="43"/>
                  </a:cxn>
                  <a:cxn ang="0">
                    <a:pos x="92" y="52"/>
                  </a:cxn>
                  <a:cxn ang="0">
                    <a:pos x="80" y="54"/>
                  </a:cxn>
                  <a:cxn ang="0">
                    <a:pos x="69" y="64"/>
                  </a:cxn>
                  <a:cxn ang="0">
                    <a:pos x="53" y="68"/>
                  </a:cxn>
                  <a:cxn ang="0">
                    <a:pos x="43" y="75"/>
                  </a:cxn>
                  <a:cxn ang="0">
                    <a:pos x="25" y="72"/>
                  </a:cxn>
                  <a:cxn ang="0">
                    <a:pos x="13" y="66"/>
                  </a:cxn>
                  <a:cxn ang="0">
                    <a:pos x="5" y="57"/>
                  </a:cxn>
                  <a:cxn ang="0">
                    <a:pos x="0" y="45"/>
                  </a:cxn>
                  <a:cxn ang="0">
                    <a:pos x="13" y="42"/>
                  </a:cxn>
                  <a:cxn ang="0">
                    <a:pos x="21" y="37"/>
                  </a:cxn>
                  <a:cxn ang="0">
                    <a:pos x="31" y="36"/>
                  </a:cxn>
                  <a:cxn ang="0">
                    <a:pos x="38" y="33"/>
                  </a:cxn>
                  <a:cxn ang="0">
                    <a:pos x="40" y="25"/>
                  </a:cxn>
                  <a:cxn ang="0">
                    <a:pos x="43" y="26"/>
                  </a:cxn>
                  <a:cxn ang="0">
                    <a:pos x="63" y="25"/>
                  </a:cxn>
                  <a:cxn ang="0">
                    <a:pos x="92" y="16"/>
                  </a:cxn>
                </a:cxnLst>
                <a:rect l="0" t="0" r="r" b="b"/>
                <a:pathLst>
                  <a:path w="126" h="75">
                    <a:moveTo>
                      <a:pt x="92" y="16"/>
                    </a:moveTo>
                    <a:lnTo>
                      <a:pt x="106" y="11"/>
                    </a:lnTo>
                    <a:lnTo>
                      <a:pt x="112" y="5"/>
                    </a:lnTo>
                    <a:lnTo>
                      <a:pt x="122" y="0"/>
                    </a:lnTo>
                    <a:lnTo>
                      <a:pt x="126" y="0"/>
                    </a:lnTo>
                    <a:lnTo>
                      <a:pt x="123" y="9"/>
                    </a:lnTo>
                    <a:lnTo>
                      <a:pt x="115" y="17"/>
                    </a:lnTo>
                    <a:lnTo>
                      <a:pt x="107" y="21"/>
                    </a:lnTo>
                    <a:lnTo>
                      <a:pt x="96" y="37"/>
                    </a:lnTo>
                    <a:lnTo>
                      <a:pt x="99" y="43"/>
                    </a:lnTo>
                    <a:lnTo>
                      <a:pt x="92" y="52"/>
                    </a:lnTo>
                    <a:lnTo>
                      <a:pt x="80" y="54"/>
                    </a:lnTo>
                    <a:lnTo>
                      <a:pt x="69" y="64"/>
                    </a:lnTo>
                    <a:lnTo>
                      <a:pt x="53" y="68"/>
                    </a:lnTo>
                    <a:lnTo>
                      <a:pt x="43" y="75"/>
                    </a:lnTo>
                    <a:lnTo>
                      <a:pt x="25" y="72"/>
                    </a:lnTo>
                    <a:lnTo>
                      <a:pt x="13" y="66"/>
                    </a:lnTo>
                    <a:lnTo>
                      <a:pt x="5" y="57"/>
                    </a:lnTo>
                    <a:lnTo>
                      <a:pt x="0" y="45"/>
                    </a:lnTo>
                    <a:lnTo>
                      <a:pt x="13" y="42"/>
                    </a:lnTo>
                    <a:lnTo>
                      <a:pt x="21" y="37"/>
                    </a:lnTo>
                    <a:lnTo>
                      <a:pt x="31" y="36"/>
                    </a:lnTo>
                    <a:lnTo>
                      <a:pt x="38" y="33"/>
                    </a:lnTo>
                    <a:lnTo>
                      <a:pt x="40" y="25"/>
                    </a:lnTo>
                    <a:lnTo>
                      <a:pt x="43" y="26"/>
                    </a:lnTo>
                    <a:lnTo>
                      <a:pt x="63" y="25"/>
                    </a:lnTo>
                    <a:lnTo>
                      <a:pt x="92" y="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7" name="Armenia"/>
            <p:cNvSpPr>
              <a:spLocks noChangeAspect="1"/>
            </p:cNvSpPr>
            <p:nvPr>
              <p:custDataLst>
                <p:tags r:id="rId91"/>
              </p:custDataLst>
            </p:nvPr>
          </p:nvSpPr>
          <p:spPr bwMode="gray">
            <a:xfrm>
              <a:off x="5567807" y="3466447"/>
              <a:ext cx="79580" cy="81921"/>
            </a:xfrm>
            <a:custGeom>
              <a:avLst/>
              <a:gdLst/>
              <a:ahLst/>
              <a:cxnLst>
                <a:cxn ang="0">
                  <a:pos x="77" y="118"/>
                </a:cxn>
                <a:cxn ang="0">
                  <a:pos x="68" y="107"/>
                </a:cxn>
                <a:cxn ang="0">
                  <a:pos x="64" y="102"/>
                </a:cxn>
                <a:cxn ang="0">
                  <a:pos x="56" y="99"/>
                </a:cxn>
                <a:cxn ang="0">
                  <a:pos x="46" y="89"/>
                </a:cxn>
                <a:cxn ang="0">
                  <a:pos x="38" y="83"/>
                </a:cxn>
                <a:cxn ang="0">
                  <a:pos x="27" y="79"/>
                </a:cxn>
                <a:cxn ang="0">
                  <a:pos x="19" y="69"/>
                </a:cxn>
                <a:cxn ang="0">
                  <a:pos x="16" y="55"/>
                </a:cxn>
                <a:cxn ang="0">
                  <a:pos x="14" y="35"/>
                </a:cxn>
                <a:cxn ang="0">
                  <a:pos x="7" y="21"/>
                </a:cxn>
                <a:cxn ang="0">
                  <a:pos x="0" y="15"/>
                </a:cxn>
                <a:cxn ang="0">
                  <a:pos x="21" y="14"/>
                </a:cxn>
                <a:cxn ang="0">
                  <a:pos x="28" y="9"/>
                </a:cxn>
                <a:cxn ang="0">
                  <a:pos x="44" y="8"/>
                </a:cxn>
                <a:cxn ang="0">
                  <a:pos x="51" y="4"/>
                </a:cxn>
                <a:cxn ang="0">
                  <a:pos x="67" y="7"/>
                </a:cxn>
                <a:cxn ang="0">
                  <a:pos x="76" y="5"/>
                </a:cxn>
                <a:cxn ang="0">
                  <a:pos x="86" y="0"/>
                </a:cxn>
                <a:cxn ang="0">
                  <a:pos x="87" y="0"/>
                </a:cxn>
                <a:cxn ang="0">
                  <a:pos x="89" y="8"/>
                </a:cxn>
                <a:cxn ang="0">
                  <a:pos x="99" y="20"/>
                </a:cxn>
                <a:cxn ang="0">
                  <a:pos x="107" y="21"/>
                </a:cxn>
                <a:cxn ang="0">
                  <a:pos x="114" y="26"/>
                </a:cxn>
                <a:cxn ang="0">
                  <a:pos x="115" y="34"/>
                </a:cxn>
                <a:cxn ang="0">
                  <a:pos x="110" y="40"/>
                </a:cxn>
                <a:cxn ang="0">
                  <a:pos x="110" y="48"/>
                </a:cxn>
                <a:cxn ang="0">
                  <a:pos x="113" y="56"/>
                </a:cxn>
                <a:cxn ang="0">
                  <a:pos x="118" y="63"/>
                </a:cxn>
                <a:cxn ang="0">
                  <a:pos x="123" y="68"/>
                </a:cxn>
                <a:cxn ang="0">
                  <a:pos x="137" y="77"/>
                </a:cxn>
                <a:cxn ang="0">
                  <a:pos x="138" y="84"/>
                </a:cxn>
                <a:cxn ang="0">
                  <a:pos x="135" y="93"/>
                </a:cxn>
                <a:cxn ang="0">
                  <a:pos x="126" y="94"/>
                </a:cxn>
                <a:cxn ang="0">
                  <a:pos x="129" y="101"/>
                </a:cxn>
                <a:cxn ang="0">
                  <a:pos x="138" y="113"/>
                </a:cxn>
                <a:cxn ang="0">
                  <a:pos x="153" y="122"/>
                </a:cxn>
                <a:cxn ang="0">
                  <a:pos x="161" y="122"/>
                </a:cxn>
                <a:cxn ang="0">
                  <a:pos x="168" y="123"/>
                </a:cxn>
                <a:cxn ang="0">
                  <a:pos x="164" y="131"/>
                </a:cxn>
                <a:cxn ang="0">
                  <a:pos x="163" y="139"/>
                </a:cxn>
                <a:cxn ang="0">
                  <a:pos x="169" y="144"/>
                </a:cxn>
                <a:cxn ang="0">
                  <a:pos x="168" y="152"/>
                </a:cxn>
                <a:cxn ang="0">
                  <a:pos x="161" y="154"/>
                </a:cxn>
                <a:cxn ang="0">
                  <a:pos x="166" y="160"/>
                </a:cxn>
                <a:cxn ang="0">
                  <a:pos x="169" y="168"/>
                </a:cxn>
                <a:cxn ang="0">
                  <a:pos x="170" y="175"/>
                </a:cxn>
                <a:cxn ang="0">
                  <a:pos x="164" y="175"/>
                </a:cxn>
                <a:cxn ang="0">
                  <a:pos x="147" y="175"/>
                </a:cxn>
                <a:cxn ang="0">
                  <a:pos x="142" y="175"/>
                </a:cxn>
                <a:cxn ang="0">
                  <a:pos x="141" y="150"/>
                </a:cxn>
                <a:cxn ang="0">
                  <a:pos x="137" y="143"/>
                </a:cxn>
                <a:cxn ang="0">
                  <a:pos x="132" y="136"/>
                </a:cxn>
                <a:cxn ang="0">
                  <a:pos x="129" y="128"/>
                </a:cxn>
                <a:cxn ang="0">
                  <a:pos x="121" y="126"/>
                </a:cxn>
                <a:cxn ang="0">
                  <a:pos x="114" y="128"/>
                </a:cxn>
                <a:cxn ang="0">
                  <a:pos x="107" y="128"/>
                </a:cxn>
                <a:cxn ang="0">
                  <a:pos x="99" y="125"/>
                </a:cxn>
                <a:cxn ang="0">
                  <a:pos x="94" y="117"/>
                </a:cxn>
                <a:cxn ang="0">
                  <a:pos x="87" y="116"/>
                </a:cxn>
                <a:cxn ang="0">
                  <a:pos x="77" y="118"/>
                </a:cxn>
              </a:cxnLst>
              <a:rect l="0" t="0" r="r" b="b"/>
              <a:pathLst>
                <a:path w="170" h="175">
                  <a:moveTo>
                    <a:pt x="77" y="118"/>
                  </a:moveTo>
                  <a:lnTo>
                    <a:pt x="68" y="107"/>
                  </a:lnTo>
                  <a:lnTo>
                    <a:pt x="64" y="102"/>
                  </a:lnTo>
                  <a:lnTo>
                    <a:pt x="56" y="99"/>
                  </a:lnTo>
                  <a:lnTo>
                    <a:pt x="46" y="89"/>
                  </a:lnTo>
                  <a:lnTo>
                    <a:pt x="38" y="83"/>
                  </a:lnTo>
                  <a:lnTo>
                    <a:pt x="27" y="79"/>
                  </a:lnTo>
                  <a:lnTo>
                    <a:pt x="19" y="69"/>
                  </a:lnTo>
                  <a:lnTo>
                    <a:pt x="16" y="55"/>
                  </a:lnTo>
                  <a:lnTo>
                    <a:pt x="14" y="35"/>
                  </a:lnTo>
                  <a:lnTo>
                    <a:pt x="7" y="21"/>
                  </a:lnTo>
                  <a:lnTo>
                    <a:pt x="0" y="15"/>
                  </a:lnTo>
                  <a:lnTo>
                    <a:pt x="21" y="14"/>
                  </a:lnTo>
                  <a:lnTo>
                    <a:pt x="28" y="9"/>
                  </a:lnTo>
                  <a:lnTo>
                    <a:pt x="44" y="8"/>
                  </a:lnTo>
                  <a:lnTo>
                    <a:pt x="51" y="4"/>
                  </a:lnTo>
                  <a:lnTo>
                    <a:pt x="67" y="7"/>
                  </a:lnTo>
                  <a:lnTo>
                    <a:pt x="76" y="5"/>
                  </a:lnTo>
                  <a:lnTo>
                    <a:pt x="86" y="0"/>
                  </a:lnTo>
                  <a:lnTo>
                    <a:pt x="87" y="0"/>
                  </a:lnTo>
                  <a:lnTo>
                    <a:pt x="89" y="8"/>
                  </a:lnTo>
                  <a:lnTo>
                    <a:pt x="99" y="20"/>
                  </a:lnTo>
                  <a:lnTo>
                    <a:pt x="107" y="21"/>
                  </a:lnTo>
                  <a:lnTo>
                    <a:pt x="114" y="26"/>
                  </a:lnTo>
                  <a:lnTo>
                    <a:pt x="115" y="34"/>
                  </a:lnTo>
                  <a:lnTo>
                    <a:pt x="110" y="40"/>
                  </a:lnTo>
                  <a:lnTo>
                    <a:pt x="110" y="48"/>
                  </a:lnTo>
                  <a:lnTo>
                    <a:pt x="113" y="56"/>
                  </a:lnTo>
                  <a:lnTo>
                    <a:pt x="118" y="63"/>
                  </a:lnTo>
                  <a:lnTo>
                    <a:pt x="123" y="68"/>
                  </a:lnTo>
                  <a:lnTo>
                    <a:pt x="137" y="77"/>
                  </a:lnTo>
                  <a:lnTo>
                    <a:pt x="138" y="84"/>
                  </a:lnTo>
                  <a:lnTo>
                    <a:pt x="135" y="93"/>
                  </a:lnTo>
                  <a:lnTo>
                    <a:pt x="126" y="94"/>
                  </a:lnTo>
                  <a:lnTo>
                    <a:pt x="129" y="101"/>
                  </a:lnTo>
                  <a:lnTo>
                    <a:pt x="138" y="113"/>
                  </a:lnTo>
                  <a:lnTo>
                    <a:pt x="153" y="122"/>
                  </a:lnTo>
                  <a:lnTo>
                    <a:pt x="161" y="122"/>
                  </a:lnTo>
                  <a:lnTo>
                    <a:pt x="168" y="123"/>
                  </a:lnTo>
                  <a:lnTo>
                    <a:pt x="164" y="131"/>
                  </a:lnTo>
                  <a:lnTo>
                    <a:pt x="163" y="139"/>
                  </a:lnTo>
                  <a:lnTo>
                    <a:pt x="169" y="144"/>
                  </a:lnTo>
                  <a:lnTo>
                    <a:pt x="168" y="152"/>
                  </a:lnTo>
                  <a:lnTo>
                    <a:pt x="161" y="154"/>
                  </a:lnTo>
                  <a:lnTo>
                    <a:pt x="166" y="160"/>
                  </a:lnTo>
                  <a:lnTo>
                    <a:pt x="169" y="168"/>
                  </a:lnTo>
                  <a:lnTo>
                    <a:pt x="170" y="175"/>
                  </a:lnTo>
                  <a:lnTo>
                    <a:pt x="164" y="175"/>
                  </a:lnTo>
                  <a:lnTo>
                    <a:pt x="147" y="175"/>
                  </a:lnTo>
                  <a:lnTo>
                    <a:pt x="142" y="175"/>
                  </a:lnTo>
                  <a:lnTo>
                    <a:pt x="141" y="150"/>
                  </a:lnTo>
                  <a:lnTo>
                    <a:pt x="137" y="143"/>
                  </a:lnTo>
                  <a:lnTo>
                    <a:pt x="132" y="136"/>
                  </a:lnTo>
                  <a:lnTo>
                    <a:pt x="129" y="128"/>
                  </a:lnTo>
                  <a:lnTo>
                    <a:pt x="121" y="126"/>
                  </a:lnTo>
                  <a:lnTo>
                    <a:pt x="114" y="128"/>
                  </a:lnTo>
                  <a:lnTo>
                    <a:pt x="107" y="128"/>
                  </a:lnTo>
                  <a:lnTo>
                    <a:pt x="99" y="125"/>
                  </a:lnTo>
                  <a:lnTo>
                    <a:pt x="94" y="117"/>
                  </a:lnTo>
                  <a:lnTo>
                    <a:pt x="87" y="116"/>
                  </a:lnTo>
                  <a:lnTo>
                    <a:pt x="77" y="11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98" name="Kazakhstan"/>
            <p:cNvSpPr>
              <a:spLocks noChangeAspect="1"/>
            </p:cNvSpPr>
            <p:nvPr>
              <p:custDataLst>
                <p:tags r:id="rId92"/>
              </p:custDataLst>
            </p:nvPr>
          </p:nvSpPr>
          <p:spPr bwMode="gray">
            <a:xfrm>
              <a:off x="5647387" y="2918747"/>
              <a:ext cx="1043908" cy="557063"/>
            </a:xfrm>
            <a:custGeom>
              <a:avLst/>
              <a:gdLst/>
              <a:ahLst/>
              <a:cxnLst>
                <a:cxn ang="0">
                  <a:pos x="464" y="1136"/>
                </a:cxn>
                <a:cxn ang="0">
                  <a:pos x="355" y="1109"/>
                </a:cxn>
                <a:cxn ang="0">
                  <a:pos x="262" y="1035"/>
                </a:cxn>
                <a:cxn ang="0">
                  <a:pos x="250" y="932"/>
                </a:cxn>
                <a:cxn ang="0">
                  <a:pos x="298" y="882"/>
                </a:cxn>
                <a:cxn ang="0">
                  <a:pos x="413" y="881"/>
                </a:cxn>
                <a:cxn ang="0">
                  <a:pos x="420" y="823"/>
                </a:cxn>
                <a:cxn ang="0">
                  <a:pos x="336" y="731"/>
                </a:cxn>
                <a:cxn ang="0">
                  <a:pos x="242" y="718"/>
                </a:cxn>
                <a:cxn ang="0">
                  <a:pos x="102" y="781"/>
                </a:cxn>
                <a:cxn ang="0">
                  <a:pos x="103" y="699"/>
                </a:cxn>
                <a:cxn ang="0">
                  <a:pos x="33" y="660"/>
                </a:cxn>
                <a:cxn ang="0">
                  <a:pos x="16" y="544"/>
                </a:cxn>
                <a:cxn ang="0">
                  <a:pos x="64" y="458"/>
                </a:cxn>
                <a:cxn ang="0">
                  <a:pos x="126" y="435"/>
                </a:cxn>
                <a:cxn ang="0">
                  <a:pos x="193" y="379"/>
                </a:cxn>
                <a:cxn ang="0">
                  <a:pos x="263" y="359"/>
                </a:cxn>
                <a:cxn ang="0">
                  <a:pos x="329" y="359"/>
                </a:cxn>
                <a:cxn ang="0">
                  <a:pos x="421" y="398"/>
                </a:cxn>
                <a:cxn ang="0">
                  <a:pos x="442" y="408"/>
                </a:cxn>
                <a:cxn ang="0">
                  <a:pos x="531" y="424"/>
                </a:cxn>
                <a:cxn ang="0">
                  <a:pos x="590" y="402"/>
                </a:cxn>
                <a:cxn ang="0">
                  <a:pos x="674" y="434"/>
                </a:cxn>
                <a:cxn ang="0">
                  <a:pos x="760" y="434"/>
                </a:cxn>
                <a:cxn ang="0">
                  <a:pos x="793" y="363"/>
                </a:cxn>
                <a:cxn ang="0">
                  <a:pos x="760" y="306"/>
                </a:cxn>
                <a:cxn ang="0">
                  <a:pos x="807" y="226"/>
                </a:cxn>
                <a:cxn ang="0">
                  <a:pos x="803" y="192"/>
                </a:cxn>
                <a:cxn ang="0">
                  <a:pos x="802" y="150"/>
                </a:cxn>
                <a:cxn ang="0">
                  <a:pos x="878" y="142"/>
                </a:cxn>
                <a:cxn ang="0">
                  <a:pos x="963" y="110"/>
                </a:cxn>
                <a:cxn ang="0">
                  <a:pos x="1034" y="74"/>
                </a:cxn>
                <a:cxn ang="0">
                  <a:pos x="1187" y="42"/>
                </a:cxn>
                <a:cxn ang="0">
                  <a:pos x="1239" y="0"/>
                </a:cxn>
                <a:cxn ang="0">
                  <a:pos x="1324" y="12"/>
                </a:cxn>
                <a:cxn ang="0">
                  <a:pos x="1349" y="102"/>
                </a:cxn>
                <a:cxn ang="0">
                  <a:pos x="1402" y="107"/>
                </a:cxn>
                <a:cxn ang="0">
                  <a:pos x="1425" y="125"/>
                </a:cxn>
                <a:cxn ang="0">
                  <a:pos x="1490" y="145"/>
                </a:cxn>
                <a:cxn ang="0">
                  <a:pos x="1508" y="173"/>
                </a:cxn>
                <a:cxn ang="0">
                  <a:pos x="1586" y="123"/>
                </a:cxn>
                <a:cxn ang="0">
                  <a:pos x="1657" y="118"/>
                </a:cxn>
                <a:cxn ang="0">
                  <a:pos x="1857" y="397"/>
                </a:cxn>
                <a:cxn ang="0">
                  <a:pos x="1938" y="425"/>
                </a:cxn>
                <a:cxn ang="0">
                  <a:pos x="2028" y="408"/>
                </a:cxn>
                <a:cxn ang="0">
                  <a:pos x="2078" y="470"/>
                </a:cxn>
                <a:cxn ang="0">
                  <a:pos x="2159" y="533"/>
                </a:cxn>
                <a:cxn ang="0">
                  <a:pos x="2226" y="554"/>
                </a:cxn>
                <a:cxn ang="0">
                  <a:pos x="2139" y="733"/>
                </a:cxn>
                <a:cxn ang="0">
                  <a:pos x="1978" y="773"/>
                </a:cxn>
                <a:cxn ang="0">
                  <a:pos x="1841" y="901"/>
                </a:cxn>
                <a:cxn ang="0">
                  <a:pos x="1860" y="1061"/>
                </a:cxn>
                <a:cxn ang="0">
                  <a:pos x="1768" y="1061"/>
                </a:cxn>
                <a:cxn ang="0">
                  <a:pos x="1620" y="1050"/>
                </a:cxn>
                <a:cxn ang="0">
                  <a:pos x="1506" y="1034"/>
                </a:cxn>
                <a:cxn ang="0">
                  <a:pos x="1421" y="1070"/>
                </a:cxn>
                <a:cxn ang="0">
                  <a:pos x="1343" y="1081"/>
                </a:cxn>
                <a:cxn ang="0">
                  <a:pos x="1257" y="1153"/>
                </a:cxn>
                <a:cxn ang="0">
                  <a:pos x="1185" y="1180"/>
                </a:cxn>
                <a:cxn ang="0">
                  <a:pos x="1048" y="1021"/>
                </a:cxn>
                <a:cxn ang="0">
                  <a:pos x="742" y="899"/>
                </a:cxn>
              </a:cxnLst>
              <a:rect l="0" t="0" r="r" b="b"/>
              <a:pathLst>
                <a:path w="2230" h="1190">
                  <a:moveTo>
                    <a:pt x="518" y="898"/>
                  </a:moveTo>
                  <a:lnTo>
                    <a:pt x="518" y="968"/>
                  </a:lnTo>
                  <a:lnTo>
                    <a:pt x="518" y="1042"/>
                  </a:lnTo>
                  <a:lnTo>
                    <a:pt x="518" y="1107"/>
                  </a:lnTo>
                  <a:lnTo>
                    <a:pt x="518" y="1168"/>
                  </a:lnTo>
                  <a:lnTo>
                    <a:pt x="506" y="1174"/>
                  </a:lnTo>
                  <a:lnTo>
                    <a:pt x="486" y="1173"/>
                  </a:lnTo>
                  <a:lnTo>
                    <a:pt x="477" y="1166"/>
                  </a:lnTo>
                  <a:lnTo>
                    <a:pt x="468" y="1143"/>
                  </a:lnTo>
                  <a:lnTo>
                    <a:pt x="464" y="1136"/>
                  </a:lnTo>
                  <a:lnTo>
                    <a:pt x="458" y="1130"/>
                  </a:lnTo>
                  <a:lnTo>
                    <a:pt x="452" y="1115"/>
                  </a:lnTo>
                  <a:lnTo>
                    <a:pt x="447" y="1108"/>
                  </a:lnTo>
                  <a:lnTo>
                    <a:pt x="432" y="1102"/>
                  </a:lnTo>
                  <a:lnTo>
                    <a:pt x="425" y="1097"/>
                  </a:lnTo>
                  <a:lnTo>
                    <a:pt x="418" y="1092"/>
                  </a:lnTo>
                  <a:lnTo>
                    <a:pt x="410" y="1092"/>
                  </a:lnTo>
                  <a:lnTo>
                    <a:pt x="402" y="1093"/>
                  </a:lnTo>
                  <a:lnTo>
                    <a:pt x="378" y="1100"/>
                  </a:lnTo>
                  <a:lnTo>
                    <a:pt x="355" y="1109"/>
                  </a:lnTo>
                  <a:lnTo>
                    <a:pt x="325" y="1135"/>
                  </a:lnTo>
                  <a:lnTo>
                    <a:pt x="324" y="1096"/>
                  </a:lnTo>
                  <a:lnTo>
                    <a:pt x="333" y="1085"/>
                  </a:lnTo>
                  <a:lnTo>
                    <a:pt x="335" y="1065"/>
                  </a:lnTo>
                  <a:lnTo>
                    <a:pt x="323" y="1060"/>
                  </a:lnTo>
                  <a:lnTo>
                    <a:pt x="311" y="1059"/>
                  </a:lnTo>
                  <a:lnTo>
                    <a:pt x="291" y="1050"/>
                  </a:lnTo>
                  <a:lnTo>
                    <a:pt x="281" y="1037"/>
                  </a:lnTo>
                  <a:lnTo>
                    <a:pt x="274" y="1037"/>
                  </a:lnTo>
                  <a:lnTo>
                    <a:pt x="262" y="1035"/>
                  </a:lnTo>
                  <a:lnTo>
                    <a:pt x="259" y="996"/>
                  </a:lnTo>
                  <a:lnTo>
                    <a:pt x="247" y="976"/>
                  </a:lnTo>
                  <a:lnTo>
                    <a:pt x="239" y="970"/>
                  </a:lnTo>
                  <a:lnTo>
                    <a:pt x="232" y="956"/>
                  </a:lnTo>
                  <a:lnTo>
                    <a:pt x="209" y="947"/>
                  </a:lnTo>
                  <a:lnTo>
                    <a:pt x="198" y="930"/>
                  </a:lnTo>
                  <a:lnTo>
                    <a:pt x="205" y="924"/>
                  </a:lnTo>
                  <a:lnTo>
                    <a:pt x="223" y="924"/>
                  </a:lnTo>
                  <a:lnTo>
                    <a:pt x="241" y="927"/>
                  </a:lnTo>
                  <a:lnTo>
                    <a:pt x="250" y="932"/>
                  </a:lnTo>
                  <a:lnTo>
                    <a:pt x="258" y="930"/>
                  </a:lnTo>
                  <a:lnTo>
                    <a:pt x="271" y="931"/>
                  </a:lnTo>
                  <a:lnTo>
                    <a:pt x="268" y="924"/>
                  </a:lnTo>
                  <a:lnTo>
                    <a:pt x="264" y="913"/>
                  </a:lnTo>
                  <a:lnTo>
                    <a:pt x="262" y="894"/>
                  </a:lnTo>
                  <a:lnTo>
                    <a:pt x="266" y="883"/>
                  </a:lnTo>
                  <a:lnTo>
                    <a:pt x="276" y="878"/>
                  </a:lnTo>
                  <a:lnTo>
                    <a:pt x="276" y="886"/>
                  </a:lnTo>
                  <a:lnTo>
                    <a:pt x="287" y="887"/>
                  </a:lnTo>
                  <a:lnTo>
                    <a:pt x="298" y="882"/>
                  </a:lnTo>
                  <a:lnTo>
                    <a:pt x="301" y="873"/>
                  </a:lnTo>
                  <a:lnTo>
                    <a:pt x="311" y="865"/>
                  </a:lnTo>
                  <a:lnTo>
                    <a:pt x="328" y="863"/>
                  </a:lnTo>
                  <a:lnTo>
                    <a:pt x="344" y="873"/>
                  </a:lnTo>
                  <a:lnTo>
                    <a:pt x="360" y="879"/>
                  </a:lnTo>
                  <a:lnTo>
                    <a:pt x="376" y="876"/>
                  </a:lnTo>
                  <a:lnTo>
                    <a:pt x="386" y="868"/>
                  </a:lnTo>
                  <a:lnTo>
                    <a:pt x="389" y="870"/>
                  </a:lnTo>
                  <a:lnTo>
                    <a:pt x="394" y="874"/>
                  </a:lnTo>
                  <a:lnTo>
                    <a:pt x="413" y="881"/>
                  </a:lnTo>
                  <a:lnTo>
                    <a:pt x="424" y="887"/>
                  </a:lnTo>
                  <a:lnTo>
                    <a:pt x="435" y="884"/>
                  </a:lnTo>
                  <a:lnTo>
                    <a:pt x="447" y="887"/>
                  </a:lnTo>
                  <a:lnTo>
                    <a:pt x="451" y="879"/>
                  </a:lnTo>
                  <a:lnTo>
                    <a:pt x="443" y="867"/>
                  </a:lnTo>
                  <a:lnTo>
                    <a:pt x="453" y="867"/>
                  </a:lnTo>
                  <a:lnTo>
                    <a:pt x="446" y="855"/>
                  </a:lnTo>
                  <a:lnTo>
                    <a:pt x="435" y="841"/>
                  </a:lnTo>
                  <a:lnTo>
                    <a:pt x="425" y="834"/>
                  </a:lnTo>
                  <a:lnTo>
                    <a:pt x="420" y="823"/>
                  </a:lnTo>
                  <a:lnTo>
                    <a:pt x="409" y="823"/>
                  </a:lnTo>
                  <a:lnTo>
                    <a:pt x="398" y="806"/>
                  </a:lnTo>
                  <a:lnTo>
                    <a:pt x="392" y="782"/>
                  </a:lnTo>
                  <a:lnTo>
                    <a:pt x="384" y="771"/>
                  </a:lnTo>
                  <a:lnTo>
                    <a:pt x="382" y="777"/>
                  </a:lnTo>
                  <a:lnTo>
                    <a:pt x="375" y="760"/>
                  </a:lnTo>
                  <a:lnTo>
                    <a:pt x="370" y="760"/>
                  </a:lnTo>
                  <a:lnTo>
                    <a:pt x="367" y="749"/>
                  </a:lnTo>
                  <a:lnTo>
                    <a:pt x="348" y="732"/>
                  </a:lnTo>
                  <a:lnTo>
                    <a:pt x="336" y="731"/>
                  </a:lnTo>
                  <a:lnTo>
                    <a:pt x="336" y="725"/>
                  </a:lnTo>
                  <a:lnTo>
                    <a:pt x="323" y="723"/>
                  </a:lnTo>
                  <a:lnTo>
                    <a:pt x="312" y="728"/>
                  </a:lnTo>
                  <a:lnTo>
                    <a:pt x="303" y="730"/>
                  </a:lnTo>
                  <a:lnTo>
                    <a:pt x="292" y="736"/>
                  </a:lnTo>
                  <a:lnTo>
                    <a:pt x="289" y="725"/>
                  </a:lnTo>
                  <a:lnTo>
                    <a:pt x="274" y="725"/>
                  </a:lnTo>
                  <a:lnTo>
                    <a:pt x="270" y="722"/>
                  </a:lnTo>
                  <a:lnTo>
                    <a:pt x="257" y="720"/>
                  </a:lnTo>
                  <a:lnTo>
                    <a:pt x="242" y="718"/>
                  </a:lnTo>
                  <a:lnTo>
                    <a:pt x="207" y="752"/>
                  </a:lnTo>
                  <a:lnTo>
                    <a:pt x="188" y="753"/>
                  </a:lnTo>
                  <a:lnTo>
                    <a:pt x="162" y="761"/>
                  </a:lnTo>
                  <a:lnTo>
                    <a:pt x="136" y="765"/>
                  </a:lnTo>
                  <a:lnTo>
                    <a:pt x="114" y="771"/>
                  </a:lnTo>
                  <a:lnTo>
                    <a:pt x="136" y="786"/>
                  </a:lnTo>
                  <a:lnTo>
                    <a:pt x="119" y="793"/>
                  </a:lnTo>
                  <a:lnTo>
                    <a:pt x="112" y="791"/>
                  </a:lnTo>
                  <a:lnTo>
                    <a:pt x="108" y="785"/>
                  </a:lnTo>
                  <a:lnTo>
                    <a:pt x="102" y="781"/>
                  </a:lnTo>
                  <a:lnTo>
                    <a:pt x="93" y="781"/>
                  </a:lnTo>
                  <a:lnTo>
                    <a:pt x="86" y="779"/>
                  </a:lnTo>
                  <a:lnTo>
                    <a:pt x="83" y="773"/>
                  </a:lnTo>
                  <a:lnTo>
                    <a:pt x="90" y="766"/>
                  </a:lnTo>
                  <a:lnTo>
                    <a:pt x="91" y="758"/>
                  </a:lnTo>
                  <a:lnTo>
                    <a:pt x="98" y="755"/>
                  </a:lnTo>
                  <a:lnTo>
                    <a:pt x="107" y="761"/>
                  </a:lnTo>
                  <a:lnTo>
                    <a:pt x="119" y="758"/>
                  </a:lnTo>
                  <a:lnTo>
                    <a:pt x="110" y="701"/>
                  </a:lnTo>
                  <a:lnTo>
                    <a:pt x="103" y="699"/>
                  </a:lnTo>
                  <a:lnTo>
                    <a:pt x="98" y="693"/>
                  </a:lnTo>
                  <a:lnTo>
                    <a:pt x="96" y="684"/>
                  </a:lnTo>
                  <a:lnTo>
                    <a:pt x="92" y="678"/>
                  </a:lnTo>
                  <a:lnTo>
                    <a:pt x="86" y="672"/>
                  </a:lnTo>
                  <a:lnTo>
                    <a:pt x="79" y="672"/>
                  </a:lnTo>
                  <a:lnTo>
                    <a:pt x="61" y="674"/>
                  </a:lnTo>
                  <a:lnTo>
                    <a:pt x="48" y="671"/>
                  </a:lnTo>
                  <a:lnTo>
                    <a:pt x="47" y="679"/>
                  </a:lnTo>
                  <a:lnTo>
                    <a:pt x="34" y="667"/>
                  </a:lnTo>
                  <a:lnTo>
                    <a:pt x="33" y="660"/>
                  </a:lnTo>
                  <a:lnTo>
                    <a:pt x="29" y="652"/>
                  </a:lnTo>
                  <a:lnTo>
                    <a:pt x="34" y="646"/>
                  </a:lnTo>
                  <a:lnTo>
                    <a:pt x="29" y="639"/>
                  </a:lnTo>
                  <a:lnTo>
                    <a:pt x="28" y="631"/>
                  </a:lnTo>
                  <a:lnTo>
                    <a:pt x="0" y="621"/>
                  </a:lnTo>
                  <a:lnTo>
                    <a:pt x="11" y="577"/>
                  </a:lnTo>
                  <a:lnTo>
                    <a:pt x="24" y="570"/>
                  </a:lnTo>
                  <a:lnTo>
                    <a:pt x="29" y="562"/>
                  </a:lnTo>
                  <a:lnTo>
                    <a:pt x="27" y="555"/>
                  </a:lnTo>
                  <a:lnTo>
                    <a:pt x="16" y="544"/>
                  </a:lnTo>
                  <a:lnTo>
                    <a:pt x="26" y="499"/>
                  </a:lnTo>
                  <a:lnTo>
                    <a:pt x="39" y="490"/>
                  </a:lnTo>
                  <a:lnTo>
                    <a:pt x="44" y="484"/>
                  </a:lnTo>
                  <a:lnTo>
                    <a:pt x="42" y="475"/>
                  </a:lnTo>
                  <a:lnTo>
                    <a:pt x="45" y="468"/>
                  </a:lnTo>
                  <a:lnTo>
                    <a:pt x="45" y="461"/>
                  </a:lnTo>
                  <a:lnTo>
                    <a:pt x="49" y="452"/>
                  </a:lnTo>
                  <a:lnTo>
                    <a:pt x="54" y="446"/>
                  </a:lnTo>
                  <a:lnTo>
                    <a:pt x="60" y="451"/>
                  </a:lnTo>
                  <a:lnTo>
                    <a:pt x="64" y="458"/>
                  </a:lnTo>
                  <a:lnTo>
                    <a:pt x="76" y="468"/>
                  </a:lnTo>
                  <a:lnTo>
                    <a:pt x="93" y="505"/>
                  </a:lnTo>
                  <a:lnTo>
                    <a:pt x="102" y="507"/>
                  </a:lnTo>
                  <a:lnTo>
                    <a:pt x="128" y="490"/>
                  </a:lnTo>
                  <a:lnTo>
                    <a:pt x="125" y="481"/>
                  </a:lnTo>
                  <a:lnTo>
                    <a:pt x="122" y="474"/>
                  </a:lnTo>
                  <a:lnTo>
                    <a:pt x="118" y="449"/>
                  </a:lnTo>
                  <a:lnTo>
                    <a:pt x="110" y="436"/>
                  </a:lnTo>
                  <a:lnTo>
                    <a:pt x="119" y="437"/>
                  </a:lnTo>
                  <a:lnTo>
                    <a:pt x="126" y="435"/>
                  </a:lnTo>
                  <a:lnTo>
                    <a:pt x="146" y="420"/>
                  </a:lnTo>
                  <a:lnTo>
                    <a:pt x="153" y="416"/>
                  </a:lnTo>
                  <a:lnTo>
                    <a:pt x="158" y="410"/>
                  </a:lnTo>
                  <a:lnTo>
                    <a:pt x="158" y="402"/>
                  </a:lnTo>
                  <a:lnTo>
                    <a:pt x="158" y="393"/>
                  </a:lnTo>
                  <a:lnTo>
                    <a:pt x="166" y="392"/>
                  </a:lnTo>
                  <a:lnTo>
                    <a:pt x="174" y="393"/>
                  </a:lnTo>
                  <a:lnTo>
                    <a:pt x="182" y="391"/>
                  </a:lnTo>
                  <a:lnTo>
                    <a:pt x="187" y="383"/>
                  </a:lnTo>
                  <a:lnTo>
                    <a:pt x="193" y="379"/>
                  </a:lnTo>
                  <a:lnTo>
                    <a:pt x="201" y="377"/>
                  </a:lnTo>
                  <a:lnTo>
                    <a:pt x="206" y="371"/>
                  </a:lnTo>
                  <a:lnTo>
                    <a:pt x="214" y="366"/>
                  </a:lnTo>
                  <a:lnTo>
                    <a:pt x="219" y="360"/>
                  </a:lnTo>
                  <a:lnTo>
                    <a:pt x="220" y="352"/>
                  </a:lnTo>
                  <a:lnTo>
                    <a:pt x="227" y="348"/>
                  </a:lnTo>
                  <a:lnTo>
                    <a:pt x="242" y="343"/>
                  </a:lnTo>
                  <a:lnTo>
                    <a:pt x="258" y="343"/>
                  </a:lnTo>
                  <a:lnTo>
                    <a:pt x="259" y="351"/>
                  </a:lnTo>
                  <a:lnTo>
                    <a:pt x="263" y="359"/>
                  </a:lnTo>
                  <a:lnTo>
                    <a:pt x="279" y="355"/>
                  </a:lnTo>
                  <a:lnTo>
                    <a:pt x="284" y="361"/>
                  </a:lnTo>
                  <a:lnTo>
                    <a:pt x="289" y="354"/>
                  </a:lnTo>
                  <a:lnTo>
                    <a:pt x="291" y="345"/>
                  </a:lnTo>
                  <a:lnTo>
                    <a:pt x="296" y="339"/>
                  </a:lnTo>
                  <a:lnTo>
                    <a:pt x="303" y="340"/>
                  </a:lnTo>
                  <a:lnTo>
                    <a:pt x="311" y="336"/>
                  </a:lnTo>
                  <a:lnTo>
                    <a:pt x="318" y="336"/>
                  </a:lnTo>
                  <a:lnTo>
                    <a:pt x="324" y="352"/>
                  </a:lnTo>
                  <a:lnTo>
                    <a:pt x="329" y="359"/>
                  </a:lnTo>
                  <a:lnTo>
                    <a:pt x="338" y="355"/>
                  </a:lnTo>
                  <a:lnTo>
                    <a:pt x="345" y="355"/>
                  </a:lnTo>
                  <a:lnTo>
                    <a:pt x="352" y="357"/>
                  </a:lnTo>
                  <a:lnTo>
                    <a:pt x="368" y="354"/>
                  </a:lnTo>
                  <a:lnTo>
                    <a:pt x="376" y="355"/>
                  </a:lnTo>
                  <a:lnTo>
                    <a:pt x="383" y="360"/>
                  </a:lnTo>
                  <a:lnTo>
                    <a:pt x="389" y="365"/>
                  </a:lnTo>
                  <a:lnTo>
                    <a:pt x="395" y="379"/>
                  </a:lnTo>
                  <a:lnTo>
                    <a:pt x="416" y="392"/>
                  </a:lnTo>
                  <a:lnTo>
                    <a:pt x="421" y="398"/>
                  </a:lnTo>
                  <a:lnTo>
                    <a:pt x="424" y="406"/>
                  </a:lnTo>
                  <a:lnTo>
                    <a:pt x="435" y="419"/>
                  </a:lnTo>
                  <a:lnTo>
                    <a:pt x="434" y="426"/>
                  </a:lnTo>
                  <a:lnTo>
                    <a:pt x="435" y="435"/>
                  </a:lnTo>
                  <a:lnTo>
                    <a:pt x="440" y="441"/>
                  </a:lnTo>
                  <a:lnTo>
                    <a:pt x="447" y="438"/>
                  </a:lnTo>
                  <a:lnTo>
                    <a:pt x="447" y="431"/>
                  </a:lnTo>
                  <a:lnTo>
                    <a:pt x="446" y="422"/>
                  </a:lnTo>
                  <a:lnTo>
                    <a:pt x="447" y="415"/>
                  </a:lnTo>
                  <a:lnTo>
                    <a:pt x="442" y="408"/>
                  </a:lnTo>
                  <a:lnTo>
                    <a:pt x="447" y="402"/>
                  </a:lnTo>
                  <a:lnTo>
                    <a:pt x="456" y="400"/>
                  </a:lnTo>
                  <a:lnTo>
                    <a:pt x="458" y="408"/>
                  </a:lnTo>
                  <a:lnTo>
                    <a:pt x="464" y="414"/>
                  </a:lnTo>
                  <a:lnTo>
                    <a:pt x="467" y="421"/>
                  </a:lnTo>
                  <a:lnTo>
                    <a:pt x="473" y="426"/>
                  </a:lnTo>
                  <a:lnTo>
                    <a:pt x="488" y="432"/>
                  </a:lnTo>
                  <a:lnTo>
                    <a:pt x="502" y="440"/>
                  </a:lnTo>
                  <a:lnTo>
                    <a:pt x="511" y="437"/>
                  </a:lnTo>
                  <a:lnTo>
                    <a:pt x="531" y="424"/>
                  </a:lnTo>
                  <a:lnTo>
                    <a:pt x="531" y="415"/>
                  </a:lnTo>
                  <a:lnTo>
                    <a:pt x="537" y="411"/>
                  </a:lnTo>
                  <a:lnTo>
                    <a:pt x="543" y="406"/>
                  </a:lnTo>
                  <a:lnTo>
                    <a:pt x="551" y="405"/>
                  </a:lnTo>
                  <a:lnTo>
                    <a:pt x="559" y="408"/>
                  </a:lnTo>
                  <a:lnTo>
                    <a:pt x="559" y="400"/>
                  </a:lnTo>
                  <a:lnTo>
                    <a:pt x="567" y="399"/>
                  </a:lnTo>
                  <a:lnTo>
                    <a:pt x="575" y="402"/>
                  </a:lnTo>
                  <a:lnTo>
                    <a:pt x="582" y="397"/>
                  </a:lnTo>
                  <a:lnTo>
                    <a:pt x="590" y="402"/>
                  </a:lnTo>
                  <a:lnTo>
                    <a:pt x="601" y="413"/>
                  </a:lnTo>
                  <a:lnTo>
                    <a:pt x="615" y="404"/>
                  </a:lnTo>
                  <a:lnTo>
                    <a:pt x="619" y="397"/>
                  </a:lnTo>
                  <a:lnTo>
                    <a:pt x="634" y="397"/>
                  </a:lnTo>
                  <a:lnTo>
                    <a:pt x="641" y="393"/>
                  </a:lnTo>
                  <a:lnTo>
                    <a:pt x="657" y="399"/>
                  </a:lnTo>
                  <a:lnTo>
                    <a:pt x="662" y="405"/>
                  </a:lnTo>
                  <a:lnTo>
                    <a:pt x="663" y="421"/>
                  </a:lnTo>
                  <a:lnTo>
                    <a:pt x="669" y="427"/>
                  </a:lnTo>
                  <a:lnTo>
                    <a:pt x="674" y="434"/>
                  </a:lnTo>
                  <a:lnTo>
                    <a:pt x="690" y="432"/>
                  </a:lnTo>
                  <a:lnTo>
                    <a:pt x="705" y="435"/>
                  </a:lnTo>
                  <a:lnTo>
                    <a:pt x="705" y="435"/>
                  </a:lnTo>
                  <a:lnTo>
                    <a:pt x="707" y="446"/>
                  </a:lnTo>
                  <a:lnTo>
                    <a:pt x="725" y="445"/>
                  </a:lnTo>
                  <a:lnTo>
                    <a:pt x="731" y="440"/>
                  </a:lnTo>
                  <a:lnTo>
                    <a:pt x="738" y="425"/>
                  </a:lnTo>
                  <a:lnTo>
                    <a:pt x="743" y="419"/>
                  </a:lnTo>
                  <a:lnTo>
                    <a:pt x="749" y="421"/>
                  </a:lnTo>
                  <a:lnTo>
                    <a:pt x="760" y="434"/>
                  </a:lnTo>
                  <a:lnTo>
                    <a:pt x="776" y="435"/>
                  </a:lnTo>
                  <a:lnTo>
                    <a:pt x="792" y="432"/>
                  </a:lnTo>
                  <a:lnTo>
                    <a:pt x="800" y="426"/>
                  </a:lnTo>
                  <a:lnTo>
                    <a:pt x="814" y="421"/>
                  </a:lnTo>
                  <a:lnTo>
                    <a:pt x="827" y="383"/>
                  </a:lnTo>
                  <a:lnTo>
                    <a:pt x="830" y="376"/>
                  </a:lnTo>
                  <a:lnTo>
                    <a:pt x="824" y="370"/>
                  </a:lnTo>
                  <a:lnTo>
                    <a:pt x="823" y="366"/>
                  </a:lnTo>
                  <a:lnTo>
                    <a:pt x="809" y="365"/>
                  </a:lnTo>
                  <a:lnTo>
                    <a:pt x="793" y="363"/>
                  </a:lnTo>
                  <a:lnTo>
                    <a:pt x="787" y="356"/>
                  </a:lnTo>
                  <a:lnTo>
                    <a:pt x="784" y="351"/>
                  </a:lnTo>
                  <a:lnTo>
                    <a:pt x="766" y="348"/>
                  </a:lnTo>
                  <a:lnTo>
                    <a:pt x="759" y="345"/>
                  </a:lnTo>
                  <a:lnTo>
                    <a:pt x="760" y="336"/>
                  </a:lnTo>
                  <a:lnTo>
                    <a:pt x="755" y="329"/>
                  </a:lnTo>
                  <a:lnTo>
                    <a:pt x="739" y="327"/>
                  </a:lnTo>
                  <a:lnTo>
                    <a:pt x="741" y="318"/>
                  </a:lnTo>
                  <a:lnTo>
                    <a:pt x="748" y="316"/>
                  </a:lnTo>
                  <a:lnTo>
                    <a:pt x="760" y="306"/>
                  </a:lnTo>
                  <a:lnTo>
                    <a:pt x="776" y="301"/>
                  </a:lnTo>
                  <a:lnTo>
                    <a:pt x="790" y="291"/>
                  </a:lnTo>
                  <a:lnTo>
                    <a:pt x="793" y="285"/>
                  </a:lnTo>
                  <a:lnTo>
                    <a:pt x="795" y="276"/>
                  </a:lnTo>
                  <a:lnTo>
                    <a:pt x="776" y="249"/>
                  </a:lnTo>
                  <a:lnTo>
                    <a:pt x="784" y="246"/>
                  </a:lnTo>
                  <a:lnTo>
                    <a:pt x="790" y="241"/>
                  </a:lnTo>
                  <a:lnTo>
                    <a:pt x="792" y="232"/>
                  </a:lnTo>
                  <a:lnTo>
                    <a:pt x="798" y="227"/>
                  </a:lnTo>
                  <a:lnTo>
                    <a:pt x="807" y="226"/>
                  </a:lnTo>
                  <a:lnTo>
                    <a:pt x="814" y="227"/>
                  </a:lnTo>
                  <a:lnTo>
                    <a:pt x="823" y="226"/>
                  </a:lnTo>
                  <a:lnTo>
                    <a:pt x="830" y="228"/>
                  </a:lnTo>
                  <a:lnTo>
                    <a:pt x="846" y="228"/>
                  </a:lnTo>
                  <a:lnTo>
                    <a:pt x="855" y="226"/>
                  </a:lnTo>
                  <a:lnTo>
                    <a:pt x="857" y="217"/>
                  </a:lnTo>
                  <a:lnTo>
                    <a:pt x="854" y="211"/>
                  </a:lnTo>
                  <a:lnTo>
                    <a:pt x="839" y="203"/>
                  </a:lnTo>
                  <a:lnTo>
                    <a:pt x="807" y="199"/>
                  </a:lnTo>
                  <a:lnTo>
                    <a:pt x="803" y="192"/>
                  </a:lnTo>
                  <a:lnTo>
                    <a:pt x="805" y="183"/>
                  </a:lnTo>
                  <a:lnTo>
                    <a:pt x="812" y="183"/>
                  </a:lnTo>
                  <a:lnTo>
                    <a:pt x="819" y="180"/>
                  </a:lnTo>
                  <a:lnTo>
                    <a:pt x="823" y="173"/>
                  </a:lnTo>
                  <a:lnTo>
                    <a:pt x="818" y="168"/>
                  </a:lnTo>
                  <a:lnTo>
                    <a:pt x="811" y="172"/>
                  </a:lnTo>
                  <a:lnTo>
                    <a:pt x="795" y="172"/>
                  </a:lnTo>
                  <a:lnTo>
                    <a:pt x="795" y="163"/>
                  </a:lnTo>
                  <a:lnTo>
                    <a:pt x="797" y="156"/>
                  </a:lnTo>
                  <a:lnTo>
                    <a:pt x="802" y="150"/>
                  </a:lnTo>
                  <a:lnTo>
                    <a:pt x="791" y="139"/>
                  </a:lnTo>
                  <a:lnTo>
                    <a:pt x="807" y="137"/>
                  </a:lnTo>
                  <a:lnTo>
                    <a:pt x="811" y="131"/>
                  </a:lnTo>
                  <a:lnTo>
                    <a:pt x="820" y="131"/>
                  </a:lnTo>
                  <a:lnTo>
                    <a:pt x="825" y="137"/>
                  </a:lnTo>
                  <a:lnTo>
                    <a:pt x="833" y="136"/>
                  </a:lnTo>
                  <a:lnTo>
                    <a:pt x="841" y="137"/>
                  </a:lnTo>
                  <a:lnTo>
                    <a:pt x="849" y="135"/>
                  </a:lnTo>
                  <a:lnTo>
                    <a:pt x="873" y="136"/>
                  </a:lnTo>
                  <a:lnTo>
                    <a:pt x="878" y="142"/>
                  </a:lnTo>
                  <a:lnTo>
                    <a:pt x="888" y="130"/>
                  </a:lnTo>
                  <a:lnTo>
                    <a:pt x="895" y="128"/>
                  </a:lnTo>
                  <a:lnTo>
                    <a:pt x="911" y="128"/>
                  </a:lnTo>
                  <a:lnTo>
                    <a:pt x="918" y="123"/>
                  </a:lnTo>
                  <a:lnTo>
                    <a:pt x="926" y="120"/>
                  </a:lnTo>
                  <a:lnTo>
                    <a:pt x="938" y="110"/>
                  </a:lnTo>
                  <a:lnTo>
                    <a:pt x="947" y="113"/>
                  </a:lnTo>
                  <a:lnTo>
                    <a:pt x="952" y="118"/>
                  </a:lnTo>
                  <a:lnTo>
                    <a:pt x="961" y="118"/>
                  </a:lnTo>
                  <a:lnTo>
                    <a:pt x="963" y="110"/>
                  </a:lnTo>
                  <a:lnTo>
                    <a:pt x="980" y="107"/>
                  </a:lnTo>
                  <a:lnTo>
                    <a:pt x="986" y="102"/>
                  </a:lnTo>
                  <a:lnTo>
                    <a:pt x="995" y="102"/>
                  </a:lnTo>
                  <a:lnTo>
                    <a:pt x="1002" y="98"/>
                  </a:lnTo>
                  <a:lnTo>
                    <a:pt x="1010" y="98"/>
                  </a:lnTo>
                  <a:lnTo>
                    <a:pt x="1017" y="101"/>
                  </a:lnTo>
                  <a:lnTo>
                    <a:pt x="1022" y="93"/>
                  </a:lnTo>
                  <a:lnTo>
                    <a:pt x="1023" y="86"/>
                  </a:lnTo>
                  <a:lnTo>
                    <a:pt x="1027" y="79"/>
                  </a:lnTo>
                  <a:lnTo>
                    <a:pt x="1034" y="74"/>
                  </a:lnTo>
                  <a:lnTo>
                    <a:pt x="1042" y="72"/>
                  </a:lnTo>
                  <a:lnTo>
                    <a:pt x="1049" y="76"/>
                  </a:lnTo>
                  <a:lnTo>
                    <a:pt x="1067" y="70"/>
                  </a:lnTo>
                  <a:lnTo>
                    <a:pt x="1067" y="71"/>
                  </a:lnTo>
                  <a:lnTo>
                    <a:pt x="1104" y="61"/>
                  </a:lnTo>
                  <a:lnTo>
                    <a:pt x="1136" y="58"/>
                  </a:lnTo>
                  <a:lnTo>
                    <a:pt x="1164" y="49"/>
                  </a:lnTo>
                  <a:lnTo>
                    <a:pt x="1171" y="44"/>
                  </a:lnTo>
                  <a:lnTo>
                    <a:pt x="1179" y="44"/>
                  </a:lnTo>
                  <a:lnTo>
                    <a:pt x="1187" y="42"/>
                  </a:lnTo>
                  <a:lnTo>
                    <a:pt x="1191" y="36"/>
                  </a:lnTo>
                  <a:lnTo>
                    <a:pt x="1191" y="28"/>
                  </a:lnTo>
                  <a:lnTo>
                    <a:pt x="1191" y="20"/>
                  </a:lnTo>
                  <a:lnTo>
                    <a:pt x="1200" y="21"/>
                  </a:lnTo>
                  <a:lnTo>
                    <a:pt x="1207" y="20"/>
                  </a:lnTo>
                  <a:lnTo>
                    <a:pt x="1212" y="12"/>
                  </a:lnTo>
                  <a:lnTo>
                    <a:pt x="1218" y="7"/>
                  </a:lnTo>
                  <a:lnTo>
                    <a:pt x="1227" y="7"/>
                  </a:lnTo>
                  <a:lnTo>
                    <a:pt x="1232" y="1"/>
                  </a:lnTo>
                  <a:lnTo>
                    <a:pt x="1239" y="0"/>
                  </a:lnTo>
                  <a:lnTo>
                    <a:pt x="1244" y="6"/>
                  </a:lnTo>
                  <a:lnTo>
                    <a:pt x="1253" y="4"/>
                  </a:lnTo>
                  <a:lnTo>
                    <a:pt x="1260" y="7"/>
                  </a:lnTo>
                  <a:lnTo>
                    <a:pt x="1269" y="5"/>
                  </a:lnTo>
                  <a:lnTo>
                    <a:pt x="1276" y="9"/>
                  </a:lnTo>
                  <a:lnTo>
                    <a:pt x="1281" y="15"/>
                  </a:lnTo>
                  <a:lnTo>
                    <a:pt x="1295" y="23"/>
                  </a:lnTo>
                  <a:lnTo>
                    <a:pt x="1302" y="20"/>
                  </a:lnTo>
                  <a:lnTo>
                    <a:pt x="1308" y="15"/>
                  </a:lnTo>
                  <a:lnTo>
                    <a:pt x="1324" y="12"/>
                  </a:lnTo>
                  <a:lnTo>
                    <a:pt x="1332" y="15"/>
                  </a:lnTo>
                  <a:lnTo>
                    <a:pt x="1338" y="21"/>
                  </a:lnTo>
                  <a:lnTo>
                    <a:pt x="1341" y="28"/>
                  </a:lnTo>
                  <a:lnTo>
                    <a:pt x="1343" y="44"/>
                  </a:lnTo>
                  <a:lnTo>
                    <a:pt x="1341" y="53"/>
                  </a:lnTo>
                  <a:lnTo>
                    <a:pt x="1344" y="60"/>
                  </a:lnTo>
                  <a:lnTo>
                    <a:pt x="1356" y="71"/>
                  </a:lnTo>
                  <a:lnTo>
                    <a:pt x="1352" y="79"/>
                  </a:lnTo>
                  <a:lnTo>
                    <a:pt x="1354" y="94"/>
                  </a:lnTo>
                  <a:lnTo>
                    <a:pt x="1349" y="102"/>
                  </a:lnTo>
                  <a:lnTo>
                    <a:pt x="1344" y="107"/>
                  </a:lnTo>
                  <a:lnTo>
                    <a:pt x="1347" y="114"/>
                  </a:lnTo>
                  <a:lnTo>
                    <a:pt x="1350" y="123"/>
                  </a:lnTo>
                  <a:lnTo>
                    <a:pt x="1366" y="118"/>
                  </a:lnTo>
                  <a:lnTo>
                    <a:pt x="1373" y="123"/>
                  </a:lnTo>
                  <a:lnTo>
                    <a:pt x="1381" y="122"/>
                  </a:lnTo>
                  <a:lnTo>
                    <a:pt x="1384" y="113"/>
                  </a:lnTo>
                  <a:lnTo>
                    <a:pt x="1392" y="113"/>
                  </a:lnTo>
                  <a:lnTo>
                    <a:pt x="1399" y="115"/>
                  </a:lnTo>
                  <a:lnTo>
                    <a:pt x="1402" y="107"/>
                  </a:lnTo>
                  <a:lnTo>
                    <a:pt x="1402" y="99"/>
                  </a:lnTo>
                  <a:lnTo>
                    <a:pt x="1409" y="101"/>
                  </a:lnTo>
                  <a:lnTo>
                    <a:pt x="1413" y="108"/>
                  </a:lnTo>
                  <a:lnTo>
                    <a:pt x="1415" y="117"/>
                  </a:lnTo>
                  <a:lnTo>
                    <a:pt x="1420" y="122"/>
                  </a:lnTo>
                  <a:lnTo>
                    <a:pt x="1418" y="129"/>
                  </a:lnTo>
                  <a:lnTo>
                    <a:pt x="1416" y="137"/>
                  </a:lnTo>
                  <a:lnTo>
                    <a:pt x="1432" y="139"/>
                  </a:lnTo>
                  <a:lnTo>
                    <a:pt x="1430" y="131"/>
                  </a:lnTo>
                  <a:lnTo>
                    <a:pt x="1425" y="125"/>
                  </a:lnTo>
                  <a:lnTo>
                    <a:pt x="1432" y="123"/>
                  </a:lnTo>
                  <a:lnTo>
                    <a:pt x="1448" y="125"/>
                  </a:lnTo>
                  <a:lnTo>
                    <a:pt x="1456" y="130"/>
                  </a:lnTo>
                  <a:lnTo>
                    <a:pt x="1461" y="136"/>
                  </a:lnTo>
                  <a:lnTo>
                    <a:pt x="1469" y="140"/>
                  </a:lnTo>
                  <a:lnTo>
                    <a:pt x="1476" y="140"/>
                  </a:lnTo>
                  <a:lnTo>
                    <a:pt x="1480" y="133"/>
                  </a:lnTo>
                  <a:lnTo>
                    <a:pt x="1488" y="129"/>
                  </a:lnTo>
                  <a:lnTo>
                    <a:pt x="1490" y="137"/>
                  </a:lnTo>
                  <a:lnTo>
                    <a:pt x="1490" y="145"/>
                  </a:lnTo>
                  <a:lnTo>
                    <a:pt x="1481" y="147"/>
                  </a:lnTo>
                  <a:lnTo>
                    <a:pt x="1475" y="152"/>
                  </a:lnTo>
                  <a:lnTo>
                    <a:pt x="1470" y="160"/>
                  </a:lnTo>
                  <a:lnTo>
                    <a:pt x="1468" y="167"/>
                  </a:lnTo>
                  <a:lnTo>
                    <a:pt x="1469" y="176"/>
                  </a:lnTo>
                  <a:lnTo>
                    <a:pt x="1474" y="183"/>
                  </a:lnTo>
                  <a:lnTo>
                    <a:pt x="1481" y="182"/>
                  </a:lnTo>
                  <a:lnTo>
                    <a:pt x="1486" y="176"/>
                  </a:lnTo>
                  <a:lnTo>
                    <a:pt x="1501" y="169"/>
                  </a:lnTo>
                  <a:lnTo>
                    <a:pt x="1508" y="173"/>
                  </a:lnTo>
                  <a:lnTo>
                    <a:pt x="1517" y="172"/>
                  </a:lnTo>
                  <a:lnTo>
                    <a:pt x="1522" y="177"/>
                  </a:lnTo>
                  <a:lnTo>
                    <a:pt x="1531" y="177"/>
                  </a:lnTo>
                  <a:lnTo>
                    <a:pt x="1528" y="169"/>
                  </a:lnTo>
                  <a:lnTo>
                    <a:pt x="1533" y="163"/>
                  </a:lnTo>
                  <a:lnTo>
                    <a:pt x="1542" y="163"/>
                  </a:lnTo>
                  <a:lnTo>
                    <a:pt x="1551" y="151"/>
                  </a:lnTo>
                  <a:lnTo>
                    <a:pt x="1567" y="149"/>
                  </a:lnTo>
                  <a:lnTo>
                    <a:pt x="1580" y="137"/>
                  </a:lnTo>
                  <a:lnTo>
                    <a:pt x="1586" y="123"/>
                  </a:lnTo>
                  <a:lnTo>
                    <a:pt x="1592" y="118"/>
                  </a:lnTo>
                  <a:lnTo>
                    <a:pt x="1601" y="119"/>
                  </a:lnTo>
                  <a:lnTo>
                    <a:pt x="1617" y="115"/>
                  </a:lnTo>
                  <a:lnTo>
                    <a:pt x="1624" y="113"/>
                  </a:lnTo>
                  <a:lnTo>
                    <a:pt x="1628" y="106"/>
                  </a:lnTo>
                  <a:lnTo>
                    <a:pt x="1644" y="104"/>
                  </a:lnTo>
                  <a:lnTo>
                    <a:pt x="1657" y="96"/>
                  </a:lnTo>
                  <a:lnTo>
                    <a:pt x="1661" y="103"/>
                  </a:lnTo>
                  <a:lnTo>
                    <a:pt x="1662" y="110"/>
                  </a:lnTo>
                  <a:lnTo>
                    <a:pt x="1657" y="118"/>
                  </a:lnTo>
                  <a:lnTo>
                    <a:pt x="1650" y="122"/>
                  </a:lnTo>
                  <a:lnTo>
                    <a:pt x="1642" y="120"/>
                  </a:lnTo>
                  <a:lnTo>
                    <a:pt x="1641" y="128"/>
                  </a:lnTo>
                  <a:lnTo>
                    <a:pt x="1644" y="135"/>
                  </a:lnTo>
                  <a:lnTo>
                    <a:pt x="1648" y="137"/>
                  </a:lnTo>
                  <a:lnTo>
                    <a:pt x="1720" y="204"/>
                  </a:lnTo>
                  <a:lnTo>
                    <a:pt x="1840" y="422"/>
                  </a:lnTo>
                  <a:lnTo>
                    <a:pt x="1854" y="411"/>
                  </a:lnTo>
                  <a:lnTo>
                    <a:pt x="1857" y="404"/>
                  </a:lnTo>
                  <a:lnTo>
                    <a:pt x="1857" y="397"/>
                  </a:lnTo>
                  <a:lnTo>
                    <a:pt x="1868" y="383"/>
                  </a:lnTo>
                  <a:lnTo>
                    <a:pt x="1876" y="382"/>
                  </a:lnTo>
                  <a:lnTo>
                    <a:pt x="1881" y="388"/>
                  </a:lnTo>
                  <a:lnTo>
                    <a:pt x="1889" y="391"/>
                  </a:lnTo>
                  <a:lnTo>
                    <a:pt x="1903" y="399"/>
                  </a:lnTo>
                  <a:lnTo>
                    <a:pt x="1899" y="406"/>
                  </a:lnTo>
                  <a:lnTo>
                    <a:pt x="1903" y="413"/>
                  </a:lnTo>
                  <a:lnTo>
                    <a:pt x="1909" y="414"/>
                  </a:lnTo>
                  <a:lnTo>
                    <a:pt x="1914" y="427"/>
                  </a:lnTo>
                  <a:lnTo>
                    <a:pt x="1938" y="425"/>
                  </a:lnTo>
                  <a:lnTo>
                    <a:pt x="1956" y="430"/>
                  </a:lnTo>
                  <a:lnTo>
                    <a:pt x="1963" y="427"/>
                  </a:lnTo>
                  <a:lnTo>
                    <a:pt x="1979" y="427"/>
                  </a:lnTo>
                  <a:lnTo>
                    <a:pt x="1981" y="420"/>
                  </a:lnTo>
                  <a:lnTo>
                    <a:pt x="1986" y="414"/>
                  </a:lnTo>
                  <a:lnTo>
                    <a:pt x="1995" y="415"/>
                  </a:lnTo>
                  <a:lnTo>
                    <a:pt x="2002" y="415"/>
                  </a:lnTo>
                  <a:lnTo>
                    <a:pt x="2006" y="408"/>
                  </a:lnTo>
                  <a:lnTo>
                    <a:pt x="2012" y="403"/>
                  </a:lnTo>
                  <a:lnTo>
                    <a:pt x="2028" y="408"/>
                  </a:lnTo>
                  <a:lnTo>
                    <a:pt x="2035" y="411"/>
                  </a:lnTo>
                  <a:lnTo>
                    <a:pt x="2039" y="419"/>
                  </a:lnTo>
                  <a:lnTo>
                    <a:pt x="2046" y="422"/>
                  </a:lnTo>
                  <a:lnTo>
                    <a:pt x="2056" y="435"/>
                  </a:lnTo>
                  <a:lnTo>
                    <a:pt x="2064" y="438"/>
                  </a:lnTo>
                  <a:lnTo>
                    <a:pt x="2067" y="446"/>
                  </a:lnTo>
                  <a:lnTo>
                    <a:pt x="2065" y="454"/>
                  </a:lnTo>
                  <a:lnTo>
                    <a:pt x="2066" y="462"/>
                  </a:lnTo>
                  <a:lnTo>
                    <a:pt x="2070" y="469"/>
                  </a:lnTo>
                  <a:lnTo>
                    <a:pt x="2078" y="470"/>
                  </a:lnTo>
                  <a:lnTo>
                    <a:pt x="2099" y="481"/>
                  </a:lnTo>
                  <a:lnTo>
                    <a:pt x="2103" y="489"/>
                  </a:lnTo>
                  <a:lnTo>
                    <a:pt x="2103" y="496"/>
                  </a:lnTo>
                  <a:lnTo>
                    <a:pt x="2110" y="500"/>
                  </a:lnTo>
                  <a:lnTo>
                    <a:pt x="2115" y="505"/>
                  </a:lnTo>
                  <a:lnTo>
                    <a:pt x="2123" y="519"/>
                  </a:lnTo>
                  <a:lnTo>
                    <a:pt x="2129" y="524"/>
                  </a:lnTo>
                  <a:lnTo>
                    <a:pt x="2145" y="526"/>
                  </a:lnTo>
                  <a:lnTo>
                    <a:pt x="2152" y="531"/>
                  </a:lnTo>
                  <a:lnTo>
                    <a:pt x="2159" y="533"/>
                  </a:lnTo>
                  <a:lnTo>
                    <a:pt x="2168" y="534"/>
                  </a:lnTo>
                  <a:lnTo>
                    <a:pt x="2177" y="534"/>
                  </a:lnTo>
                  <a:lnTo>
                    <a:pt x="2179" y="527"/>
                  </a:lnTo>
                  <a:lnTo>
                    <a:pt x="2184" y="521"/>
                  </a:lnTo>
                  <a:lnTo>
                    <a:pt x="2199" y="515"/>
                  </a:lnTo>
                  <a:lnTo>
                    <a:pt x="2201" y="523"/>
                  </a:lnTo>
                  <a:lnTo>
                    <a:pt x="2205" y="531"/>
                  </a:lnTo>
                  <a:lnTo>
                    <a:pt x="2212" y="535"/>
                  </a:lnTo>
                  <a:lnTo>
                    <a:pt x="2218" y="549"/>
                  </a:lnTo>
                  <a:lnTo>
                    <a:pt x="2226" y="554"/>
                  </a:lnTo>
                  <a:lnTo>
                    <a:pt x="2230" y="561"/>
                  </a:lnTo>
                  <a:lnTo>
                    <a:pt x="2217" y="587"/>
                  </a:lnTo>
                  <a:lnTo>
                    <a:pt x="2207" y="607"/>
                  </a:lnTo>
                  <a:lnTo>
                    <a:pt x="2191" y="623"/>
                  </a:lnTo>
                  <a:lnTo>
                    <a:pt x="2171" y="629"/>
                  </a:lnTo>
                  <a:lnTo>
                    <a:pt x="2156" y="628"/>
                  </a:lnTo>
                  <a:lnTo>
                    <a:pt x="2145" y="648"/>
                  </a:lnTo>
                  <a:lnTo>
                    <a:pt x="2140" y="673"/>
                  </a:lnTo>
                  <a:lnTo>
                    <a:pt x="2142" y="696"/>
                  </a:lnTo>
                  <a:lnTo>
                    <a:pt x="2139" y="733"/>
                  </a:lnTo>
                  <a:lnTo>
                    <a:pt x="2116" y="741"/>
                  </a:lnTo>
                  <a:lnTo>
                    <a:pt x="2102" y="753"/>
                  </a:lnTo>
                  <a:lnTo>
                    <a:pt x="2092" y="745"/>
                  </a:lnTo>
                  <a:lnTo>
                    <a:pt x="2082" y="736"/>
                  </a:lnTo>
                  <a:lnTo>
                    <a:pt x="2048" y="739"/>
                  </a:lnTo>
                  <a:lnTo>
                    <a:pt x="2030" y="733"/>
                  </a:lnTo>
                  <a:lnTo>
                    <a:pt x="2021" y="726"/>
                  </a:lnTo>
                  <a:lnTo>
                    <a:pt x="1996" y="726"/>
                  </a:lnTo>
                  <a:lnTo>
                    <a:pt x="1986" y="747"/>
                  </a:lnTo>
                  <a:lnTo>
                    <a:pt x="1978" y="773"/>
                  </a:lnTo>
                  <a:lnTo>
                    <a:pt x="1965" y="800"/>
                  </a:lnTo>
                  <a:lnTo>
                    <a:pt x="1959" y="824"/>
                  </a:lnTo>
                  <a:lnTo>
                    <a:pt x="1956" y="844"/>
                  </a:lnTo>
                  <a:lnTo>
                    <a:pt x="1958" y="859"/>
                  </a:lnTo>
                  <a:lnTo>
                    <a:pt x="1964" y="877"/>
                  </a:lnTo>
                  <a:lnTo>
                    <a:pt x="1957" y="882"/>
                  </a:lnTo>
                  <a:lnTo>
                    <a:pt x="1902" y="884"/>
                  </a:lnTo>
                  <a:lnTo>
                    <a:pt x="1879" y="892"/>
                  </a:lnTo>
                  <a:lnTo>
                    <a:pt x="1861" y="894"/>
                  </a:lnTo>
                  <a:lnTo>
                    <a:pt x="1841" y="901"/>
                  </a:lnTo>
                  <a:lnTo>
                    <a:pt x="1831" y="909"/>
                  </a:lnTo>
                  <a:lnTo>
                    <a:pt x="1840" y="916"/>
                  </a:lnTo>
                  <a:lnTo>
                    <a:pt x="1847" y="931"/>
                  </a:lnTo>
                  <a:lnTo>
                    <a:pt x="1852" y="969"/>
                  </a:lnTo>
                  <a:lnTo>
                    <a:pt x="1856" y="984"/>
                  </a:lnTo>
                  <a:lnTo>
                    <a:pt x="1863" y="996"/>
                  </a:lnTo>
                  <a:lnTo>
                    <a:pt x="1872" y="1023"/>
                  </a:lnTo>
                  <a:lnTo>
                    <a:pt x="1872" y="1038"/>
                  </a:lnTo>
                  <a:lnTo>
                    <a:pt x="1859" y="1048"/>
                  </a:lnTo>
                  <a:lnTo>
                    <a:pt x="1860" y="1061"/>
                  </a:lnTo>
                  <a:lnTo>
                    <a:pt x="1852" y="1070"/>
                  </a:lnTo>
                  <a:lnTo>
                    <a:pt x="1850" y="1081"/>
                  </a:lnTo>
                  <a:lnTo>
                    <a:pt x="1850" y="1099"/>
                  </a:lnTo>
                  <a:lnTo>
                    <a:pt x="1850" y="1099"/>
                  </a:lnTo>
                  <a:lnTo>
                    <a:pt x="1843" y="1099"/>
                  </a:lnTo>
                  <a:lnTo>
                    <a:pt x="1823" y="1086"/>
                  </a:lnTo>
                  <a:lnTo>
                    <a:pt x="1807" y="1083"/>
                  </a:lnTo>
                  <a:lnTo>
                    <a:pt x="1792" y="1065"/>
                  </a:lnTo>
                  <a:lnTo>
                    <a:pt x="1776" y="1064"/>
                  </a:lnTo>
                  <a:lnTo>
                    <a:pt x="1768" y="1061"/>
                  </a:lnTo>
                  <a:lnTo>
                    <a:pt x="1760" y="1061"/>
                  </a:lnTo>
                  <a:lnTo>
                    <a:pt x="1753" y="1057"/>
                  </a:lnTo>
                  <a:lnTo>
                    <a:pt x="1745" y="1056"/>
                  </a:lnTo>
                  <a:lnTo>
                    <a:pt x="1721" y="1057"/>
                  </a:lnTo>
                  <a:lnTo>
                    <a:pt x="1698" y="1054"/>
                  </a:lnTo>
                  <a:lnTo>
                    <a:pt x="1689" y="1055"/>
                  </a:lnTo>
                  <a:lnTo>
                    <a:pt x="1674" y="1048"/>
                  </a:lnTo>
                  <a:lnTo>
                    <a:pt x="1667" y="1048"/>
                  </a:lnTo>
                  <a:lnTo>
                    <a:pt x="1652" y="1054"/>
                  </a:lnTo>
                  <a:lnTo>
                    <a:pt x="1620" y="1050"/>
                  </a:lnTo>
                  <a:lnTo>
                    <a:pt x="1612" y="1050"/>
                  </a:lnTo>
                  <a:lnTo>
                    <a:pt x="1596" y="1054"/>
                  </a:lnTo>
                  <a:lnTo>
                    <a:pt x="1580" y="1054"/>
                  </a:lnTo>
                  <a:lnTo>
                    <a:pt x="1571" y="1053"/>
                  </a:lnTo>
                  <a:lnTo>
                    <a:pt x="1565" y="1048"/>
                  </a:lnTo>
                  <a:lnTo>
                    <a:pt x="1556" y="1046"/>
                  </a:lnTo>
                  <a:lnTo>
                    <a:pt x="1540" y="1048"/>
                  </a:lnTo>
                  <a:lnTo>
                    <a:pt x="1534" y="1043"/>
                  </a:lnTo>
                  <a:lnTo>
                    <a:pt x="1513" y="1030"/>
                  </a:lnTo>
                  <a:lnTo>
                    <a:pt x="1506" y="1034"/>
                  </a:lnTo>
                  <a:lnTo>
                    <a:pt x="1499" y="1035"/>
                  </a:lnTo>
                  <a:lnTo>
                    <a:pt x="1491" y="1038"/>
                  </a:lnTo>
                  <a:lnTo>
                    <a:pt x="1479" y="1048"/>
                  </a:lnTo>
                  <a:lnTo>
                    <a:pt x="1478" y="1056"/>
                  </a:lnTo>
                  <a:lnTo>
                    <a:pt x="1473" y="1064"/>
                  </a:lnTo>
                  <a:lnTo>
                    <a:pt x="1470" y="1080"/>
                  </a:lnTo>
                  <a:lnTo>
                    <a:pt x="1467" y="1086"/>
                  </a:lnTo>
                  <a:lnTo>
                    <a:pt x="1451" y="1082"/>
                  </a:lnTo>
                  <a:lnTo>
                    <a:pt x="1437" y="1075"/>
                  </a:lnTo>
                  <a:lnTo>
                    <a:pt x="1421" y="1070"/>
                  </a:lnTo>
                  <a:lnTo>
                    <a:pt x="1414" y="1066"/>
                  </a:lnTo>
                  <a:lnTo>
                    <a:pt x="1406" y="1064"/>
                  </a:lnTo>
                  <a:lnTo>
                    <a:pt x="1398" y="1064"/>
                  </a:lnTo>
                  <a:lnTo>
                    <a:pt x="1383" y="1061"/>
                  </a:lnTo>
                  <a:lnTo>
                    <a:pt x="1375" y="1062"/>
                  </a:lnTo>
                  <a:lnTo>
                    <a:pt x="1367" y="1060"/>
                  </a:lnTo>
                  <a:lnTo>
                    <a:pt x="1351" y="1062"/>
                  </a:lnTo>
                  <a:lnTo>
                    <a:pt x="1344" y="1066"/>
                  </a:lnTo>
                  <a:lnTo>
                    <a:pt x="1341" y="1073"/>
                  </a:lnTo>
                  <a:lnTo>
                    <a:pt x="1343" y="1081"/>
                  </a:lnTo>
                  <a:lnTo>
                    <a:pt x="1338" y="1088"/>
                  </a:lnTo>
                  <a:lnTo>
                    <a:pt x="1334" y="1096"/>
                  </a:lnTo>
                  <a:lnTo>
                    <a:pt x="1332" y="1103"/>
                  </a:lnTo>
                  <a:lnTo>
                    <a:pt x="1320" y="1115"/>
                  </a:lnTo>
                  <a:lnTo>
                    <a:pt x="1313" y="1118"/>
                  </a:lnTo>
                  <a:lnTo>
                    <a:pt x="1306" y="1115"/>
                  </a:lnTo>
                  <a:lnTo>
                    <a:pt x="1300" y="1130"/>
                  </a:lnTo>
                  <a:lnTo>
                    <a:pt x="1293" y="1135"/>
                  </a:lnTo>
                  <a:lnTo>
                    <a:pt x="1271" y="1145"/>
                  </a:lnTo>
                  <a:lnTo>
                    <a:pt x="1257" y="1153"/>
                  </a:lnTo>
                  <a:lnTo>
                    <a:pt x="1252" y="1159"/>
                  </a:lnTo>
                  <a:lnTo>
                    <a:pt x="1244" y="1162"/>
                  </a:lnTo>
                  <a:lnTo>
                    <a:pt x="1237" y="1167"/>
                  </a:lnTo>
                  <a:lnTo>
                    <a:pt x="1233" y="1174"/>
                  </a:lnTo>
                  <a:lnTo>
                    <a:pt x="1231" y="1182"/>
                  </a:lnTo>
                  <a:lnTo>
                    <a:pt x="1225" y="1186"/>
                  </a:lnTo>
                  <a:lnTo>
                    <a:pt x="1217" y="1190"/>
                  </a:lnTo>
                  <a:lnTo>
                    <a:pt x="1209" y="1189"/>
                  </a:lnTo>
                  <a:lnTo>
                    <a:pt x="1194" y="1183"/>
                  </a:lnTo>
                  <a:lnTo>
                    <a:pt x="1185" y="1180"/>
                  </a:lnTo>
                  <a:lnTo>
                    <a:pt x="1172" y="1172"/>
                  </a:lnTo>
                  <a:lnTo>
                    <a:pt x="1115" y="1178"/>
                  </a:lnTo>
                  <a:lnTo>
                    <a:pt x="1105" y="1132"/>
                  </a:lnTo>
                  <a:lnTo>
                    <a:pt x="1072" y="1126"/>
                  </a:lnTo>
                  <a:lnTo>
                    <a:pt x="1071" y="1113"/>
                  </a:lnTo>
                  <a:lnTo>
                    <a:pt x="1071" y="1097"/>
                  </a:lnTo>
                  <a:lnTo>
                    <a:pt x="1080" y="1096"/>
                  </a:lnTo>
                  <a:lnTo>
                    <a:pt x="1078" y="1053"/>
                  </a:lnTo>
                  <a:lnTo>
                    <a:pt x="1065" y="1054"/>
                  </a:lnTo>
                  <a:lnTo>
                    <a:pt x="1048" y="1021"/>
                  </a:lnTo>
                  <a:lnTo>
                    <a:pt x="1035" y="1011"/>
                  </a:lnTo>
                  <a:lnTo>
                    <a:pt x="1028" y="1007"/>
                  </a:lnTo>
                  <a:lnTo>
                    <a:pt x="1016" y="997"/>
                  </a:lnTo>
                  <a:lnTo>
                    <a:pt x="1010" y="991"/>
                  </a:lnTo>
                  <a:lnTo>
                    <a:pt x="996" y="997"/>
                  </a:lnTo>
                  <a:lnTo>
                    <a:pt x="920" y="996"/>
                  </a:lnTo>
                  <a:lnTo>
                    <a:pt x="849" y="1008"/>
                  </a:lnTo>
                  <a:lnTo>
                    <a:pt x="820" y="980"/>
                  </a:lnTo>
                  <a:lnTo>
                    <a:pt x="777" y="932"/>
                  </a:lnTo>
                  <a:lnTo>
                    <a:pt x="742" y="899"/>
                  </a:lnTo>
                  <a:lnTo>
                    <a:pt x="728" y="889"/>
                  </a:lnTo>
                  <a:lnTo>
                    <a:pt x="709" y="874"/>
                  </a:lnTo>
                  <a:lnTo>
                    <a:pt x="689" y="860"/>
                  </a:lnTo>
                  <a:lnTo>
                    <a:pt x="658" y="847"/>
                  </a:lnTo>
                  <a:lnTo>
                    <a:pt x="518" y="89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99" name="Georgia"/>
            <p:cNvSpPr>
              <a:spLocks noChangeAspect="1"/>
            </p:cNvSpPr>
            <p:nvPr>
              <p:custDataLst>
                <p:tags r:id="rId93"/>
              </p:custDataLst>
            </p:nvPr>
          </p:nvSpPr>
          <p:spPr bwMode="gray">
            <a:xfrm>
              <a:off x="5476523" y="3389207"/>
              <a:ext cx="173204" cy="84262"/>
            </a:xfrm>
            <a:custGeom>
              <a:avLst/>
              <a:gdLst/>
              <a:ahLst/>
              <a:cxnLst>
                <a:cxn ang="0">
                  <a:pos x="94" y="154"/>
                </a:cxn>
                <a:cxn ang="0">
                  <a:pos x="115" y="150"/>
                </a:cxn>
                <a:cxn ang="0">
                  <a:pos x="140" y="156"/>
                </a:cxn>
                <a:cxn ang="0">
                  <a:pos x="150" y="145"/>
                </a:cxn>
                <a:cxn ang="0">
                  <a:pos x="166" y="155"/>
                </a:cxn>
                <a:cxn ang="0">
                  <a:pos x="182" y="172"/>
                </a:cxn>
                <a:cxn ang="0">
                  <a:pos x="212" y="181"/>
                </a:cxn>
                <a:cxn ang="0">
                  <a:pos x="235" y="175"/>
                </a:cxn>
                <a:cxn ang="0">
                  <a:pos x="258" y="174"/>
                </a:cxn>
                <a:cxn ang="0">
                  <a:pos x="277" y="167"/>
                </a:cxn>
                <a:cxn ang="0">
                  <a:pos x="296" y="156"/>
                </a:cxn>
                <a:cxn ang="0">
                  <a:pos x="311" y="160"/>
                </a:cxn>
                <a:cxn ang="0">
                  <a:pos x="332" y="174"/>
                </a:cxn>
                <a:cxn ang="0">
                  <a:pos x="355" y="179"/>
                </a:cxn>
                <a:cxn ang="0">
                  <a:pos x="368" y="174"/>
                </a:cxn>
                <a:cxn ang="0">
                  <a:pos x="352" y="156"/>
                </a:cxn>
                <a:cxn ang="0">
                  <a:pos x="343" y="143"/>
                </a:cxn>
                <a:cxn ang="0">
                  <a:pos x="355" y="124"/>
                </a:cxn>
                <a:cxn ang="0">
                  <a:pos x="352" y="121"/>
                </a:cxn>
                <a:cxn ang="0">
                  <a:pos x="329" y="111"/>
                </a:cxn>
                <a:cxn ang="0">
                  <a:pos x="321" y="86"/>
                </a:cxn>
                <a:cxn ang="0">
                  <a:pos x="310" y="75"/>
                </a:cxn>
                <a:cxn ang="0">
                  <a:pos x="295" y="72"/>
                </a:cxn>
                <a:cxn ang="0">
                  <a:pos x="274" y="63"/>
                </a:cxn>
                <a:cxn ang="0">
                  <a:pos x="261" y="59"/>
                </a:cxn>
                <a:cxn ang="0">
                  <a:pos x="237" y="66"/>
                </a:cxn>
                <a:cxn ang="0">
                  <a:pos x="223" y="73"/>
                </a:cxn>
                <a:cxn ang="0">
                  <a:pos x="213" y="61"/>
                </a:cxn>
                <a:cxn ang="0">
                  <a:pos x="171" y="34"/>
                </a:cxn>
                <a:cxn ang="0">
                  <a:pos x="148" y="29"/>
                </a:cxn>
                <a:cxn ang="0">
                  <a:pos x="108" y="26"/>
                </a:cxn>
                <a:cxn ang="0">
                  <a:pos x="76" y="15"/>
                </a:cxn>
                <a:cxn ang="0">
                  <a:pos x="54" y="7"/>
                </a:cxn>
                <a:cxn ang="0">
                  <a:pos x="31" y="3"/>
                </a:cxn>
                <a:cxn ang="0">
                  <a:pos x="15" y="2"/>
                </a:cxn>
                <a:cxn ang="0">
                  <a:pos x="5" y="11"/>
                </a:cxn>
                <a:cxn ang="0">
                  <a:pos x="21" y="27"/>
                </a:cxn>
                <a:cxn ang="0">
                  <a:pos x="56" y="39"/>
                </a:cxn>
                <a:cxn ang="0">
                  <a:pos x="78" y="57"/>
                </a:cxn>
                <a:cxn ang="0">
                  <a:pos x="87" y="82"/>
                </a:cxn>
                <a:cxn ang="0">
                  <a:pos x="100" y="113"/>
                </a:cxn>
                <a:cxn ang="0">
                  <a:pos x="99" y="138"/>
                </a:cxn>
                <a:cxn ang="0">
                  <a:pos x="87" y="148"/>
                </a:cxn>
              </a:cxnLst>
              <a:rect l="0" t="0" r="r" b="b"/>
              <a:pathLst>
                <a:path w="368" h="182">
                  <a:moveTo>
                    <a:pt x="87" y="148"/>
                  </a:moveTo>
                  <a:lnTo>
                    <a:pt x="94" y="154"/>
                  </a:lnTo>
                  <a:lnTo>
                    <a:pt x="102" y="154"/>
                  </a:lnTo>
                  <a:lnTo>
                    <a:pt x="115" y="150"/>
                  </a:lnTo>
                  <a:lnTo>
                    <a:pt x="134" y="156"/>
                  </a:lnTo>
                  <a:lnTo>
                    <a:pt x="140" y="156"/>
                  </a:lnTo>
                  <a:lnTo>
                    <a:pt x="145" y="149"/>
                  </a:lnTo>
                  <a:lnTo>
                    <a:pt x="150" y="145"/>
                  </a:lnTo>
                  <a:lnTo>
                    <a:pt x="158" y="148"/>
                  </a:lnTo>
                  <a:lnTo>
                    <a:pt x="166" y="155"/>
                  </a:lnTo>
                  <a:lnTo>
                    <a:pt x="177" y="171"/>
                  </a:lnTo>
                  <a:lnTo>
                    <a:pt x="182" y="172"/>
                  </a:lnTo>
                  <a:lnTo>
                    <a:pt x="191" y="182"/>
                  </a:lnTo>
                  <a:lnTo>
                    <a:pt x="212" y="181"/>
                  </a:lnTo>
                  <a:lnTo>
                    <a:pt x="219" y="176"/>
                  </a:lnTo>
                  <a:lnTo>
                    <a:pt x="235" y="175"/>
                  </a:lnTo>
                  <a:lnTo>
                    <a:pt x="242" y="171"/>
                  </a:lnTo>
                  <a:lnTo>
                    <a:pt x="258" y="174"/>
                  </a:lnTo>
                  <a:lnTo>
                    <a:pt x="267" y="172"/>
                  </a:lnTo>
                  <a:lnTo>
                    <a:pt x="277" y="167"/>
                  </a:lnTo>
                  <a:lnTo>
                    <a:pt x="282" y="166"/>
                  </a:lnTo>
                  <a:lnTo>
                    <a:pt x="296" y="156"/>
                  </a:lnTo>
                  <a:lnTo>
                    <a:pt x="304" y="158"/>
                  </a:lnTo>
                  <a:lnTo>
                    <a:pt x="311" y="160"/>
                  </a:lnTo>
                  <a:lnTo>
                    <a:pt x="317" y="166"/>
                  </a:lnTo>
                  <a:lnTo>
                    <a:pt x="332" y="174"/>
                  </a:lnTo>
                  <a:lnTo>
                    <a:pt x="341" y="172"/>
                  </a:lnTo>
                  <a:lnTo>
                    <a:pt x="355" y="179"/>
                  </a:lnTo>
                  <a:lnTo>
                    <a:pt x="364" y="180"/>
                  </a:lnTo>
                  <a:lnTo>
                    <a:pt x="368" y="174"/>
                  </a:lnTo>
                  <a:lnTo>
                    <a:pt x="365" y="166"/>
                  </a:lnTo>
                  <a:lnTo>
                    <a:pt x="352" y="156"/>
                  </a:lnTo>
                  <a:lnTo>
                    <a:pt x="349" y="149"/>
                  </a:lnTo>
                  <a:lnTo>
                    <a:pt x="343" y="143"/>
                  </a:lnTo>
                  <a:lnTo>
                    <a:pt x="344" y="134"/>
                  </a:lnTo>
                  <a:lnTo>
                    <a:pt x="355" y="124"/>
                  </a:lnTo>
                  <a:lnTo>
                    <a:pt x="357" y="124"/>
                  </a:lnTo>
                  <a:lnTo>
                    <a:pt x="352" y="121"/>
                  </a:lnTo>
                  <a:lnTo>
                    <a:pt x="345" y="116"/>
                  </a:lnTo>
                  <a:lnTo>
                    <a:pt x="329" y="111"/>
                  </a:lnTo>
                  <a:lnTo>
                    <a:pt x="317" y="101"/>
                  </a:lnTo>
                  <a:lnTo>
                    <a:pt x="321" y="86"/>
                  </a:lnTo>
                  <a:lnTo>
                    <a:pt x="317" y="79"/>
                  </a:lnTo>
                  <a:lnTo>
                    <a:pt x="310" y="75"/>
                  </a:lnTo>
                  <a:lnTo>
                    <a:pt x="302" y="75"/>
                  </a:lnTo>
                  <a:lnTo>
                    <a:pt x="295" y="72"/>
                  </a:lnTo>
                  <a:lnTo>
                    <a:pt x="290" y="66"/>
                  </a:lnTo>
                  <a:lnTo>
                    <a:pt x="274" y="63"/>
                  </a:lnTo>
                  <a:lnTo>
                    <a:pt x="267" y="64"/>
                  </a:lnTo>
                  <a:lnTo>
                    <a:pt x="261" y="59"/>
                  </a:lnTo>
                  <a:lnTo>
                    <a:pt x="252" y="59"/>
                  </a:lnTo>
                  <a:lnTo>
                    <a:pt x="237" y="66"/>
                  </a:lnTo>
                  <a:lnTo>
                    <a:pt x="231" y="70"/>
                  </a:lnTo>
                  <a:lnTo>
                    <a:pt x="223" y="73"/>
                  </a:lnTo>
                  <a:lnTo>
                    <a:pt x="215" y="69"/>
                  </a:lnTo>
                  <a:lnTo>
                    <a:pt x="213" y="61"/>
                  </a:lnTo>
                  <a:lnTo>
                    <a:pt x="175" y="39"/>
                  </a:lnTo>
                  <a:lnTo>
                    <a:pt x="171" y="34"/>
                  </a:lnTo>
                  <a:lnTo>
                    <a:pt x="164" y="29"/>
                  </a:lnTo>
                  <a:lnTo>
                    <a:pt x="148" y="29"/>
                  </a:lnTo>
                  <a:lnTo>
                    <a:pt x="132" y="24"/>
                  </a:lnTo>
                  <a:lnTo>
                    <a:pt x="108" y="26"/>
                  </a:lnTo>
                  <a:lnTo>
                    <a:pt x="99" y="25"/>
                  </a:lnTo>
                  <a:lnTo>
                    <a:pt x="76" y="15"/>
                  </a:lnTo>
                  <a:lnTo>
                    <a:pt x="60" y="13"/>
                  </a:lnTo>
                  <a:lnTo>
                    <a:pt x="54" y="7"/>
                  </a:lnTo>
                  <a:lnTo>
                    <a:pt x="40" y="2"/>
                  </a:lnTo>
                  <a:lnTo>
                    <a:pt x="31" y="3"/>
                  </a:lnTo>
                  <a:lnTo>
                    <a:pt x="24" y="0"/>
                  </a:lnTo>
                  <a:lnTo>
                    <a:pt x="15" y="2"/>
                  </a:lnTo>
                  <a:lnTo>
                    <a:pt x="0" y="7"/>
                  </a:lnTo>
                  <a:lnTo>
                    <a:pt x="5" y="11"/>
                  </a:lnTo>
                  <a:lnTo>
                    <a:pt x="14" y="18"/>
                  </a:lnTo>
                  <a:lnTo>
                    <a:pt x="21" y="27"/>
                  </a:lnTo>
                  <a:lnTo>
                    <a:pt x="31" y="32"/>
                  </a:lnTo>
                  <a:lnTo>
                    <a:pt x="56" y="39"/>
                  </a:lnTo>
                  <a:lnTo>
                    <a:pt x="67" y="51"/>
                  </a:lnTo>
                  <a:lnTo>
                    <a:pt x="78" y="57"/>
                  </a:lnTo>
                  <a:lnTo>
                    <a:pt x="84" y="68"/>
                  </a:lnTo>
                  <a:lnTo>
                    <a:pt x="87" y="82"/>
                  </a:lnTo>
                  <a:lnTo>
                    <a:pt x="91" y="104"/>
                  </a:lnTo>
                  <a:lnTo>
                    <a:pt x="100" y="113"/>
                  </a:lnTo>
                  <a:lnTo>
                    <a:pt x="100" y="124"/>
                  </a:lnTo>
                  <a:lnTo>
                    <a:pt x="99" y="138"/>
                  </a:lnTo>
                  <a:lnTo>
                    <a:pt x="92" y="145"/>
                  </a:lnTo>
                  <a:lnTo>
                    <a:pt x="87" y="14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00" name="Uzbekistan"/>
            <p:cNvSpPr>
              <a:spLocks noChangeAspect="1"/>
            </p:cNvSpPr>
            <p:nvPr>
              <p:custDataLst>
                <p:tags r:id="rId94"/>
              </p:custDataLst>
            </p:nvPr>
          </p:nvSpPr>
          <p:spPr bwMode="gray">
            <a:xfrm>
              <a:off x="5890810" y="3316649"/>
              <a:ext cx="440033" cy="285553"/>
            </a:xfrm>
            <a:custGeom>
              <a:avLst/>
              <a:gdLst/>
              <a:ahLst/>
              <a:cxnLst>
                <a:cxn ang="0">
                  <a:pos x="0" y="260"/>
                </a:cxn>
                <a:cxn ang="0">
                  <a:pos x="56" y="310"/>
                </a:cxn>
                <a:cxn ang="0">
                  <a:pos x="63" y="274"/>
                </a:cxn>
                <a:cxn ang="0">
                  <a:pos x="96" y="260"/>
                </a:cxn>
                <a:cxn ang="0">
                  <a:pos x="115" y="238"/>
                </a:cxn>
                <a:cxn ang="0">
                  <a:pos x="127" y="234"/>
                </a:cxn>
                <a:cxn ang="0">
                  <a:pos x="143" y="220"/>
                </a:cxn>
                <a:cxn ang="0">
                  <a:pos x="183" y="250"/>
                </a:cxn>
                <a:cxn ang="0">
                  <a:pos x="220" y="262"/>
                </a:cxn>
                <a:cxn ang="0">
                  <a:pos x="231" y="287"/>
                </a:cxn>
                <a:cxn ang="0">
                  <a:pos x="223" y="314"/>
                </a:cxn>
                <a:cxn ang="0">
                  <a:pos x="267" y="330"/>
                </a:cxn>
                <a:cxn ang="0">
                  <a:pos x="306" y="321"/>
                </a:cxn>
                <a:cxn ang="0">
                  <a:pos x="333" y="351"/>
                </a:cxn>
                <a:cxn ang="0">
                  <a:pos x="350" y="384"/>
                </a:cxn>
                <a:cxn ang="0">
                  <a:pos x="365" y="429"/>
                </a:cxn>
                <a:cxn ang="0">
                  <a:pos x="460" y="489"/>
                </a:cxn>
                <a:cxn ang="0">
                  <a:pos x="521" y="542"/>
                </a:cxn>
                <a:cxn ang="0">
                  <a:pos x="567" y="547"/>
                </a:cxn>
                <a:cxn ang="0">
                  <a:pos x="581" y="569"/>
                </a:cxn>
                <a:cxn ang="0">
                  <a:pos x="578" y="606"/>
                </a:cxn>
                <a:cxn ang="0">
                  <a:pos x="630" y="610"/>
                </a:cxn>
                <a:cxn ang="0">
                  <a:pos x="646" y="595"/>
                </a:cxn>
                <a:cxn ang="0">
                  <a:pos x="671" y="559"/>
                </a:cxn>
                <a:cxn ang="0">
                  <a:pos x="670" y="536"/>
                </a:cxn>
                <a:cxn ang="0">
                  <a:pos x="666" y="498"/>
                </a:cxn>
                <a:cxn ang="0">
                  <a:pos x="640" y="486"/>
                </a:cxn>
                <a:cxn ang="0">
                  <a:pos x="632" y="462"/>
                </a:cxn>
                <a:cxn ang="0">
                  <a:pos x="650" y="443"/>
                </a:cxn>
                <a:cxn ang="0">
                  <a:pos x="687" y="446"/>
                </a:cxn>
                <a:cxn ang="0">
                  <a:pos x="723" y="409"/>
                </a:cxn>
                <a:cxn ang="0">
                  <a:pos x="726" y="382"/>
                </a:cxn>
                <a:cxn ang="0">
                  <a:pos x="747" y="370"/>
                </a:cxn>
                <a:cxn ang="0">
                  <a:pos x="788" y="347"/>
                </a:cxn>
                <a:cxn ang="0">
                  <a:pos x="807" y="357"/>
                </a:cxn>
                <a:cxn ang="0">
                  <a:pos x="791" y="380"/>
                </a:cxn>
                <a:cxn ang="0">
                  <a:pos x="816" y="398"/>
                </a:cxn>
                <a:cxn ang="0">
                  <a:pos x="855" y="403"/>
                </a:cxn>
                <a:cxn ang="0">
                  <a:pos x="888" y="385"/>
                </a:cxn>
                <a:cxn ang="0">
                  <a:pos x="915" y="378"/>
                </a:cxn>
                <a:cxn ang="0">
                  <a:pos x="933" y="354"/>
                </a:cxn>
                <a:cxn ang="0">
                  <a:pos x="890" y="342"/>
                </a:cxn>
                <a:cxn ang="0">
                  <a:pos x="865" y="314"/>
                </a:cxn>
                <a:cxn ang="0">
                  <a:pos x="843" y="337"/>
                </a:cxn>
                <a:cxn ang="0">
                  <a:pos x="796" y="317"/>
                </a:cxn>
                <a:cxn ang="0">
                  <a:pos x="798" y="292"/>
                </a:cxn>
                <a:cxn ang="0">
                  <a:pos x="833" y="253"/>
                </a:cxn>
                <a:cxn ang="0">
                  <a:pos x="795" y="271"/>
                </a:cxn>
                <a:cxn ang="0">
                  <a:pos x="753" y="298"/>
                </a:cxn>
                <a:cxn ang="0">
                  <a:pos x="719" y="320"/>
                </a:cxn>
                <a:cxn ang="0">
                  <a:pos x="699" y="343"/>
                </a:cxn>
                <a:cxn ang="0">
                  <a:pos x="654" y="325"/>
                </a:cxn>
                <a:cxn ang="0">
                  <a:pos x="553" y="266"/>
                </a:cxn>
                <a:cxn ang="0">
                  <a:pos x="547" y="207"/>
                </a:cxn>
                <a:cxn ang="0">
                  <a:pos x="498" y="150"/>
                </a:cxn>
                <a:cxn ang="0">
                  <a:pos x="331" y="161"/>
                </a:cxn>
                <a:cxn ang="0">
                  <a:pos x="210" y="42"/>
                </a:cxn>
                <a:cxn ang="0">
                  <a:pos x="0" y="51"/>
                </a:cxn>
              </a:cxnLst>
              <a:rect l="0" t="0" r="r" b="b"/>
              <a:pathLst>
                <a:path w="940" h="612">
                  <a:moveTo>
                    <a:pt x="0" y="51"/>
                  </a:moveTo>
                  <a:lnTo>
                    <a:pt x="0" y="121"/>
                  </a:lnTo>
                  <a:lnTo>
                    <a:pt x="0" y="195"/>
                  </a:lnTo>
                  <a:lnTo>
                    <a:pt x="0" y="260"/>
                  </a:lnTo>
                  <a:lnTo>
                    <a:pt x="0" y="321"/>
                  </a:lnTo>
                  <a:lnTo>
                    <a:pt x="54" y="330"/>
                  </a:lnTo>
                  <a:lnTo>
                    <a:pt x="62" y="325"/>
                  </a:lnTo>
                  <a:lnTo>
                    <a:pt x="56" y="310"/>
                  </a:lnTo>
                  <a:lnTo>
                    <a:pt x="57" y="303"/>
                  </a:lnTo>
                  <a:lnTo>
                    <a:pt x="52" y="287"/>
                  </a:lnTo>
                  <a:lnTo>
                    <a:pt x="56" y="279"/>
                  </a:lnTo>
                  <a:lnTo>
                    <a:pt x="63" y="274"/>
                  </a:lnTo>
                  <a:lnTo>
                    <a:pt x="67" y="268"/>
                  </a:lnTo>
                  <a:lnTo>
                    <a:pt x="72" y="261"/>
                  </a:lnTo>
                  <a:lnTo>
                    <a:pt x="80" y="260"/>
                  </a:lnTo>
                  <a:lnTo>
                    <a:pt x="96" y="260"/>
                  </a:lnTo>
                  <a:lnTo>
                    <a:pt x="105" y="256"/>
                  </a:lnTo>
                  <a:lnTo>
                    <a:pt x="107" y="249"/>
                  </a:lnTo>
                  <a:lnTo>
                    <a:pt x="107" y="241"/>
                  </a:lnTo>
                  <a:lnTo>
                    <a:pt x="115" y="238"/>
                  </a:lnTo>
                  <a:lnTo>
                    <a:pt x="127" y="246"/>
                  </a:lnTo>
                  <a:lnTo>
                    <a:pt x="135" y="249"/>
                  </a:lnTo>
                  <a:lnTo>
                    <a:pt x="132" y="241"/>
                  </a:lnTo>
                  <a:lnTo>
                    <a:pt x="127" y="234"/>
                  </a:lnTo>
                  <a:lnTo>
                    <a:pt x="121" y="229"/>
                  </a:lnTo>
                  <a:lnTo>
                    <a:pt x="128" y="225"/>
                  </a:lnTo>
                  <a:lnTo>
                    <a:pt x="135" y="225"/>
                  </a:lnTo>
                  <a:lnTo>
                    <a:pt x="143" y="220"/>
                  </a:lnTo>
                  <a:lnTo>
                    <a:pt x="144" y="214"/>
                  </a:lnTo>
                  <a:lnTo>
                    <a:pt x="165" y="235"/>
                  </a:lnTo>
                  <a:lnTo>
                    <a:pt x="178" y="244"/>
                  </a:lnTo>
                  <a:lnTo>
                    <a:pt x="183" y="250"/>
                  </a:lnTo>
                  <a:lnTo>
                    <a:pt x="192" y="253"/>
                  </a:lnTo>
                  <a:lnTo>
                    <a:pt x="201" y="251"/>
                  </a:lnTo>
                  <a:lnTo>
                    <a:pt x="216" y="255"/>
                  </a:lnTo>
                  <a:lnTo>
                    <a:pt x="220" y="262"/>
                  </a:lnTo>
                  <a:lnTo>
                    <a:pt x="218" y="269"/>
                  </a:lnTo>
                  <a:lnTo>
                    <a:pt x="219" y="278"/>
                  </a:lnTo>
                  <a:lnTo>
                    <a:pt x="225" y="283"/>
                  </a:lnTo>
                  <a:lnTo>
                    <a:pt x="231" y="287"/>
                  </a:lnTo>
                  <a:lnTo>
                    <a:pt x="224" y="290"/>
                  </a:lnTo>
                  <a:lnTo>
                    <a:pt x="224" y="298"/>
                  </a:lnTo>
                  <a:lnTo>
                    <a:pt x="225" y="306"/>
                  </a:lnTo>
                  <a:lnTo>
                    <a:pt x="223" y="314"/>
                  </a:lnTo>
                  <a:lnTo>
                    <a:pt x="228" y="320"/>
                  </a:lnTo>
                  <a:lnTo>
                    <a:pt x="242" y="328"/>
                  </a:lnTo>
                  <a:lnTo>
                    <a:pt x="259" y="331"/>
                  </a:lnTo>
                  <a:lnTo>
                    <a:pt x="267" y="330"/>
                  </a:lnTo>
                  <a:lnTo>
                    <a:pt x="291" y="335"/>
                  </a:lnTo>
                  <a:lnTo>
                    <a:pt x="299" y="332"/>
                  </a:lnTo>
                  <a:lnTo>
                    <a:pt x="300" y="325"/>
                  </a:lnTo>
                  <a:lnTo>
                    <a:pt x="306" y="321"/>
                  </a:lnTo>
                  <a:lnTo>
                    <a:pt x="314" y="326"/>
                  </a:lnTo>
                  <a:lnTo>
                    <a:pt x="326" y="337"/>
                  </a:lnTo>
                  <a:lnTo>
                    <a:pt x="331" y="343"/>
                  </a:lnTo>
                  <a:lnTo>
                    <a:pt x="333" y="351"/>
                  </a:lnTo>
                  <a:lnTo>
                    <a:pt x="334" y="366"/>
                  </a:lnTo>
                  <a:lnTo>
                    <a:pt x="338" y="374"/>
                  </a:lnTo>
                  <a:lnTo>
                    <a:pt x="345" y="378"/>
                  </a:lnTo>
                  <a:lnTo>
                    <a:pt x="350" y="384"/>
                  </a:lnTo>
                  <a:lnTo>
                    <a:pt x="355" y="400"/>
                  </a:lnTo>
                  <a:lnTo>
                    <a:pt x="354" y="408"/>
                  </a:lnTo>
                  <a:lnTo>
                    <a:pt x="360" y="423"/>
                  </a:lnTo>
                  <a:lnTo>
                    <a:pt x="365" y="429"/>
                  </a:lnTo>
                  <a:lnTo>
                    <a:pt x="416" y="459"/>
                  </a:lnTo>
                  <a:lnTo>
                    <a:pt x="436" y="483"/>
                  </a:lnTo>
                  <a:lnTo>
                    <a:pt x="443" y="488"/>
                  </a:lnTo>
                  <a:lnTo>
                    <a:pt x="460" y="489"/>
                  </a:lnTo>
                  <a:lnTo>
                    <a:pt x="473" y="498"/>
                  </a:lnTo>
                  <a:lnTo>
                    <a:pt x="493" y="513"/>
                  </a:lnTo>
                  <a:lnTo>
                    <a:pt x="515" y="536"/>
                  </a:lnTo>
                  <a:lnTo>
                    <a:pt x="521" y="542"/>
                  </a:lnTo>
                  <a:lnTo>
                    <a:pt x="530" y="543"/>
                  </a:lnTo>
                  <a:lnTo>
                    <a:pt x="536" y="538"/>
                  </a:lnTo>
                  <a:lnTo>
                    <a:pt x="544" y="537"/>
                  </a:lnTo>
                  <a:lnTo>
                    <a:pt x="567" y="547"/>
                  </a:lnTo>
                  <a:lnTo>
                    <a:pt x="572" y="553"/>
                  </a:lnTo>
                  <a:lnTo>
                    <a:pt x="579" y="557"/>
                  </a:lnTo>
                  <a:lnTo>
                    <a:pt x="585" y="562"/>
                  </a:lnTo>
                  <a:lnTo>
                    <a:pt x="581" y="569"/>
                  </a:lnTo>
                  <a:lnTo>
                    <a:pt x="578" y="577"/>
                  </a:lnTo>
                  <a:lnTo>
                    <a:pt x="578" y="592"/>
                  </a:lnTo>
                  <a:lnTo>
                    <a:pt x="579" y="601"/>
                  </a:lnTo>
                  <a:lnTo>
                    <a:pt x="578" y="606"/>
                  </a:lnTo>
                  <a:lnTo>
                    <a:pt x="607" y="605"/>
                  </a:lnTo>
                  <a:lnTo>
                    <a:pt x="615" y="607"/>
                  </a:lnTo>
                  <a:lnTo>
                    <a:pt x="621" y="612"/>
                  </a:lnTo>
                  <a:lnTo>
                    <a:pt x="630" y="610"/>
                  </a:lnTo>
                  <a:lnTo>
                    <a:pt x="643" y="611"/>
                  </a:lnTo>
                  <a:lnTo>
                    <a:pt x="648" y="608"/>
                  </a:lnTo>
                  <a:lnTo>
                    <a:pt x="648" y="601"/>
                  </a:lnTo>
                  <a:lnTo>
                    <a:pt x="646" y="595"/>
                  </a:lnTo>
                  <a:lnTo>
                    <a:pt x="653" y="581"/>
                  </a:lnTo>
                  <a:lnTo>
                    <a:pt x="661" y="570"/>
                  </a:lnTo>
                  <a:lnTo>
                    <a:pt x="664" y="564"/>
                  </a:lnTo>
                  <a:lnTo>
                    <a:pt x="671" y="559"/>
                  </a:lnTo>
                  <a:lnTo>
                    <a:pt x="676" y="554"/>
                  </a:lnTo>
                  <a:lnTo>
                    <a:pt x="678" y="547"/>
                  </a:lnTo>
                  <a:lnTo>
                    <a:pt x="677" y="541"/>
                  </a:lnTo>
                  <a:lnTo>
                    <a:pt x="670" y="536"/>
                  </a:lnTo>
                  <a:lnTo>
                    <a:pt x="665" y="529"/>
                  </a:lnTo>
                  <a:lnTo>
                    <a:pt x="661" y="513"/>
                  </a:lnTo>
                  <a:lnTo>
                    <a:pt x="665" y="507"/>
                  </a:lnTo>
                  <a:lnTo>
                    <a:pt x="666" y="498"/>
                  </a:lnTo>
                  <a:lnTo>
                    <a:pt x="664" y="491"/>
                  </a:lnTo>
                  <a:lnTo>
                    <a:pt x="658" y="486"/>
                  </a:lnTo>
                  <a:lnTo>
                    <a:pt x="649" y="487"/>
                  </a:lnTo>
                  <a:lnTo>
                    <a:pt x="640" y="486"/>
                  </a:lnTo>
                  <a:lnTo>
                    <a:pt x="638" y="478"/>
                  </a:lnTo>
                  <a:lnTo>
                    <a:pt x="630" y="473"/>
                  </a:lnTo>
                  <a:lnTo>
                    <a:pt x="624" y="467"/>
                  </a:lnTo>
                  <a:lnTo>
                    <a:pt x="632" y="462"/>
                  </a:lnTo>
                  <a:lnTo>
                    <a:pt x="630" y="454"/>
                  </a:lnTo>
                  <a:lnTo>
                    <a:pt x="634" y="448"/>
                  </a:lnTo>
                  <a:lnTo>
                    <a:pt x="642" y="444"/>
                  </a:lnTo>
                  <a:lnTo>
                    <a:pt x="650" y="443"/>
                  </a:lnTo>
                  <a:lnTo>
                    <a:pt x="656" y="449"/>
                  </a:lnTo>
                  <a:lnTo>
                    <a:pt x="664" y="450"/>
                  </a:lnTo>
                  <a:lnTo>
                    <a:pt x="680" y="449"/>
                  </a:lnTo>
                  <a:lnTo>
                    <a:pt x="687" y="446"/>
                  </a:lnTo>
                  <a:lnTo>
                    <a:pt x="699" y="424"/>
                  </a:lnTo>
                  <a:lnTo>
                    <a:pt x="699" y="417"/>
                  </a:lnTo>
                  <a:lnTo>
                    <a:pt x="707" y="412"/>
                  </a:lnTo>
                  <a:lnTo>
                    <a:pt x="723" y="409"/>
                  </a:lnTo>
                  <a:lnTo>
                    <a:pt x="729" y="405"/>
                  </a:lnTo>
                  <a:lnTo>
                    <a:pt x="731" y="397"/>
                  </a:lnTo>
                  <a:lnTo>
                    <a:pt x="731" y="389"/>
                  </a:lnTo>
                  <a:lnTo>
                    <a:pt x="726" y="382"/>
                  </a:lnTo>
                  <a:lnTo>
                    <a:pt x="732" y="378"/>
                  </a:lnTo>
                  <a:lnTo>
                    <a:pt x="734" y="369"/>
                  </a:lnTo>
                  <a:lnTo>
                    <a:pt x="741" y="365"/>
                  </a:lnTo>
                  <a:lnTo>
                    <a:pt x="747" y="370"/>
                  </a:lnTo>
                  <a:lnTo>
                    <a:pt x="756" y="369"/>
                  </a:lnTo>
                  <a:lnTo>
                    <a:pt x="769" y="362"/>
                  </a:lnTo>
                  <a:lnTo>
                    <a:pt x="784" y="354"/>
                  </a:lnTo>
                  <a:lnTo>
                    <a:pt x="788" y="347"/>
                  </a:lnTo>
                  <a:lnTo>
                    <a:pt x="794" y="342"/>
                  </a:lnTo>
                  <a:lnTo>
                    <a:pt x="801" y="342"/>
                  </a:lnTo>
                  <a:lnTo>
                    <a:pt x="802" y="351"/>
                  </a:lnTo>
                  <a:lnTo>
                    <a:pt x="807" y="357"/>
                  </a:lnTo>
                  <a:lnTo>
                    <a:pt x="809" y="364"/>
                  </a:lnTo>
                  <a:lnTo>
                    <a:pt x="805" y="371"/>
                  </a:lnTo>
                  <a:lnTo>
                    <a:pt x="798" y="375"/>
                  </a:lnTo>
                  <a:lnTo>
                    <a:pt x="791" y="380"/>
                  </a:lnTo>
                  <a:lnTo>
                    <a:pt x="796" y="396"/>
                  </a:lnTo>
                  <a:lnTo>
                    <a:pt x="800" y="403"/>
                  </a:lnTo>
                  <a:lnTo>
                    <a:pt x="809" y="402"/>
                  </a:lnTo>
                  <a:lnTo>
                    <a:pt x="816" y="398"/>
                  </a:lnTo>
                  <a:lnTo>
                    <a:pt x="820" y="398"/>
                  </a:lnTo>
                  <a:lnTo>
                    <a:pt x="832" y="397"/>
                  </a:lnTo>
                  <a:lnTo>
                    <a:pt x="839" y="398"/>
                  </a:lnTo>
                  <a:lnTo>
                    <a:pt x="855" y="403"/>
                  </a:lnTo>
                  <a:lnTo>
                    <a:pt x="871" y="401"/>
                  </a:lnTo>
                  <a:lnTo>
                    <a:pt x="877" y="396"/>
                  </a:lnTo>
                  <a:lnTo>
                    <a:pt x="881" y="389"/>
                  </a:lnTo>
                  <a:lnTo>
                    <a:pt x="888" y="385"/>
                  </a:lnTo>
                  <a:lnTo>
                    <a:pt x="896" y="385"/>
                  </a:lnTo>
                  <a:lnTo>
                    <a:pt x="901" y="379"/>
                  </a:lnTo>
                  <a:lnTo>
                    <a:pt x="909" y="381"/>
                  </a:lnTo>
                  <a:lnTo>
                    <a:pt x="915" y="378"/>
                  </a:lnTo>
                  <a:lnTo>
                    <a:pt x="919" y="369"/>
                  </a:lnTo>
                  <a:lnTo>
                    <a:pt x="935" y="365"/>
                  </a:lnTo>
                  <a:lnTo>
                    <a:pt x="940" y="358"/>
                  </a:lnTo>
                  <a:lnTo>
                    <a:pt x="933" y="354"/>
                  </a:lnTo>
                  <a:lnTo>
                    <a:pt x="925" y="357"/>
                  </a:lnTo>
                  <a:lnTo>
                    <a:pt x="909" y="352"/>
                  </a:lnTo>
                  <a:lnTo>
                    <a:pt x="898" y="342"/>
                  </a:lnTo>
                  <a:lnTo>
                    <a:pt x="890" y="342"/>
                  </a:lnTo>
                  <a:lnTo>
                    <a:pt x="884" y="337"/>
                  </a:lnTo>
                  <a:lnTo>
                    <a:pt x="870" y="328"/>
                  </a:lnTo>
                  <a:lnTo>
                    <a:pt x="870" y="320"/>
                  </a:lnTo>
                  <a:lnTo>
                    <a:pt x="865" y="314"/>
                  </a:lnTo>
                  <a:lnTo>
                    <a:pt x="858" y="310"/>
                  </a:lnTo>
                  <a:lnTo>
                    <a:pt x="853" y="325"/>
                  </a:lnTo>
                  <a:lnTo>
                    <a:pt x="845" y="330"/>
                  </a:lnTo>
                  <a:lnTo>
                    <a:pt x="843" y="337"/>
                  </a:lnTo>
                  <a:lnTo>
                    <a:pt x="836" y="337"/>
                  </a:lnTo>
                  <a:lnTo>
                    <a:pt x="812" y="327"/>
                  </a:lnTo>
                  <a:lnTo>
                    <a:pt x="804" y="314"/>
                  </a:lnTo>
                  <a:lnTo>
                    <a:pt x="796" y="317"/>
                  </a:lnTo>
                  <a:lnTo>
                    <a:pt x="790" y="312"/>
                  </a:lnTo>
                  <a:lnTo>
                    <a:pt x="782" y="310"/>
                  </a:lnTo>
                  <a:lnTo>
                    <a:pt x="783" y="301"/>
                  </a:lnTo>
                  <a:lnTo>
                    <a:pt x="798" y="292"/>
                  </a:lnTo>
                  <a:lnTo>
                    <a:pt x="810" y="280"/>
                  </a:lnTo>
                  <a:lnTo>
                    <a:pt x="820" y="268"/>
                  </a:lnTo>
                  <a:lnTo>
                    <a:pt x="834" y="262"/>
                  </a:lnTo>
                  <a:lnTo>
                    <a:pt x="833" y="253"/>
                  </a:lnTo>
                  <a:lnTo>
                    <a:pt x="816" y="249"/>
                  </a:lnTo>
                  <a:lnTo>
                    <a:pt x="814" y="256"/>
                  </a:lnTo>
                  <a:lnTo>
                    <a:pt x="802" y="268"/>
                  </a:lnTo>
                  <a:lnTo>
                    <a:pt x="795" y="271"/>
                  </a:lnTo>
                  <a:lnTo>
                    <a:pt x="788" y="268"/>
                  </a:lnTo>
                  <a:lnTo>
                    <a:pt x="782" y="283"/>
                  </a:lnTo>
                  <a:lnTo>
                    <a:pt x="775" y="288"/>
                  </a:lnTo>
                  <a:lnTo>
                    <a:pt x="753" y="298"/>
                  </a:lnTo>
                  <a:lnTo>
                    <a:pt x="739" y="306"/>
                  </a:lnTo>
                  <a:lnTo>
                    <a:pt x="734" y="312"/>
                  </a:lnTo>
                  <a:lnTo>
                    <a:pt x="726" y="315"/>
                  </a:lnTo>
                  <a:lnTo>
                    <a:pt x="719" y="320"/>
                  </a:lnTo>
                  <a:lnTo>
                    <a:pt x="715" y="327"/>
                  </a:lnTo>
                  <a:lnTo>
                    <a:pt x="713" y="335"/>
                  </a:lnTo>
                  <a:lnTo>
                    <a:pt x="707" y="339"/>
                  </a:lnTo>
                  <a:lnTo>
                    <a:pt x="699" y="343"/>
                  </a:lnTo>
                  <a:lnTo>
                    <a:pt x="691" y="342"/>
                  </a:lnTo>
                  <a:lnTo>
                    <a:pt x="676" y="335"/>
                  </a:lnTo>
                  <a:lnTo>
                    <a:pt x="667" y="333"/>
                  </a:lnTo>
                  <a:lnTo>
                    <a:pt x="654" y="325"/>
                  </a:lnTo>
                  <a:lnTo>
                    <a:pt x="597" y="331"/>
                  </a:lnTo>
                  <a:lnTo>
                    <a:pt x="587" y="285"/>
                  </a:lnTo>
                  <a:lnTo>
                    <a:pt x="554" y="279"/>
                  </a:lnTo>
                  <a:lnTo>
                    <a:pt x="553" y="266"/>
                  </a:lnTo>
                  <a:lnTo>
                    <a:pt x="554" y="250"/>
                  </a:lnTo>
                  <a:lnTo>
                    <a:pt x="562" y="249"/>
                  </a:lnTo>
                  <a:lnTo>
                    <a:pt x="560" y="206"/>
                  </a:lnTo>
                  <a:lnTo>
                    <a:pt x="547" y="207"/>
                  </a:lnTo>
                  <a:lnTo>
                    <a:pt x="530" y="174"/>
                  </a:lnTo>
                  <a:lnTo>
                    <a:pt x="517" y="164"/>
                  </a:lnTo>
                  <a:lnTo>
                    <a:pt x="510" y="160"/>
                  </a:lnTo>
                  <a:lnTo>
                    <a:pt x="498" y="150"/>
                  </a:lnTo>
                  <a:lnTo>
                    <a:pt x="492" y="144"/>
                  </a:lnTo>
                  <a:lnTo>
                    <a:pt x="478" y="150"/>
                  </a:lnTo>
                  <a:lnTo>
                    <a:pt x="402" y="149"/>
                  </a:lnTo>
                  <a:lnTo>
                    <a:pt x="331" y="161"/>
                  </a:lnTo>
                  <a:lnTo>
                    <a:pt x="304" y="133"/>
                  </a:lnTo>
                  <a:lnTo>
                    <a:pt x="259" y="85"/>
                  </a:lnTo>
                  <a:lnTo>
                    <a:pt x="224" y="52"/>
                  </a:lnTo>
                  <a:lnTo>
                    <a:pt x="210" y="42"/>
                  </a:lnTo>
                  <a:lnTo>
                    <a:pt x="191" y="26"/>
                  </a:lnTo>
                  <a:lnTo>
                    <a:pt x="171" y="13"/>
                  </a:lnTo>
                  <a:lnTo>
                    <a:pt x="142" y="0"/>
                  </a:lnTo>
                  <a:lnTo>
                    <a:pt x="0" y="5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01" name="Turkmenistan"/>
            <p:cNvSpPr>
              <a:spLocks noChangeAspect="1"/>
            </p:cNvSpPr>
            <p:nvPr>
              <p:custDataLst>
                <p:tags r:id="rId95"/>
              </p:custDataLst>
            </p:nvPr>
          </p:nvSpPr>
          <p:spPr bwMode="gray">
            <a:xfrm>
              <a:off x="5799526" y="3414954"/>
              <a:ext cx="365134" cy="252785"/>
            </a:xfrm>
            <a:custGeom>
              <a:avLst/>
              <a:gdLst/>
              <a:ahLst/>
              <a:cxnLst>
                <a:cxn ang="0">
                  <a:pos x="249" y="96"/>
                </a:cxn>
                <a:cxn ang="0">
                  <a:pos x="256" y="60"/>
                </a:cxn>
                <a:cxn ang="0">
                  <a:pos x="289" y="46"/>
                </a:cxn>
                <a:cxn ang="0">
                  <a:pos x="308" y="24"/>
                </a:cxn>
                <a:cxn ang="0">
                  <a:pos x="320" y="20"/>
                </a:cxn>
                <a:cxn ang="0">
                  <a:pos x="336" y="6"/>
                </a:cxn>
                <a:cxn ang="0">
                  <a:pos x="376" y="36"/>
                </a:cxn>
                <a:cxn ang="0">
                  <a:pos x="413" y="48"/>
                </a:cxn>
                <a:cxn ang="0">
                  <a:pos x="424" y="73"/>
                </a:cxn>
                <a:cxn ang="0">
                  <a:pos x="416" y="100"/>
                </a:cxn>
                <a:cxn ang="0">
                  <a:pos x="460" y="116"/>
                </a:cxn>
                <a:cxn ang="0">
                  <a:pos x="499" y="107"/>
                </a:cxn>
                <a:cxn ang="0">
                  <a:pos x="526" y="137"/>
                </a:cxn>
                <a:cxn ang="0">
                  <a:pos x="543" y="170"/>
                </a:cxn>
                <a:cxn ang="0">
                  <a:pos x="558" y="215"/>
                </a:cxn>
                <a:cxn ang="0">
                  <a:pos x="653" y="275"/>
                </a:cxn>
                <a:cxn ang="0">
                  <a:pos x="714" y="328"/>
                </a:cxn>
                <a:cxn ang="0">
                  <a:pos x="760" y="333"/>
                </a:cxn>
                <a:cxn ang="0">
                  <a:pos x="774" y="355"/>
                </a:cxn>
                <a:cxn ang="0">
                  <a:pos x="771" y="392"/>
                </a:cxn>
                <a:cxn ang="0">
                  <a:pos x="728" y="380"/>
                </a:cxn>
                <a:cxn ang="0">
                  <a:pos x="717" y="397"/>
                </a:cxn>
                <a:cxn ang="0">
                  <a:pos x="685" y="398"/>
                </a:cxn>
                <a:cxn ang="0">
                  <a:pos x="675" y="417"/>
                </a:cxn>
                <a:cxn ang="0">
                  <a:pos x="664" y="457"/>
                </a:cxn>
                <a:cxn ang="0">
                  <a:pos x="634" y="479"/>
                </a:cxn>
                <a:cxn ang="0">
                  <a:pos x="594" y="494"/>
                </a:cxn>
                <a:cxn ang="0">
                  <a:pos x="589" y="509"/>
                </a:cxn>
                <a:cxn ang="0">
                  <a:pos x="570" y="528"/>
                </a:cxn>
                <a:cxn ang="0">
                  <a:pos x="538" y="536"/>
                </a:cxn>
                <a:cxn ang="0">
                  <a:pos x="508" y="523"/>
                </a:cxn>
                <a:cxn ang="0">
                  <a:pos x="482" y="507"/>
                </a:cxn>
                <a:cxn ang="0">
                  <a:pos x="476" y="441"/>
                </a:cxn>
                <a:cxn ang="0">
                  <a:pos x="396" y="403"/>
                </a:cxn>
                <a:cxn ang="0">
                  <a:pos x="364" y="369"/>
                </a:cxn>
                <a:cxn ang="0">
                  <a:pos x="314" y="359"/>
                </a:cxn>
                <a:cxn ang="0">
                  <a:pos x="231" y="321"/>
                </a:cxn>
                <a:cxn ang="0">
                  <a:pos x="198" y="337"/>
                </a:cxn>
                <a:cxn ang="0">
                  <a:pos x="145" y="351"/>
                </a:cxn>
                <a:cxn ang="0">
                  <a:pos x="80" y="378"/>
                </a:cxn>
                <a:cxn ang="0">
                  <a:pos x="86" y="275"/>
                </a:cxn>
                <a:cxn ang="0">
                  <a:pos x="50" y="250"/>
                </a:cxn>
                <a:cxn ang="0">
                  <a:pos x="66" y="230"/>
                </a:cxn>
                <a:cxn ang="0">
                  <a:pos x="68" y="214"/>
                </a:cxn>
                <a:cxn ang="0">
                  <a:pos x="34" y="203"/>
                </a:cxn>
                <a:cxn ang="0">
                  <a:pos x="16" y="166"/>
                </a:cxn>
                <a:cxn ang="0">
                  <a:pos x="27" y="143"/>
                </a:cxn>
                <a:cxn ang="0">
                  <a:pos x="84" y="156"/>
                </a:cxn>
                <a:cxn ang="0">
                  <a:pos x="97" y="148"/>
                </a:cxn>
                <a:cxn ang="0">
                  <a:pos x="86" y="91"/>
                </a:cxn>
                <a:cxn ang="0">
                  <a:pos x="57" y="57"/>
                </a:cxn>
                <a:cxn ang="0">
                  <a:pos x="14" y="91"/>
                </a:cxn>
                <a:cxn ang="0">
                  <a:pos x="4" y="92"/>
                </a:cxn>
                <a:cxn ang="0">
                  <a:pos x="77" y="32"/>
                </a:cxn>
                <a:cxn ang="0">
                  <a:pos x="107" y="41"/>
                </a:cxn>
                <a:cxn ang="0">
                  <a:pos x="139" y="75"/>
                </a:cxn>
                <a:cxn ang="0">
                  <a:pos x="181" y="113"/>
                </a:cxn>
              </a:cxnLst>
              <a:rect l="0" t="0" r="r" b="b"/>
              <a:pathLst>
                <a:path w="778" h="536">
                  <a:moveTo>
                    <a:pt x="193" y="107"/>
                  </a:moveTo>
                  <a:lnTo>
                    <a:pt x="247" y="116"/>
                  </a:lnTo>
                  <a:lnTo>
                    <a:pt x="255" y="111"/>
                  </a:lnTo>
                  <a:lnTo>
                    <a:pt x="249" y="96"/>
                  </a:lnTo>
                  <a:lnTo>
                    <a:pt x="250" y="89"/>
                  </a:lnTo>
                  <a:lnTo>
                    <a:pt x="245" y="73"/>
                  </a:lnTo>
                  <a:lnTo>
                    <a:pt x="249" y="65"/>
                  </a:lnTo>
                  <a:lnTo>
                    <a:pt x="256" y="60"/>
                  </a:lnTo>
                  <a:lnTo>
                    <a:pt x="260" y="54"/>
                  </a:lnTo>
                  <a:lnTo>
                    <a:pt x="265" y="47"/>
                  </a:lnTo>
                  <a:lnTo>
                    <a:pt x="273" y="46"/>
                  </a:lnTo>
                  <a:lnTo>
                    <a:pt x="289" y="46"/>
                  </a:lnTo>
                  <a:lnTo>
                    <a:pt x="298" y="42"/>
                  </a:lnTo>
                  <a:lnTo>
                    <a:pt x="300" y="35"/>
                  </a:lnTo>
                  <a:lnTo>
                    <a:pt x="300" y="27"/>
                  </a:lnTo>
                  <a:lnTo>
                    <a:pt x="308" y="24"/>
                  </a:lnTo>
                  <a:lnTo>
                    <a:pt x="320" y="32"/>
                  </a:lnTo>
                  <a:lnTo>
                    <a:pt x="328" y="35"/>
                  </a:lnTo>
                  <a:lnTo>
                    <a:pt x="325" y="27"/>
                  </a:lnTo>
                  <a:lnTo>
                    <a:pt x="320" y="20"/>
                  </a:lnTo>
                  <a:lnTo>
                    <a:pt x="314" y="15"/>
                  </a:lnTo>
                  <a:lnTo>
                    <a:pt x="321" y="11"/>
                  </a:lnTo>
                  <a:lnTo>
                    <a:pt x="328" y="11"/>
                  </a:lnTo>
                  <a:lnTo>
                    <a:pt x="336" y="6"/>
                  </a:lnTo>
                  <a:lnTo>
                    <a:pt x="337" y="0"/>
                  </a:lnTo>
                  <a:lnTo>
                    <a:pt x="358" y="21"/>
                  </a:lnTo>
                  <a:lnTo>
                    <a:pt x="371" y="30"/>
                  </a:lnTo>
                  <a:lnTo>
                    <a:pt x="376" y="36"/>
                  </a:lnTo>
                  <a:lnTo>
                    <a:pt x="385" y="39"/>
                  </a:lnTo>
                  <a:lnTo>
                    <a:pt x="394" y="37"/>
                  </a:lnTo>
                  <a:lnTo>
                    <a:pt x="409" y="41"/>
                  </a:lnTo>
                  <a:lnTo>
                    <a:pt x="413" y="48"/>
                  </a:lnTo>
                  <a:lnTo>
                    <a:pt x="411" y="55"/>
                  </a:lnTo>
                  <a:lnTo>
                    <a:pt x="412" y="64"/>
                  </a:lnTo>
                  <a:lnTo>
                    <a:pt x="418" y="69"/>
                  </a:lnTo>
                  <a:lnTo>
                    <a:pt x="424" y="73"/>
                  </a:lnTo>
                  <a:lnTo>
                    <a:pt x="417" y="76"/>
                  </a:lnTo>
                  <a:lnTo>
                    <a:pt x="417" y="84"/>
                  </a:lnTo>
                  <a:lnTo>
                    <a:pt x="418" y="92"/>
                  </a:lnTo>
                  <a:lnTo>
                    <a:pt x="416" y="100"/>
                  </a:lnTo>
                  <a:lnTo>
                    <a:pt x="421" y="106"/>
                  </a:lnTo>
                  <a:lnTo>
                    <a:pt x="435" y="114"/>
                  </a:lnTo>
                  <a:lnTo>
                    <a:pt x="452" y="117"/>
                  </a:lnTo>
                  <a:lnTo>
                    <a:pt x="460" y="116"/>
                  </a:lnTo>
                  <a:lnTo>
                    <a:pt x="484" y="121"/>
                  </a:lnTo>
                  <a:lnTo>
                    <a:pt x="492" y="118"/>
                  </a:lnTo>
                  <a:lnTo>
                    <a:pt x="493" y="111"/>
                  </a:lnTo>
                  <a:lnTo>
                    <a:pt x="499" y="107"/>
                  </a:lnTo>
                  <a:lnTo>
                    <a:pt x="507" y="112"/>
                  </a:lnTo>
                  <a:lnTo>
                    <a:pt x="519" y="123"/>
                  </a:lnTo>
                  <a:lnTo>
                    <a:pt x="524" y="129"/>
                  </a:lnTo>
                  <a:lnTo>
                    <a:pt x="526" y="137"/>
                  </a:lnTo>
                  <a:lnTo>
                    <a:pt x="527" y="152"/>
                  </a:lnTo>
                  <a:lnTo>
                    <a:pt x="531" y="160"/>
                  </a:lnTo>
                  <a:lnTo>
                    <a:pt x="538" y="164"/>
                  </a:lnTo>
                  <a:lnTo>
                    <a:pt x="543" y="170"/>
                  </a:lnTo>
                  <a:lnTo>
                    <a:pt x="548" y="186"/>
                  </a:lnTo>
                  <a:lnTo>
                    <a:pt x="547" y="194"/>
                  </a:lnTo>
                  <a:lnTo>
                    <a:pt x="553" y="209"/>
                  </a:lnTo>
                  <a:lnTo>
                    <a:pt x="558" y="215"/>
                  </a:lnTo>
                  <a:lnTo>
                    <a:pt x="609" y="245"/>
                  </a:lnTo>
                  <a:lnTo>
                    <a:pt x="629" y="269"/>
                  </a:lnTo>
                  <a:lnTo>
                    <a:pt x="636" y="274"/>
                  </a:lnTo>
                  <a:lnTo>
                    <a:pt x="653" y="275"/>
                  </a:lnTo>
                  <a:lnTo>
                    <a:pt x="666" y="284"/>
                  </a:lnTo>
                  <a:lnTo>
                    <a:pt x="686" y="299"/>
                  </a:lnTo>
                  <a:lnTo>
                    <a:pt x="708" y="322"/>
                  </a:lnTo>
                  <a:lnTo>
                    <a:pt x="714" y="328"/>
                  </a:lnTo>
                  <a:lnTo>
                    <a:pt x="723" y="329"/>
                  </a:lnTo>
                  <a:lnTo>
                    <a:pt x="729" y="324"/>
                  </a:lnTo>
                  <a:lnTo>
                    <a:pt x="737" y="323"/>
                  </a:lnTo>
                  <a:lnTo>
                    <a:pt x="760" y="333"/>
                  </a:lnTo>
                  <a:lnTo>
                    <a:pt x="765" y="339"/>
                  </a:lnTo>
                  <a:lnTo>
                    <a:pt x="772" y="343"/>
                  </a:lnTo>
                  <a:lnTo>
                    <a:pt x="778" y="348"/>
                  </a:lnTo>
                  <a:lnTo>
                    <a:pt x="774" y="355"/>
                  </a:lnTo>
                  <a:lnTo>
                    <a:pt x="771" y="363"/>
                  </a:lnTo>
                  <a:lnTo>
                    <a:pt x="771" y="378"/>
                  </a:lnTo>
                  <a:lnTo>
                    <a:pt x="772" y="387"/>
                  </a:lnTo>
                  <a:lnTo>
                    <a:pt x="771" y="392"/>
                  </a:lnTo>
                  <a:lnTo>
                    <a:pt x="756" y="392"/>
                  </a:lnTo>
                  <a:lnTo>
                    <a:pt x="746" y="388"/>
                  </a:lnTo>
                  <a:lnTo>
                    <a:pt x="733" y="380"/>
                  </a:lnTo>
                  <a:lnTo>
                    <a:pt x="728" y="380"/>
                  </a:lnTo>
                  <a:lnTo>
                    <a:pt x="723" y="380"/>
                  </a:lnTo>
                  <a:lnTo>
                    <a:pt x="720" y="383"/>
                  </a:lnTo>
                  <a:lnTo>
                    <a:pt x="719" y="391"/>
                  </a:lnTo>
                  <a:lnTo>
                    <a:pt x="717" y="397"/>
                  </a:lnTo>
                  <a:lnTo>
                    <a:pt x="714" y="398"/>
                  </a:lnTo>
                  <a:lnTo>
                    <a:pt x="699" y="398"/>
                  </a:lnTo>
                  <a:lnTo>
                    <a:pt x="693" y="397"/>
                  </a:lnTo>
                  <a:lnTo>
                    <a:pt x="685" y="398"/>
                  </a:lnTo>
                  <a:lnTo>
                    <a:pt x="680" y="404"/>
                  </a:lnTo>
                  <a:lnTo>
                    <a:pt x="676" y="408"/>
                  </a:lnTo>
                  <a:lnTo>
                    <a:pt x="675" y="410"/>
                  </a:lnTo>
                  <a:lnTo>
                    <a:pt x="675" y="417"/>
                  </a:lnTo>
                  <a:lnTo>
                    <a:pt x="669" y="434"/>
                  </a:lnTo>
                  <a:lnTo>
                    <a:pt x="666" y="437"/>
                  </a:lnTo>
                  <a:lnTo>
                    <a:pt x="664" y="450"/>
                  </a:lnTo>
                  <a:lnTo>
                    <a:pt x="664" y="457"/>
                  </a:lnTo>
                  <a:lnTo>
                    <a:pt x="663" y="462"/>
                  </a:lnTo>
                  <a:lnTo>
                    <a:pt x="648" y="472"/>
                  </a:lnTo>
                  <a:lnTo>
                    <a:pt x="640" y="473"/>
                  </a:lnTo>
                  <a:lnTo>
                    <a:pt x="634" y="479"/>
                  </a:lnTo>
                  <a:lnTo>
                    <a:pt x="626" y="483"/>
                  </a:lnTo>
                  <a:lnTo>
                    <a:pt x="618" y="488"/>
                  </a:lnTo>
                  <a:lnTo>
                    <a:pt x="601" y="491"/>
                  </a:lnTo>
                  <a:lnTo>
                    <a:pt x="594" y="494"/>
                  </a:lnTo>
                  <a:lnTo>
                    <a:pt x="586" y="493"/>
                  </a:lnTo>
                  <a:lnTo>
                    <a:pt x="586" y="499"/>
                  </a:lnTo>
                  <a:lnTo>
                    <a:pt x="593" y="504"/>
                  </a:lnTo>
                  <a:lnTo>
                    <a:pt x="589" y="509"/>
                  </a:lnTo>
                  <a:lnTo>
                    <a:pt x="585" y="510"/>
                  </a:lnTo>
                  <a:lnTo>
                    <a:pt x="583" y="522"/>
                  </a:lnTo>
                  <a:lnTo>
                    <a:pt x="579" y="525"/>
                  </a:lnTo>
                  <a:lnTo>
                    <a:pt x="570" y="528"/>
                  </a:lnTo>
                  <a:lnTo>
                    <a:pt x="564" y="534"/>
                  </a:lnTo>
                  <a:lnTo>
                    <a:pt x="551" y="534"/>
                  </a:lnTo>
                  <a:lnTo>
                    <a:pt x="543" y="536"/>
                  </a:lnTo>
                  <a:lnTo>
                    <a:pt x="538" y="536"/>
                  </a:lnTo>
                  <a:lnTo>
                    <a:pt x="534" y="530"/>
                  </a:lnTo>
                  <a:lnTo>
                    <a:pt x="526" y="526"/>
                  </a:lnTo>
                  <a:lnTo>
                    <a:pt x="520" y="521"/>
                  </a:lnTo>
                  <a:lnTo>
                    <a:pt x="508" y="523"/>
                  </a:lnTo>
                  <a:lnTo>
                    <a:pt x="497" y="520"/>
                  </a:lnTo>
                  <a:lnTo>
                    <a:pt x="494" y="517"/>
                  </a:lnTo>
                  <a:lnTo>
                    <a:pt x="488" y="511"/>
                  </a:lnTo>
                  <a:lnTo>
                    <a:pt x="482" y="507"/>
                  </a:lnTo>
                  <a:lnTo>
                    <a:pt x="484" y="494"/>
                  </a:lnTo>
                  <a:lnTo>
                    <a:pt x="481" y="483"/>
                  </a:lnTo>
                  <a:lnTo>
                    <a:pt x="481" y="446"/>
                  </a:lnTo>
                  <a:lnTo>
                    <a:pt x="476" y="441"/>
                  </a:lnTo>
                  <a:lnTo>
                    <a:pt x="450" y="441"/>
                  </a:lnTo>
                  <a:lnTo>
                    <a:pt x="434" y="431"/>
                  </a:lnTo>
                  <a:lnTo>
                    <a:pt x="412" y="413"/>
                  </a:lnTo>
                  <a:lnTo>
                    <a:pt x="396" y="403"/>
                  </a:lnTo>
                  <a:lnTo>
                    <a:pt x="386" y="399"/>
                  </a:lnTo>
                  <a:lnTo>
                    <a:pt x="382" y="387"/>
                  </a:lnTo>
                  <a:lnTo>
                    <a:pt x="373" y="374"/>
                  </a:lnTo>
                  <a:lnTo>
                    <a:pt x="364" y="369"/>
                  </a:lnTo>
                  <a:lnTo>
                    <a:pt x="349" y="366"/>
                  </a:lnTo>
                  <a:lnTo>
                    <a:pt x="338" y="369"/>
                  </a:lnTo>
                  <a:lnTo>
                    <a:pt x="327" y="366"/>
                  </a:lnTo>
                  <a:lnTo>
                    <a:pt x="314" y="359"/>
                  </a:lnTo>
                  <a:lnTo>
                    <a:pt x="276" y="347"/>
                  </a:lnTo>
                  <a:lnTo>
                    <a:pt x="267" y="335"/>
                  </a:lnTo>
                  <a:lnTo>
                    <a:pt x="252" y="323"/>
                  </a:lnTo>
                  <a:lnTo>
                    <a:pt x="231" y="321"/>
                  </a:lnTo>
                  <a:lnTo>
                    <a:pt x="217" y="323"/>
                  </a:lnTo>
                  <a:lnTo>
                    <a:pt x="214" y="332"/>
                  </a:lnTo>
                  <a:lnTo>
                    <a:pt x="209" y="337"/>
                  </a:lnTo>
                  <a:lnTo>
                    <a:pt x="198" y="337"/>
                  </a:lnTo>
                  <a:lnTo>
                    <a:pt x="187" y="333"/>
                  </a:lnTo>
                  <a:lnTo>
                    <a:pt x="176" y="333"/>
                  </a:lnTo>
                  <a:lnTo>
                    <a:pt x="160" y="337"/>
                  </a:lnTo>
                  <a:lnTo>
                    <a:pt x="145" y="351"/>
                  </a:lnTo>
                  <a:lnTo>
                    <a:pt x="111" y="378"/>
                  </a:lnTo>
                  <a:lnTo>
                    <a:pt x="93" y="382"/>
                  </a:lnTo>
                  <a:lnTo>
                    <a:pt x="79" y="382"/>
                  </a:lnTo>
                  <a:lnTo>
                    <a:pt x="80" y="378"/>
                  </a:lnTo>
                  <a:lnTo>
                    <a:pt x="74" y="338"/>
                  </a:lnTo>
                  <a:lnTo>
                    <a:pt x="73" y="312"/>
                  </a:lnTo>
                  <a:lnTo>
                    <a:pt x="77" y="289"/>
                  </a:lnTo>
                  <a:lnTo>
                    <a:pt x="86" y="275"/>
                  </a:lnTo>
                  <a:lnTo>
                    <a:pt x="75" y="272"/>
                  </a:lnTo>
                  <a:lnTo>
                    <a:pt x="64" y="262"/>
                  </a:lnTo>
                  <a:lnTo>
                    <a:pt x="57" y="252"/>
                  </a:lnTo>
                  <a:lnTo>
                    <a:pt x="50" y="250"/>
                  </a:lnTo>
                  <a:lnTo>
                    <a:pt x="50" y="247"/>
                  </a:lnTo>
                  <a:lnTo>
                    <a:pt x="70" y="238"/>
                  </a:lnTo>
                  <a:lnTo>
                    <a:pt x="77" y="234"/>
                  </a:lnTo>
                  <a:lnTo>
                    <a:pt x="66" y="230"/>
                  </a:lnTo>
                  <a:lnTo>
                    <a:pt x="58" y="225"/>
                  </a:lnTo>
                  <a:lnTo>
                    <a:pt x="51" y="219"/>
                  </a:lnTo>
                  <a:lnTo>
                    <a:pt x="61" y="209"/>
                  </a:lnTo>
                  <a:lnTo>
                    <a:pt x="68" y="214"/>
                  </a:lnTo>
                  <a:lnTo>
                    <a:pt x="78" y="218"/>
                  </a:lnTo>
                  <a:lnTo>
                    <a:pt x="72" y="207"/>
                  </a:lnTo>
                  <a:lnTo>
                    <a:pt x="51" y="199"/>
                  </a:lnTo>
                  <a:lnTo>
                    <a:pt x="34" y="203"/>
                  </a:lnTo>
                  <a:lnTo>
                    <a:pt x="26" y="211"/>
                  </a:lnTo>
                  <a:lnTo>
                    <a:pt x="21" y="211"/>
                  </a:lnTo>
                  <a:lnTo>
                    <a:pt x="14" y="181"/>
                  </a:lnTo>
                  <a:lnTo>
                    <a:pt x="16" y="166"/>
                  </a:lnTo>
                  <a:lnTo>
                    <a:pt x="23" y="155"/>
                  </a:lnTo>
                  <a:lnTo>
                    <a:pt x="24" y="151"/>
                  </a:lnTo>
                  <a:lnTo>
                    <a:pt x="21" y="128"/>
                  </a:lnTo>
                  <a:lnTo>
                    <a:pt x="27" y="143"/>
                  </a:lnTo>
                  <a:lnTo>
                    <a:pt x="32" y="151"/>
                  </a:lnTo>
                  <a:lnTo>
                    <a:pt x="53" y="151"/>
                  </a:lnTo>
                  <a:lnTo>
                    <a:pt x="73" y="157"/>
                  </a:lnTo>
                  <a:lnTo>
                    <a:pt x="84" y="156"/>
                  </a:lnTo>
                  <a:lnTo>
                    <a:pt x="99" y="160"/>
                  </a:lnTo>
                  <a:lnTo>
                    <a:pt x="109" y="155"/>
                  </a:lnTo>
                  <a:lnTo>
                    <a:pt x="99" y="154"/>
                  </a:lnTo>
                  <a:lnTo>
                    <a:pt x="97" y="148"/>
                  </a:lnTo>
                  <a:lnTo>
                    <a:pt x="112" y="144"/>
                  </a:lnTo>
                  <a:lnTo>
                    <a:pt x="126" y="127"/>
                  </a:lnTo>
                  <a:lnTo>
                    <a:pt x="102" y="109"/>
                  </a:lnTo>
                  <a:lnTo>
                    <a:pt x="86" y="91"/>
                  </a:lnTo>
                  <a:lnTo>
                    <a:pt x="80" y="74"/>
                  </a:lnTo>
                  <a:lnTo>
                    <a:pt x="70" y="60"/>
                  </a:lnTo>
                  <a:lnTo>
                    <a:pt x="68" y="58"/>
                  </a:lnTo>
                  <a:lnTo>
                    <a:pt x="57" y="57"/>
                  </a:lnTo>
                  <a:lnTo>
                    <a:pt x="39" y="62"/>
                  </a:lnTo>
                  <a:lnTo>
                    <a:pt x="23" y="70"/>
                  </a:lnTo>
                  <a:lnTo>
                    <a:pt x="14" y="82"/>
                  </a:lnTo>
                  <a:lnTo>
                    <a:pt x="14" y="91"/>
                  </a:lnTo>
                  <a:lnTo>
                    <a:pt x="19" y="94"/>
                  </a:lnTo>
                  <a:lnTo>
                    <a:pt x="20" y="119"/>
                  </a:lnTo>
                  <a:lnTo>
                    <a:pt x="18" y="117"/>
                  </a:lnTo>
                  <a:lnTo>
                    <a:pt x="4" y="92"/>
                  </a:lnTo>
                  <a:lnTo>
                    <a:pt x="0" y="74"/>
                  </a:lnTo>
                  <a:lnTo>
                    <a:pt x="30" y="48"/>
                  </a:lnTo>
                  <a:lnTo>
                    <a:pt x="53" y="39"/>
                  </a:lnTo>
                  <a:lnTo>
                    <a:pt x="77" y="32"/>
                  </a:lnTo>
                  <a:lnTo>
                    <a:pt x="85" y="31"/>
                  </a:lnTo>
                  <a:lnTo>
                    <a:pt x="93" y="31"/>
                  </a:lnTo>
                  <a:lnTo>
                    <a:pt x="100" y="35"/>
                  </a:lnTo>
                  <a:lnTo>
                    <a:pt x="107" y="41"/>
                  </a:lnTo>
                  <a:lnTo>
                    <a:pt x="122" y="47"/>
                  </a:lnTo>
                  <a:lnTo>
                    <a:pt x="127" y="54"/>
                  </a:lnTo>
                  <a:lnTo>
                    <a:pt x="133" y="69"/>
                  </a:lnTo>
                  <a:lnTo>
                    <a:pt x="139" y="75"/>
                  </a:lnTo>
                  <a:lnTo>
                    <a:pt x="143" y="82"/>
                  </a:lnTo>
                  <a:lnTo>
                    <a:pt x="153" y="105"/>
                  </a:lnTo>
                  <a:lnTo>
                    <a:pt x="163" y="112"/>
                  </a:lnTo>
                  <a:lnTo>
                    <a:pt x="181" y="113"/>
                  </a:lnTo>
                  <a:lnTo>
                    <a:pt x="193" y="10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grpSp>
          <p:nvGrpSpPr>
            <p:cNvPr id="102" name="Azerbaijan"/>
            <p:cNvGrpSpPr>
              <a:grpSpLocks noChangeAspect="1"/>
            </p:cNvGrpSpPr>
            <p:nvPr/>
          </p:nvGrpSpPr>
          <p:grpSpPr bwMode="gray">
            <a:xfrm>
              <a:off x="5602916" y="3447722"/>
              <a:ext cx="142777" cy="114689"/>
              <a:chOff x="3007" y="1982"/>
              <a:chExt cx="61" cy="49"/>
            </a:xfrm>
            <a:grpFill/>
          </p:grpSpPr>
          <p:sp>
            <p:nvSpPr>
              <p:cNvPr id="282" name="Azerbaijan"/>
              <p:cNvSpPr>
                <a:spLocks noChangeAspect="1"/>
              </p:cNvSpPr>
              <p:nvPr>
                <p:custDataLst>
                  <p:tags r:id="rId264"/>
                </p:custDataLst>
              </p:nvPr>
            </p:nvSpPr>
            <p:spPr bwMode="gray">
              <a:xfrm>
                <a:off x="3007" y="2013"/>
                <a:ext cx="13" cy="12"/>
              </a:xfrm>
              <a:custGeom>
                <a:avLst/>
                <a:gdLst/>
                <a:ahLst/>
                <a:cxnLst>
                  <a:cxn ang="0">
                    <a:pos x="65" y="59"/>
                  </a:cxn>
                  <a:cxn ang="0">
                    <a:pos x="52" y="56"/>
                  </a:cxn>
                  <a:cxn ang="0">
                    <a:pos x="36" y="53"/>
                  </a:cxn>
                  <a:cxn ang="0">
                    <a:pos x="4" y="7"/>
                  </a:cxn>
                  <a:cxn ang="0">
                    <a:pos x="0" y="2"/>
                  </a:cxn>
                  <a:cxn ang="0">
                    <a:pos x="10" y="0"/>
                  </a:cxn>
                  <a:cxn ang="0">
                    <a:pos x="17" y="1"/>
                  </a:cxn>
                  <a:cxn ang="0">
                    <a:pos x="22" y="9"/>
                  </a:cxn>
                  <a:cxn ang="0">
                    <a:pos x="30" y="12"/>
                  </a:cxn>
                  <a:cxn ang="0">
                    <a:pos x="37" y="13"/>
                  </a:cxn>
                  <a:cxn ang="0">
                    <a:pos x="44" y="10"/>
                  </a:cxn>
                  <a:cxn ang="0">
                    <a:pos x="52" y="12"/>
                  </a:cxn>
                  <a:cxn ang="0">
                    <a:pos x="55" y="20"/>
                  </a:cxn>
                  <a:cxn ang="0">
                    <a:pos x="60" y="27"/>
                  </a:cxn>
                  <a:cxn ang="0">
                    <a:pos x="64" y="34"/>
                  </a:cxn>
                  <a:cxn ang="0">
                    <a:pos x="65" y="59"/>
                  </a:cxn>
                </a:cxnLst>
                <a:rect l="0" t="0" r="r" b="b"/>
                <a:pathLst>
                  <a:path w="65" h="59">
                    <a:moveTo>
                      <a:pt x="65" y="59"/>
                    </a:moveTo>
                    <a:lnTo>
                      <a:pt x="52" y="56"/>
                    </a:lnTo>
                    <a:lnTo>
                      <a:pt x="36" y="53"/>
                    </a:lnTo>
                    <a:lnTo>
                      <a:pt x="4" y="7"/>
                    </a:lnTo>
                    <a:lnTo>
                      <a:pt x="0" y="2"/>
                    </a:lnTo>
                    <a:lnTo>
                      <a:pt x="10" y="0"/>
                    </a:lnTo>
                    <a:lnTo>
                      <a:pt x="17" y="1"/>
                    </a:lnTo>
                    <a:lnTo>
                      <a:pt x="22" y="9"/>
                    </a:lnTo>
                    <a:lnTo>
                      <a:pt x="30" y="12"/>
                    </a:lnTo>
                    <a:lnTo>
                      <a:pt x="37" y="13"/>
                    </a:lnTo>
                    <a:lnTo>
                      <a:pt x="44" y="10"/>
                    </a:lnTo>
                    <a:lnTo>
                      <a:pt x="52" y="12"/>
                    </a:lnTo>
                    <a:lnTo>
                      <a:pt x="55" y="20"/>
                    </a:lnTo>
                    <a:lnTo>
                      <a:pt x="60" y="27"/>
                    </a:lnTo>
                    <a:lnTo>
                      <a:pt x="64" y="34"/>
                    </a:lnTo>
                    <a:lnTo>
                      <a:pt x="65" y="5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" name="Azerbaijan"/>
              <p:cNvSpPr>
                <a:spLocks noChangeAspect="1"/>
              </p:cNvSpPr>
              <p:nvPr>
                <p:custDataLst>
                  <p:tags r:id="rId265"/>
                </p:custDataLst>
              </p:nvPr>
            </p:nvSpPr>
            <p:spPr bwMode="gray">
              <a:xfrm>
                <a:off x="3009" y="1982"/>
                <a:ext cx="59" cy="49"/>
              </a:xfrm>
              <a:custGeom>
                <a:avLst/>
                <a:gdLst/>
                <a:ahLst/>
                <a:cxnLst>
                  <a:cxn ang="0">
                    <a:pos x="88" y="5"/>
                  </a:cxn>
                  <a:cxn ang="0">
                    <a:pos x="107" y="16"/>
                  </a:cxn>
                  <a:cxn ang="0">
                    <a:pos x="119" y="24"/>
                  </a:cxn>
                  <a:cxn ang="0">
                    <a:pos x="126" y="47"/>
                  </a:cxn>
                  <a:cxn ang="0">
                    <a:pos x="151" y="51"/>
                  </a:cxn>
                  <a:cxn ang="0">
                    <a:pos x="164" y="43"/>
                  </a:cxn>
                  <a:cxn ang="0">
                    <a:pos x="178" y="24"/>
                  </a:cxn>
                  <a:cxn ang="0">
                    <a:pos x="188" y="13"/>
                  </a:cxn>
                  <a:cxn ang="0">
                    <a:pos x="220" y="34"/>
                  </a:cxn>
                  <a:cxn ang="0">
                    <a:pos x="245" y="83"/>
                  </a:cxn>
                  <a:cxn ang="0">
                    <a:pos x="261" y="98"/>
                  </a:cxn>
                  <a:cxn ang="0">
                    <a:pos x="281" y="98"/>
                  </a:cxn>
                  <a:cxn ang="0">
                    <a:pos x="292" y="109"/>
                  </a:cxn>
                  <a:cxn ang="0">
                    <a:pos x="283" y="109"/>
                  </a:cxn>
                  <a:cxn ang="0">
                    <a:pos x="259" y="117"/>
                  </a:cxn>
                  <a:cxn ang="0">
                    <a:pos x="248" y="147"/>
                  </a:cxn>
                  <a:cxn ang="0">
                    <a:pos x="240" y="180"/>
                  </a:cxn>
                  <a:cxn ang="0">
                    <a:pos x="223" y="192"/>
                  </a:cxn>
                  <a:cxn ang="0">
                    <a:pos x="213" y="206"/>
                  </a:cxn>
                  <a:cxn ang="0">
                    <a:pos x="215" y="244"/>
                  </a:cxn>
                  <a:cxn ang="0">
                    <a:pos x="204" y="245"/>
                  </a:cxn>
                  <a:cxn ang="0">
                    <a:pos x="189" y="235"/>
                  </a:cxn>
                  <a:cxn ang="0">
                    <a:pos x="177" y="227"/>
                  </a:cxn>
                  <a:cxn ang="0">
                    <a:pos x="169" y="215"/>
                  </a:cxn>
                  <a:cxn ang="0">
                    <a:pos x="177" y="186"/>
                  </a:cxn>
                  <a:cxn ang="0">
                    <a:pos x="161" y="163"/>
                  </a:cxn>
                  <a:cxn ang="0">
                    <a:pos x="123" y="177"/>
                  </a:cxn>
                  <a:cxn ang="0">
                    <a:pos x="107" y="203"/>
                  </a:cxn>
                  <a:cxn ang="0">
                    <a:pos x="84" y="218"/>
                  </a:cxn>
                  <a:cxn ang="0">
                    <a:pos x="80" y="203"/>
                  </a:cxn>
                  <a:cxn ang="0">
                    <a:pos x="82" y="196"/>
                  </a:cxn>
                  <a:cxn ang="0">
                    <a:pos x="77" y="182"/>
                  </a:cxn>
                  <a:cxn ang="0">
                    <a:pos x="82" y="166"/>
                  </a:cxn>
                  <a:cxn ang="0">
                    <a:pos x="67" y="165"/>
                  </a:cxn>
                  <a:cxn ang="0">
                    <a:pos x="43" y="144"/>
                  </a:cxn>
                  <a:cxn ang="0">
                    <a:pos x="49" y="136"/>
                  </a:cxn>
                  <a:cxn ang="0">
                    <a:pos x="51" y="120"/>
                  </a:cxn>
                  <a:cxn ang="0">
                    <a:pos x="32" y="106"/>
                  </a:cxn>
                  <a:cxn ang="0">
                    <a:pos x="24" y="91"/>
                  </a:cxn>
                  <a:cxn ang="0">
                    <a:pos x="29" y="77"/>
                  </a:cxn>
                  <a:cxn ang="0">
                    <a:pos x="21" y="64"/>
                  </a:cxn>
                  <a:cxn ang="0">
                    <a:pos x="3" y="51"/>
                  </a:cxn>
                  <a:cxn ang="0">
                    <a:pos x="0" y="43"/>
                  </a:cxn>
                  <a:cxn ang="0">
                    <a:pos x="19" y="32"/>
                  </a:cxn>
                  <a:cxn ang="0">
                    <a:pos x="34" y="36"/>
                  </a:cxn>
                  <a:cxn ang="0">
                    <a:pos x="55" y="50"/>
                  </a:cxn>
                  <a:cxn ang="0">
                    <a:pos x="78" y="55"/>
                  </a:cxn>
                  <a:cxn ang="0">
                    <a:pos x="91" y="50"/>
                  </a:cxn>
                  <a:cxn ang="0">
                    <a:pos x="75" y="32"/>
                  </a:cxn>
                  <a:cxn ang="0">
                    <a:pos x="66" y="19"/>
                  </a:cxn>
                  <a:cxn ang="0">
                    <a:pos x="78" y="0"/>
                  </a:cxn>
                </a:cxnLst>
                <a:rect l="0" t="0" r="r" b="b"/>
                <a:pathLst>
                  <a:path w="294" h="245">
                    <a:moveTo>
                      <a:pt x="80" y="0"/>
                    </a:moveTo>
                    <a:lnTo>
                      <a:pt x="88" y="5"/>
                    </a:lnTo>
                    <a:lnTo>
                      <a:pt x="95" y="5"/>
                    </a:lnTo>
                    <a:lnTo>
                      <a:pt x="107" y="16"/>
                    </a:lnTo>
                    <a:lnTo>
                      <a:pt x="111" y="24"/>
                    </a:lnTo>
                    <a:lnTo>
                      <a:pt x="119" y="24"/>
                    </a:lnTo>
                    <a:lnTo>
                      <a:pt x="124" y="40"/>
                    </a:lnTo>
                    <a:lnTo>
                      <a:pt x="126" y="47"/>
                    </a:lnTo>
                    <a:lnTo>
                      <a:pt x="135" y="47"/>
                    </a:lnTo>
                    <a:lnTo>
                      <a:pt x="151" y="51"/>
                    </a:lnTo>
                    <a:lnTo>
                      <a:pt x="159" y="48"/>
                    </a:lnTo>
                    <a:lnTo>
                      <a:pt x="164" y="43"/>
                    </a:lnTo>
                    <a:lnTo>
                      <a:pt x="170" y="28"/>
                    </a:lnTo>
                    <a:lnTo>
                      <a:pt x="178" y="24"/>
                    </a:lnTo>
                    <a:lnTo>
                      <a:pt x="185" y="20"/>
                    </a:lnTo>
                    <a:lnTo>
                      <a:pt x="188" y="13"/>
                    </a:lnTo>
                    <a:lnTo>
                      <a:pt x="194" y="3"/>
                    </a:lnTo>
                    <a:lnTo>
                      <a:pt x="220" y="34"/>
                    </a:lnTo>
                    <a:lnTo>
                      <a:pt x="236" y="68"/>
                    </a:lnTo>
                    <a:lnTo>
                      <a:pt x="245" y="83"/>
                    </a:lnTo>
                    <a:lnTo>
                      <a:pt x="253" y="93"/>
                    </a:lnTo>
                    <a:lnTo>
                      <a:pt x="261" y="98"/>
                    </a:lnTo>
                    <a:lnTo>
                      <a:pt x="274" y="93"/>
                    </a:lnTo>
                    <a:lnTo>
                      <a:pt x="281" y="98"/>
                    </a:lnTo>
                    <a:lnTo>
                      <a:pt x="287" y="100"/>
                    </a:lnTo>
                    <a:lnTo>
                      <a:pt x="292" y="109"/>
                    </a:lnTo>
                    <a:lnTo>
                      <a:pt x="294" y="118"/>
                    </a:lnTo>
                    <a:lnTo>
                      <a:pt x="283" y="109"/>
                    </a:lnTo>
                    <a:lnTo>
                      <a:pt x="269" y="110"/>
                    </a:lnTo>
                    <a:lnTo>
                      <a:pt x="259" y="117"/>
                    </a:lnTo>
                    <a:lnTo>
                      <a:pt x="251" y="127"/>
                    </a:lnTo>
                    <a:lnTo>
                      <a:pt x="248" y="147"/>
                    </a:lnTo>
                    <a:lnTo>
                      <a:pt x="247" y="164"/>
                    </a:lnTo>
                    <a:lnTo>
                      <a:pt x="240" y="180"/>
                    </a:lnTo>
                    <a:lnTo>
                      <a:pt x="236" y="206"/>
                    </a:lnTo>
                    <a:lnTo>
                      <a:pt x="223" y="192"/>
                    </a:lnTo>
                    <a:lnTo>
                      <a:pt x="216" y="197"/>
                    </a:lnTo>
                    <a:lnTo>
                      <a:pt x="213" y="206"/>
                    </a:lnTo>
                    <a:lnTo>
                      <a:pt x="213" y="227"/>
                    </a:lnTo>
                    <a:lnTo>
                      <a:pt x="215" y="244"/>
                    </a:lnTo>
                    <a:lnTo>
                      <a:pt x="211" y="245"/>
                    </a:lnTo>
                    <a:lnTo>
                      <a:pt x="204" y="245"/>
                    </a:lnTo>
                    <a:lnTo>
                      <a:pt x="197" y="242"/>
                    </a:lnTo>
                    <a:lnTo>
                      <a:pt x="189" y="235"/>
                    </a:lnTo>
                    <a:lnTo>
                      <a:pt x="181" y="231"/>
                    </a:lnTo>
                    <a:lnTo>
                      <a:pt x="177" y="227"/>
                    </a:lnTo>
                    <a:lnTo>
                      <a:pt x="166" y="220"/>
                    </a:lnTo>
                    <a:lnTo>
                      <a:pt x="169" y="215"/>
                    </a:lnTo>
                    <a:lnTo>
                      <a:pt x="184" y="207"/>
                    </a:lnTo>
                    <a:lnTo>
                      <a:pt x="177" y="186"/>
                    </a:lnTo>
                    <a:lnTo>
                      <a:pt x="178" y="172"/>
                    </a:lnTo>
                    <a:lnTo>
                      <a:pt x="161" y="163"/>
                    </a:lnTo>
                    <a:lnTo>
                      <a:pt x="135" y="169"/>
                    </a:lnTo>
                    <a:lnTo>
                      <a:pt x="123" y="177"/>
                    </a:lnTo>
                    <a:lnTo>
                      <a:pt x="113" y="187"/>
                    </a:lnTo>
                    <a:lnTo>
                      <a:pt x="107" y="203"/>
                    </a:lnTo>
                    <a:lnTo>
                      <a:pt x="95" y="217"/>
                    </a:lnTo>
                    <a:lnTo>
                      <a:pt x="84" y="218"/>
                    </a:lnTo>
                    <a:lnTo>
                      <a:pt x="83" y="211"/>
                    </a:lnTo>
                    <a:lnTo>
                      <a:pt x="80" y="203"/>
                    </a:lnTo>
                    <a:lnTo>
                      <a:pt x="75" y="197"/>
                    </a:lnTo>
                    <a:lnTo>
                      <a:pt x="82" y="196"/>
                    </a:lnTo>
                    <a:lnTo>
                      <a:pt x="83" y="187"/>
                    </a:lnTo>
                    <a:lnTo>
                      <a:pt x="77" y="182"/>
                    </a:lnTo>
                    <a:lnTo>
                      <a:pt x="78" y="175"/>
                    </a:lnTo>
                    <a:lnTo>
                      <a:pt x="82" y="166"/>
                    </a:lnTo>
                    <a:lnTo>
                      <a:pt x="75" y="165"/>
                    </a:lnTo>
                    <a:lnTo>
                      <a:pt x="67" y="165"/>
                    </a:lnTo>
                    <a:lnTo>
                      <a:pt x="52" y="156"/>
                    </a:lnTo>
                    <a:lnTo>
                      <a:pt x="43" y="144"/>
                    </a:lnTo>
                    <a:lnTo>
                      <a:pt x="40" y="137"/>
                    </a:lnTo>
                    <a:lnTo>
                      <a:pt x="49" y="136"/>
                    </a:lnTo>
                    <a:lnTo>
                      <a:pt x="52" y="127"/>
                    </a:lnTo>
                    <a:lnTo>
                      <a:pt x="51" y="120"/>
                    </a:lnTo>
                    <a:lnTo>
                      <a:pt x="37" y="111"/>
                    </a:lnTo>
                    <a:lnTo>
                      <a:pt x="32" y="106"/>
                    </a:lnTo>
                    <a:lnTo>
                      <a:pt x="27" y="99"/>
                    </a:lnTo>
                    <a:lnTo>
                      <a:pt x="24" y="91"/>
                    </a:lnTo>
                    <a:lnTo>
                      <a:pt x="24" y="83"/>
                    </a:lnTo>
                    <a:lnTo>
                      <a:pt x="29" y="77"/>
                    </a:lnTo>
                    <a:lnTo>
                      <a:pt x="28" y="69"/>
                    </a:lnTo>
                    <a:lnTo>
                      <a:pt x="21" y="64"/>
                    </a:lnTo>
                    <a:lnTo>
                      <a:pt x="13" y="64"/>
                    </a:lnTo>
                    <a:lnTo>
                      <a:pt x="3" y="51"/>
                    </a:lnTo>
                    <a:lnTo>
                      <a:pt x="1" y="43"/>
                    </a:lnTo>
                    <a:lnTo>
                      <a:pt x="0" y="43"/>
                    </a:lnTo>
                    <a:lnTo>
                      <a:pt x="5" y="42"/>
                    </a:lnTo>
                    <a:lnTo>
                      <a:pt x="19" y="32"/>
                    </a:lnTo>
                    <a:lnTo>
                      <a:pt x="27" y="34"/>
                    </a:lnTo>
                    <a:lnTo>
                      <a:pt x="34" y="36"/>
                    </a:lnTo>
                    <a:lnTo>
                      <a:pt x="40" y="42"/>
                    </a:lnTo>
                    <a:lnTo>
                      <a:pt x="55" y="50"/>
                    </a:lnTo>
                    <a:lnTo>
                      <a:pt x="64" y="48"/>
                    </a:lnTo>
                    <a:lnTo>
                      <a:pt x="78" y="55"/>
                    </a:lnTo>
                    <a:lnTo>
                      <a:pt x="87" y="56"/>
                    </a:lnTo>
                    <a:lnTo>
                      <a:pt x="91" y="50"/>
                    </a:lnTo>
                    <a:lnTo>
                      <a:pt x="88" y="42"/>
                    </a:lnTo>
                    <a:lnTo>
                      <a:pt x="75" y="32"/>
                    </a:lnTo>
                    <a:lnTo>
                      <a:pt x="72" y="25"/>
                    </a:lnTo>
                    <a:lnTo>
                      <a:pt x="66" y="19"/>
                    </a:lnTo>
                    <a:lnTo>
                      <a:pt x="67" y="10"/>
                    </a:lnTo>
                    <a:lnTo>
                      <a:pt x="78" y="0"/>
                    </a:lnTo>
                    <a:lnTo>
                      <a:pt x="8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3" name="Europe"/>
            <p:cNvGrpSpPr/>
            <p:nvPr/>
          </p:nvGrpSpPr>
          <p:grpSpPr>
            <a:xfrm>
              <a:off x="3824060" y="2003572"/>
              <a:ext cx="1661826" cy="1636079"/>
              <a:chOff x="3807676" y="2008254"/>
              <a:chExt cx="1661826" cy="1636079"/>
            </a:xfrm>
            <a:grpFill/>
          </p:grpSpPr>
          <p:sp>
            <p:nvSpPr>
              <p:cNvPr id="233" name="Iceland"/>
              <p:cNvSpPr>
                <a:spLocks noChangeAspect="1"/>
              </p:cNvSpPr>
              <p:nvPr>
                <p:custDataLst>
                  <p:tags r:id="rId219"/>
                </p:custDataLst>
              </p:nvPr>
            </p:nvSpPr>
            <p:spPr bwMode="gray">
              <a:xfrm>
                <a:off x="3807676" y="2331257"/>
                <a:ext cx="280872" cy="191929"/>
              </a:xfrm>
              <a:custGeom>
                <a:avLst/>
                <a:gdLst/>
                <a:ahLst/>
                <a:cxnLst>
                  <a:cxn ang="0">
                    <a:pos x="221" y="370"/>
                  </a:cxn>
                  <a:cxn ang="0">
                    <a:pos x="145" y="352"/>
                  </a:cxn>
                  <a:cxn ang="0">
                    <a:pos x="103" y="337"/>
                  </a:cxn>
                  <a:cxn ang="0">
                    <a:pos x="150" y="308"/>
                  </a:cxn>
                  <a:cxn ang="0">
                    <a:pos x="141" y="270"/>
                  </a:cxn>
                  <a:cxn ang="0">
                    <a:pos x="127" y="259"/>
                  </a:cxn>
                  <a:cxn ang="0">
                    <a:pos x="108" y="227"/>
                  </a:cxn>
                  <a:cxn ang="0">
                    <a:pos x="59" y="228"/>
                  </a:cxn>
                  <a:cxn ang="0">
                    <a:pos x="48" y="218"/>
                  </a:cxn>
                  <a:cxn ang="0">
                    <a:pos x="102" y="205"/>
                  </a:cxn>
                  <a:cxn ang="0">
                    <a:pos x="146" y="180"/>
                  </a:cxn>
                  <a:cxn ang="0">
                    <a:pos x="118" y="167"/>
                  </a:cxn>
                  <a:cxn ang="0">
                    <a:pos x="138" y="137"/>
                  </a:cxn>
                  <a:cxn ang="0">
                    <a:pos x="119" y="136"/>
                  </a:cxn>
                  <a:cxn ang="0">
                    <a:pos x="71" y="138"/>
                  </a:cxn>
                  <a:cxn ang="0">
                    <a:pos x="0" y="144"/>
                  </a:cxn>
                  <a:cxn ang="0">
                    <a:pos x="43" y="130"/>
                  </a:cxn>
                  <a:cxn ang="0">
                    <a:pos x="21" y="97"/>
                  </a:cxn>
                  <a:cxn ang="0">
                    <a:pos x="68" y="108"/>
                  </a:cxn>
                  <a:cxn ang="0">
                    <a:pos x="53" y="86"/>
                  </a:cxn>
                  <a:cxn ang="0">
                    <a:pos x="54" y="71"/>
                  </a:cxn>
                  <a:cxn ang="0">
                    <a:pos x="77" y="57"/>
                  </a:cxn>
                  <a:cxn ang="0">
                    <a:pos x="102" y="79"/>
                  </a:cxn>
                  <a:cxn ang="0">
                    <a:pos x="112" y="66"/>
                  </a:cxn>
                  <a:cxn ang="0">
                    <a:pos x="103" y="40"/>
                  </a:cxn>
                  <a:cxn ang="0">
                    <a:pos x="95" y="24"/>
                  </a:cxn>
                  <a:cxn ang="0">
                    <a:pos x="77" y="9"/>
                  </a:cxn>
                  <a:cxn ang="0">
                    <a:pos x="109" y="17"/>
                  </a:cxn>
                  <a:cxn ang="0">
                    <a:pos x="155" y="60"/>
                  </a:cxn>
                  <a:cxn ang="0">
                    <a:pos x="176" y="100"/>
                  </a:cxn>
                  <a:cxn ang="0">
                    <a:pos x="156" y="117"/>
                  </a:cxn>
                  <a:cxn ang="0">
                    <a:pos x="172" y="146"/>
                  </a:cxn>
                  <a:cxn ang="0">
                    <a:pos x="189" y="152"/>
                  </a:cxn>
                  <a:cxn ang="0">
                    <a:pos x="217" y="127"/>
                  </a:cxn>
                  <a:cxn ang="0">
                    <a:pos x="229" y="72"/>
                  </a:cxn>
                  <a:cxn ang="0">
                    <a:pos x="265" y="95"/>
                  </a:cxn>
                  <a:cxn ang="0">
                    <a:pos x="283" y="76"/>
                  </a:cxn>
                  <a:cxn ang="0">
                    <a:pos x="318" y="45"/>
                  </a:cxn>
                  <a:cxn ang="0">
                    <a:pos x="333" y="77"/>
                  </a:cxn>
                  <a:cxn ang="0">
                    <a:pos x="355" y="103"/>
                  </a:cxn>
                  <a:cxn ang="0">
                    <a:pos x="349" y="47"/>
                  </a:cxn>
                  <a:cxn ang="0">
                    <a:pos x="392" y="65"/>
                  </a:cxn>
                  <a:cxn ang="0">
                    <a:pos x="424" y="57"/>
                  </a:cxn>
                  <a:cxn ang="0">
                    <a:pos x="437" y="7"/>
                  </a:cxn>
                  <a:cxn ang="0">
                    <a:pos x="480" y="19"/>
                  </a:cxn>
                  <a:cxn ang="0">
                    <a:pos x="504" y="44"/>
                  </a:cxn>
                  <a:cxn ang="0">
                    <a:pos x="543" y="19"/>
                  </a:cxn>
                  <a:cxn ang="0">
                    <a:pos x="523" y="72"/>
                  </a:cxn>
                  <a:cxn ang="0">
                    <a:pos x="560" y="106"/>
                  </a:cxn>
                  <a:cxn ang="0">
                    <a:pos x="582" y="120"/>
                  </a:cxn>
                  <a:cxn ang="0">
                    <a:pos x="600" y="179"/>
                  </a:cxn>
                  <a:cxn ang="0">
                    <a:pos x="591" y="217"/>
                  </a:cxn>
                  <a:cxn ang="0">
                    <a:pos x="550" y="243"/>
                  </a:cxn>
                  <a:cxn ang="0">
                    <a:pos x="555" y="270"/>
                  </a:cxn>
                  <a:cxn ang="0">
                    <a:pos x="516" y="285"/>
                  </a:cxn>
                  <a:cxn ang="0">
                    <a:pos x="483" y="309"/>
                  </a:cxn>
                  <a:cxn ang="0">
                    <a:pos x="413" y="347"/>
                  </a:cxn>
                  <a:cxn ang="0">
                    <a:pos x="385" y="364"/>
                  </a:cxn>
                  <a:cxn ang="0">
                    <a:pos x="302" y="407"/>
                  </a:cxn>
                </a:cxnLst>
                <a:rect l="0" t="0" r="r" b="b"/>
                <a:pathLst>
                  <a:path w="603" h="409">
                    <a:moveTo>
                      <a:pt x="251" y="389"/>
                    </a:moveTo>
                    <a:lnTo>
                      <a:pt x="248" y="390"/>
                    </a:lnTo>
                    <a:lnTo>
                      <a:pt x="240" y="384"/>
                    </a:lnTo>
                    <a:lnTo>
                      <a:pt x="231" y="382"/>
                    </a:lnTo>
                    <a:lnTo>
                      <a:pt x="221" y="370"/>
                    </a:lnTo>
                    <a:lnTo>
                      <a:pt x="202" y="356"/>
                    </a:lnTo>
                    <a:lnTo>
                      <a:pt x="182" y="348"/>
                    </a:lnTo>
                    <a:lnTo>
                      <a:pt x="170" y="353"/>
                    </a:lnTo>
                    <a:lnTo>
                      <a:pt x="151" y="348"/>
                    </a:lnTo>
                    <a:lnTo>
                      <a:pt x="145" y="352"/>
                    </a:lnTo>
                    <a:lnTo>
                      <a:pt x="135" y="352"/>
                    </a:lnTo>
                    <a:lnTo>
                      <a:pt x="118" y="351"/>
                    </a:lnTo>
                    <a:lnTo>
                      <a:pt x="111" y="357"/>
                    </a:lnTo>
                    <a:lnTo>
                      <a:pt x="102" y="355"/>
                    </a:lnTo>
                    <a:lnTo>
                      <a:pt x="103" y="337"/>
                    </a:lnTo>
                    <a:lnTo>
                      <a:pt x="100" y="324"/>
                    </a:lnTo>
                    <a:lnTo>
                      <a:pt x="113" y="334"/>
                    </a:lnTo>
                    <a:lnTo>
                      <a:pt x="119" y="325"/>
                    </a:lnTo>
                    <a:lnTo>
                      <a:pt x="135" y="319"/>
                    </a:lnTo>
                    <a:lnTo>
                      <a:pt x="150" y="308"/>
                    </a:lnTo>
                    <a:lnTo>
                      <a:pt x="150" y="288"/>
                    </a:lnTo>
                    <a:lnTo>
                      <a:pt x="131" y="293"/>
                    </a:lnTo>
                    <a:lnTo>
                      <a:pt x="141" y="283"/>
                    </a:lnTo>
                    <a:lnTo>
                      <a:pt x="143" y="278"/>
                    </a:lnTo>
                    <a:lnTo>
                      <a:pt x="141" y="270"/>
                    </a:lnTo>
                    <a:lnTo>
                      <a:pt x="150" y="259"/>
                    </a:lnTo>
                    <a:lnTo>
                      <a:pt x="140" y="260"/>
                    </a:lnTo>
                    <a:lnTo>
                      <a:pt x="134" y="271"/>
                    </a:lnTo>
                    <a:lnTo>
                      <a:pt x="128" y="266"/>
                    </a:lnTo>
                    <a:lnTo>
                      <a:pt x="127" y="259"/>
                    </a:lnTo>
                    <a:lnTo>
                      <a:pt x="122" y="260"/>
                    </a:lnTo>
                    <a:lnTo>
                      <a:pt x="120" y="255"/>
                    </a:lnTo>
                    <a:lnTo>
                      <a:pt x="119" y="245"/>
                    </a:lnTo>
                    <a:lnTo>
                      <a:pt x="116" y="228"/>
                    </a:lnTo>
                    <a:lnTo>
                      <a:pt x="108" y="227"/>
                    </a:lnTo>
                    <a:lnTo>
                      <a:pt x="95" y="232"/>
                    </a:lnTo>
                    <a:lnTo>
                      <a:pt x="90" y="227"/>
                    </a:lnTo>
                    <a:lnTo>
                      <a:pt x="81" y="226"/>
                    </a:lnTo>
                    <a:lnTo>
                      <a:pt x="69" y="226"/>
                    </a:lnTo>
                    <a:lnTo>
                      <a:pt x="59" y="228"/>
                    </a:lnTo>
                    <a:lnTo>
                      <a:pt x="49" y="235"/>
                    </a:lnTo>
                    <a:lnTo>
                      <a:pt x="37" y="238"/>
                    </a:lnTo>
                    <a:lnTo>
                      <a:pt x="32" y="232"/>
                    </a:lnTo>
                    <a:lnTo>
                      <a:pt x="33" y="219"/>
                    </a:lnTo>
                    <a:lnTo>
                      <a:pt x="48" y="218"/>
                    </a:lnTo>
                    <a:lnTo>
                      <a:pt x="66" y="213"/>
                    </a:lnTo>
                    <a:lnTo>
                      <a:pt x="73" y="207"/>
                    </a:lnTo>
                    <a:lnTo>
                      <a:pt x="85" y="207"/>
                    </a:lnTo>
                    <a:lnTo>
                      <a:pt x="96" y="197"/>
                    </a:lnTo>
                    <a:lnTo>
                      <a:pt x="102" y="205"/>
                    </a:lnTo>
                    <a:lnTo>
                      <a:pt x="111" y="196"/>
                    </a:lnTo>
                    <a:lnTo>
                      <a:pt x="122" y="200"/>
                    </a:lnTo>
                    <a:lnTo>
                      <a:pt x="144" y="201"/>
                    </a:lnTo>
                    <a:lnTo>
                      <a:pt x="152" y="178"/>
                    </a:lnTo>
                    <a:lnTo>
                      <a:pt x="146" y="180"/>
                    </a:lnTo>
                    <a:lnTo>
                      <a:pt x="140" y="191"/>
                    </a:lnTo>
                    <a:lnTo>
                      <a:pt x="133" y="187"/>
                    </a:lnTo>
                    <a:lnTo>
                      <a:pt x="111" y="184"/>
                    </a:lnTo>
                    <a:lnTo>
                      <a:pt x="111" y="176"/>
                    </a:lnTo>
                    <a:lnTo>
                      <a:pt x="118" y="167"/>
                    </a:lnTo>
                    <a:lnTo>
                      <a:pt x="125" y="165"/>
                    </a:lnTo>
                    <a:lnTo>
                      <a:pt x="130" y="159"/>
                    </a:lnTo>
                    <a:lnTo>
                      <a:pt x="147" y="147"/>
                    </a:lnTo>
                    <a:lnTo>
                      <a:pt x="147" y="144"/>
                    </a:lnTo>
                    <a:lnTo>
                      <a:pt x="138" y="137"/>
                    </a:lnTo>
                    <a:lnTo>
                      <a:pt x="131" y="143"/>
                    </a:lnTo>
                    <a:lnTo>
                      <a:pt x="124" y="143"/>
                    </a:lnTo>
                    <a:lnTo>
                      <a:pt x="124" y="137"/>
                    </a:lnTo>
                    <a:lnTo>
                      <a:pt x="119" y="133"/>
                    </a:lnTo>
                    <a:lnTo>
                      <a:pt x="119" y="136"/>
                    </a:lnTo>
                    <a:lnTo>
                      <a:pt x="116" y="127"/>
                    </a:lnTo>
                    <a:lnTo>
                      <a:pt x="112" y="126"/>
                    </a:lnTo>
                    <a:lnTo>
                      <a:pt x="90" y="124"/>
                    </a:lnTo>
                    <a:lnTo>
                      <a:pt x="82" y="127"/>
                    </a:lnTo>
                    <a:lnTo>
                      <a:pt x="71" y="138"/>
                    </a:lnTo>
                    <a:lnTo>
                      <a:pt x="64" y="138"/>
                    </a:lnTo>
                    <a:lnTo>
                      <a:pt x="48" y="147"/>
                    </a:lnTo>
                    <a:lnTo>
                      <a:pt x="42" y="147"/>
                    </a:lnTo>
                    <a:lnTo>
                      <a:pt x="25" y="137"/>
                    </a:lnTo>
                    <a:lnTo>
                      <a:pt x="0" y="144"/>
                    </a:lnTo>
                    <a:lnTo>
                      <a:pt x="4" y="132"/>
                    </a:lnTo>
                    <a:lnTo>
                      <a:pt x="9" y="122"/>
                    </a:lnTo>
                    <a:lnTo>
                      <a:pt x="15" y="127"/>
                    </a:lnTo>
                    <a:lnTo>
                      <a:pt x="34" y="136"/>
                    </a:lnTo>
                    <a:lnTo>
                      <a:pt x="43" y="130"/>
                    </a:lnTo>
                    <a:lnTo>
                      <a:pt x="31" y="125"/>
                    </a:lnTo>
                    <a:lnTo>
                      <a:pt x="34" y="124"/>
                    </a:lnTo>
                    <a:lnTo>
                      <a:pt x="36" y="116"/>
                    </a:lnTo>
                    <a:lnTo>
                      <a:pt x="26" y="110"/>
                    </a:lnTo>
                    <a:lnTo>
                      <a:pt x="21" y="97"/>
                    </a:lnTo>
                    <a:lnTo>
                      <a:pt x="44" y="108"/>
                    </a:lnTo>
                    <a:lnTo>
                      <a:pt x="53" y="120"/>
                    </a:lnTo>
                    <a:lnTo>
                      <a:pt x="70" y="116"/>
                    </a:lnTo>
                    <a:lnTo>
                      <a:pt x="63" y="111"/>
                    </a:lnTo>
                    <a:lnTo>
                      <a:pt x="68" y="108"/>
                    </a:lnTo>
                    <a:lnTo>
                      <a:pt x="69" y="100"/>
                    </a:lnTo>
                    <a:lnTo>
                      <a:pt x="50" y="103"/>
                    </a:lnTo>
                    <a:lnTo>
                      <a:pt x="41" y="92"/>
                    </a:lnTo>
                    <a:lnTo>
                      <a:pt x="42" y="88"/>
                    </a:lnTo>
                    <a:lnTo>
                      <a:pt x="53" y="86"/>
                    </a:lnTo>
                    <a:lnTo>
                      <a:pt x="44" y="78"/>
                    </a:lnTo>
                    <a:lnTo>
                      <a:pt x="37" y="65"/>
                    </a:lnTo>
                    <a:lnTo>
                      <a:pt x="38" y="67"/>
                    </a:lnTo>
                    <a:lnTo>
                      <a:pt x="52" y="73"/>
                    </a:lnTo>
                    <a:lnTo>
                      <a:pt x="54" y="71"/>
                    </a:lnTo>
                    <a:lnTo>
                      <a:pt x="47" y="59"/>
                    </a:lnTo>
                    <a:lnTo>
                      <a:pt x="58" y="63"/>
                    </a:lnTo>
                    <a:lnTo>
                      <a:pt x="50" y="51"/>
                    </a:lnTo>
                    <a:lnTo>
                      <a:pt x="58" y="47"/>
                    </a:lnTo>
                    <a:lnTo>
                      <a:pt x="77" y="57"/>
                    </a:lnTo>
                    <a:lnTo>
                      <a:pt x="77" y="73"/>
                    </a:lnTo>
                    <a:lnTo>
                      <a:pt x="80" y="74"/>
                    </a:lnTo>
                    <a:lnTo>
                      <a:pt x="87" y="77"/>
                    </a:lnTo>
                    <a:lnTo>
                      <a:pt x="93" y="70"/>
                    </a:lnTo>
                    <a:lnTo>
                      <a:pt x="102" y="79"/>
                    </a:lnTo>
                    <a:lnTo>
                      <a:pt x="104" y="93"/>
                    </a:lnTo>
                    <a:lnTo>
                      <a:pt x="108" y="81"/>
                    </a:lnTo>
                    <a:lnTo>
                      <a:pt x="113" y="93"/>
                    </a:lnTo>
                    <a:lnTo>
                      <a:pt x="119" y="79"/>
                    </a:lnTo>
                    <a:lnTo>
                      <a:pt x="112" y="66"/>
                    </a:lnTo>
                    <a:lnTo>
                      <a:pt x="113" y="60"/>
                    </a:lnTo>
                    <a:lnTo>
                      <a:pt x="97" y="51"/>
                    </a:lnTo>
                    <a:lnTo>
                      <a:pt x="89" y="44"/>
                    </a:lnTo>
                    <a:lnTo>
                      <a:pt x="95" y="33"/>
                    </a:lnTo>
                    <a:lnTo>
                      <a:pt x="103" y="40"/>
                    </a:lnTo>
                    <a:lnTo>
                      <a:pt x="108" y="40"/>
                    </a:lnTo>
                    <a:lnTo>
                      <a:pt x="112" y="38"/>
                    </a:lnTo>
                    <a:lnTo>
                      <a:pt x="103" y="29"/>
                    </a:lnTo>
                    <a:lnTo>
                      <a:pt x="101" y="24"/>
                    </a:lnTo>
                    <a:lnTo>
                      <a:pt x="95" y="24"/>
                    </a:lnTo>
                    <a:lnTo>
                      <a:pt x="85" y="30"/>
                    </a:lnTo>
                    <a:lnTo>
                      <a:pt x="76" y="27"/>
                    </a:lnTo>
                    <a:lnTo>
                      <a:pt x="76" y="25"/>
                    </a:lnTo>
                    <a:lnTo>
                      <a:pt x="80" y="18"/>
                    </a:lnTo>
                    <a:lnTo>
                      <a:pt x="77" y="9"/>
                    </a:lnTo>
                    <a:lnTo>
                      <a:pt x="87" y="11"/>
                    </a:lnTo>
                    <a:lnTo>
                      <a:pt x="87" y="6"/>
                    </a:lnTo>
                    <a:lnTo>
                      <a:pt x="97" y="16"/>
                    </a:lnTo>
                    <a:lnTo>
                      <a:pt x="103" y="13"/>
                    </a:lnTo>
                    <a:lnTo>
                      <a:pt x="109" y="17"/>
                    </a:lnTo>
                    <a:lnTo>
                      <a:pt x="114" y="14"/>
                    </a:lnTo>
                    <a:lnTo>
                      <a:pt x="124" y="33"/>
                    </a:lnTo>
                    <a:lnTo>
                      <a:pt x="139" y="36"/>
                    </a:lnTo>
                    <a:lnTo>
                      <a:pt x="145" y="47"/>
                    </a:lnTo>
                    <a:lnTo>
                      <a:pt x="155" y="60"/>
                    </a:lnTo>
                    <a:lnTo>
                      <a:pt x="166" y="63"/>
                    </a:lnTo>
                    <a:lnTo>
                      <a:pt x="173" y="71"/>
                    </a:lnTo>
                    <a:lnTo>
                      <a:pt x="163" y="78"/>
                    </a:lnTo>
                    <a:lnTo>
                      <a:pt x="174" y="86"/>
                    </a:lnTo>
                    <a:lnTo>
                      <a:pt x="176" y="100"/>
                    </a:lnTo>
                    <a:lnTo>
                      <a:pt x="171" y="104"/>
                    </a:lnTo>
                    <a:lnTo>
                      <a:pt x="170" y="109"/>
                    </a:lnTo>
                    <a:lnTo>
                      <a:pt x="166" y="114"/>
                    </a:lnTo>
                    <a:lnTo>
                      <a:pt x="152" y="106"/>
                    </a:lnTo>
                    <a:lnTo>
                      <a:pt x="156" y="117"/>
                    </a:lnTo>
                    <a:lnTo>
                      <a:pt x="170" y="124"/>
                    </a:lnTo>
                    <a:lnTo>
                      <a:pt x="168" y="133"/>
                    </a:lnTo>
                    <a:lnTo>
                      <a:pt x="174" y="126"/>
                    </a:lnTo>
                    <a:lnTo>
                      <a:pt x="177" y="140"/>
                    </a:lnTo>
                    <a:lnTo>
                      <a:pt x="172" y="146"/>
                    </a:lnTo>
                    <a:lnTo>
                      <a:pt x="181" y="149"/>
                    </a:lnTo>
                    <a:lnTo>
                      <a:pt x="182" y="157"/>
                    </a:lnTo>
                    <a:lnTo>
                      <a:pt x="182" y="175"/>
                    </a:lnTo>
                    <a:lnTo>
                      <a:pt x="189" y="162"/>
                    </a:lnTo>
                    <a:lnTo>
                      <a:pt x="189" y="152"/>
                    </a:lnTo>
                    <a:lnTo>
                      <a:pt x="202" y="151"/>
                    </a:lnTo>
                    <a:lnTo>
                      <a:pt x="202" y="127"/>
                    </a:lnTo>
                    <a:lnTo>
                      <a:pt x="206" y="116"/>
                    </a:lnTo>
                    <a:lnTo>
                      <a:pt x="215" y="117"/>
                    </a:lnTo>
                    <a:lnTo>
                      <a:pt x="217" y="127"/>
                    </a:lnTo>
                    <a:lnTo>
                      <a:pt x="222" y="137"/>
                    </a:lnTo>
                    <a:lnTo>
                      <a:pt x="229" y="127"/>
                    </a:lnTo>
                    <a:lnTo>
                      <a:pt x="232" y="113"/>
                    </a:lnTo>
                    <a:lnTo>
                      <a:pt x="233" y="97"/>
                    </a:lnTo>
                    <a:lnTo>
                      <a:pt x="229" y="72"/>
                    </a:lnTo>
                    <a:lnTo>
                      <a:pt x="227" y="59"/>
                    </a:lnTo>
                    <a:lnTo>
                      <a:pt x="233" y="56"/>
                    </a:lnTo>
                    <a:lnTo>
                      <a:pt x="240" y="59"/>
                    </a:lnTo>
                    <a:lnTo>
                      <a:pt x="256" y="76"/>
                    </a:lnTo>
                    <a:lnTo>
                      <a:pt x="265" y="95"/>
                    </a:lnTo>
                    <a:lnTo>
                      <a:pt x="269" y="106"/>
                    </a:lnTo>
                    <a:lnTo>
                      <a:pt x="275" y="106"/>
                    </a:lnTo>
                    <a:lnTo>
                      <a:pt x="281" y="104"/>
                    </a:lnTo>
                    <a:lnTo>
                      <a:pt x="284" y="88"/>
                    </a:lnTo>
                    <a:lnTo>
                      <a:pt x="283" y="76"/>
                    </a:lnTo>
                    <a:lnTo>
                      <a:pt x="280" y="66"/>
                    </a:lnTo>
                    <a:lnTo>
                      <a:pt x="292" y="61"/>
                    </a:lnTo>
                    <a:lnTo>
                      <a:pt x="299" y="65"/>
                    </a:lnTo>
                    <a:lnTo>
                      <a:pt x="305" y="54"/>
                    </a:lnTo>
                    <a:lnTo>
                      <a:pt x="318" y="45"/>
                    </a:lnTo>
                    <a:lnTo>
                      <a:pt x="318" y="55"/>
                    </a:lnTo>
                    <a:lnTo>
                      <a:pt x="321" y="55"/>
                    </a:lnTo>
                    <a:lnTo>
                      <a:pt x="323" y="61"/>
                    </a:lnTo>
                    <a:lnTo>
                      <a:pt x="331" y="63"/>
                    </a:lnTo>
                    <a:lnTo>
                      <a:pt x="333" y="77"/>
                    </a:lnTo>
                    <a:lnTo>
                      <a:pt x="340" y="84"/>
                    </a:lnTo>
                    <a:lnTo>
                      <a:pt x="346" y="95"/>
                    </a:lnTo>
                    <a:lnTo>
                      <a:pt x="349" y="111"/>
                    </a:lnTo>
                    <a:lnTo>
                      <a:pt x="353" y="117"/>
                    </a:lnTo>
                    <a:lnTo>
                      <a:pt x="355" y="103"/>
                    </a:lnTo>
                    <a:lnTo>
                      <a:pt x="355" y="89"/>
                    </a:lnTo>
                    <a:lnTo>
                      <a:pt x="353" y="81"/>
                    </a:lnTo>
                    <a:lnTo>
                      <a:pt x="344" y="60"/>
                    </a:lnTo>
                    <a:lnTo>
                      <a:pt x="344" y="50"/>
                    </a:lnTo>
                    <a:lnTo>
                      <a:pt x="349" y="47"/>
                    </a:lnTo>
                    <a:lnTo>
                      <a:pt x="360" y="50"/>
                    </a:lnTo>
                    <a:lnTo>
                      <a:pt x="370" y="59"/>
                    </a:lnTo>
                    <a:lnTo>
                      <a:pt x="377" y="72"/>
                    </a:lnTo>
                    <a:lnTo>
                      <a:pt x="387" y="70"/>
                    </a:lnTo>
                    <a:lnTo>
                      <a:pt x="392" y="65"/>
                    </a:lnTo>
                    <a:lnTo>
                      <a:pt x="397" y="55"/>
                    </a:lnTo>
                    <a:lnTo>
                      <a:pt x="397" y="49"/>
                    </a:lnTo>
                    <a:lnTo>
                      <a:pt x="410" y="46"/>
                    </a:lnTo>
                    <a:lnTo>
                      <a:pt x="412" y="56"/>
                    </a:lnTo>
                    <a:lnTo>
                      <a:pt x="424" y="57"/>
                    </a:lnTo>
                    <a:lnTo>
                      <a:pt x="432" y="51"/>
                    </a:lnTo>
                    <a:lnTo>
                      <a:pt x="444" y="50"/>
                    </a:lnTo>
                    <a:lnTo>
                      <a:pt x="444" y="28"/>
                    </a:lnTo>
                    <a:lnTo>
                      <a:pt x="441" y="16"/>
                    </a:lnTo>
                    <a:lnTo>
                      <a:pt x="437" y="7"/>
                    </a:lnTo>
                    <a:lnTo>
                      <a:pt x="448" y="8"/>
                    </a:lnTo>
                    <a:lnTo>
                      <a:pt x="456" y="0"/>
                    </a:lnTo>
                    <a:lnTo>
                      <a:pt x="464" y="1"/>
                    </a:lnTo>
                    <a:lnTo>
                      <a:pt x="468" y="13"/>
                    </a:lnTo>
                    <a:lnTo>
                      <a:pt x="480" y="19"/>
                    </a:lnTo>
                    <a:lnTo>
                      <a:pt x="482" y="31"/>
                    </a:lnTo>
                    <a:lnTo>
                      <a:pt x="479" y="36"/>
                    </a:lnTo>
                    <a:lnTo>
                      <a:pt x="495" y="49"/>
                    </a:lnTo>
                    <a:lnTo>
                      <a:pt x="501" y="49"/>
                    </a:lnTo>
                    <a:lnTo>
                      <a:pt x="504" y="44"/>
                    </a:lnTo>
                    <a:lnTo>
                      <a:pt x="502" y="36"/>
                    </a:lnTo>
                    <a:lnTo>
                      <a:pt x="518" y="36"/>
                    </a:lnTo>
                    <a:lnTo>
                      <a:pt x="523" y="23"/>
                    </a:lnTo>
                    <a:lnTo>
                      <a:pt x="530" y="20"/>
                    </a:lnTo>
                    <a:lnTo>
                      <a:pt x="543" y="19"/>
                    </a:lnTo>
                    <a:lnTo>
                      <a:pt x="547" y="23"/>
                    </a:lnTo>
                    <a:lnTo>
                      <a:pt x="532" y="30"/>
                    </a:lnTo>
                    <a:lnTo>
                      <a:pt x="515" y="59"/>
                    </a:lnTo>
                    <a:lnTo>
                      <a:pt x="518" y="67"/>
                    </a:lnTo>
                    <a:lnTo>
                      <a:pt x="523" y="72"/>
                    </a:lnTo>
                    <a:lnTo>
                      <a:pt x="538" y="63"/>
                    </a:lnTo>
                    <a:lnTo>
                      <a:pt x="542" y="82"/>
                    </a:lnTo>
                    <a:lnTo>
                      <a:pt x="536" y="99"/>
                    </a:lnTo>
                    <a:lnTo>
                      <a:pt x="536" y="109"/>
                    </a:lnTo>
                    <a:lnTo>
                      <a:pt x="560" y="106"/>
                    </a:lnTo>
                    <a:lnTo>
                      <a:pt x="559" y="115"/>
                    </a:lnTo>
                    <a:lnTo>
                      <a:pt x="560" y="124"/>
                    </a:lnTo>
                    <a:lnTo>
                      <a:pt x="576" y="129"/>
                    </a:lnTo>
                    <a:lnTo>
                      <a:pt x="577" y="115"/>
                    </a:lnTo>
                    <a:lnTo>
                      <a:pt x="582" y="120"/>
                    </a:lnTo>
                    <a:lnTo>
                      <a:pt x="593" y="147"/>
                    </a:lnTo>
                    <a:lnTo>
                      <a:pt x="592" y="159"/>
                    </a:lnTo>
                    <a:lnTo>
                      <a:pt x="586" y="165"/>
                    </a:lnTo>
                    <a:lnTo>
                      <a:pt x="592" y="180"/>
                    </a:lnTo>
                    <a:lnTo>
                      <a:pt x="600" y="179"/>
                    </a:lnTo>
                    <a:lnTo>
                      <a:pt x="603" y="174"/>
                    </a:lnTo>
                    <a:lnTo>
                      <a:pt x="603" y="189"/>
                    </a:lnTo>
                    <a:lnTo>
                      <a:pt x="600" y="202"/>
                    </a:lnTo>
                    <a:lnTo>
                      <a:pt x="591" y="206"/>
                    </a:lnTo>
                    <a:lnTo>
                      <a:pt x="591" y="217"/>
                    </a:lnTo>
                    <a:lnTo>
                      <a:pt x="587" y="219"/>
                    </a:lnTo>
                    <a:lnTo>
                      <a:pt x="580" y="229"/>
                    </a:lnTo>
                    <a:lnTo>
                      <a:pt x="560" y="234"/>
                    </a:lnTo>
                    <a:lnTo>
                      <a:pt x="560" y="244"/>
                    </a:lnTo>
                    <a:lnTo>
                      <a:pt x="550" y="243"/>
                    </a:lnTo>
                    <a:lnTo>
                      <a:pt x="553" y="246"/>
                    </a:lnTo>
                    <a:lnTo>
                      <a:pt x="548" y="253"/>
                    </a:lnTo>
                    <a:lnTo>
                      <a:pt x="555" y="254"/>
                    </a:lnTo>
                    <a:lnTo>
                      <a:pt x="565" y="246"/>
                    </a:lnTo>
                    <a:lnTo>
                      <a:pt x="555" y="270"/>
                    </a:lnTo>
                    <a:lnTo>
                      <a:pt x="545" y="282"/>
                    </a:lnTo>
                    <a:lnTo>
                      <a:pt x="532" y="287"/>
                    </a:lnTo>
                    <a:lnTo>
                      <a:pt x="528" y="299"/>
                    </a:lnTo>
                    <a:lnTo>
                      <a:pt x="516" y="292"/>
                    </a:lnTo>
                    <a:lnTo>
                      <a:pt x="516" y="285"/>
                    </a:lnTo>
                    <a:lnTo>
                      <a:pt x="510" y="278"/>
                    </a:lnTo>
                    <a:lnTo>
                      <a:pt x="504" y="277"/>
                    </a:lnTo>
                    <a:lnTo>
                      <a:pt x="501" y="291"/>
                    </a:lnTo>
                    <a:lnTo>
                      <a:pt x="488" y="300"/>
                    </a:lnTo>
                    <a:lnTo>
                      <a:pt x="483" y="309"/>
                    </a:lnTo>
                    <a:lnTo>
                      <a:pt x="467" y="325"/>
                    </a:lnTo>
                    <a:lnTo>
                      <a:pt x="450" y="337"/>
                    </a:lnTo>
                    <a:lnTo>
                      <a:pt x="437" y="345"/>
                    </a:lnTo>
                    <a:lnTo>
                      <a:pt x="423" y="343"/>
                    </a:lnTo>
                    <a:lnTo>
                      <a:pt x="413" y="347"/>
                    </a:lnTo>
                    <a:lnTo>
                      <a:pt x="410" y="341"/>
                    </a:lnTo>
                    <a:lnTo>
                      <a:pt x="404" y="346"/>
                    </a:lnTo>
                    <a:lnTo>
                      <a:pt x="401" y="351"/>
                    </a:lnTo>
                    <a:lnTo>
                      <a:pt x="401" y="359"/>
                    </a:lnTo>
                    <a:lnTo>
                      <a:pt x="385" y="364"/>
                    </a:lnTo>
                    <a:lnTo>
                      <a:pt x="356" y="394"/>
                    </a:lnTo>
                    <a:lnTo>
                      <a:pt x="332" y="402"/>
                    </a:lnTo>
                    <a:lnTo>
                      <a:pt x="324" y="409"/>
                    </a:lnTo>
                    <a:lnTo>
                      <a:pt x="310" y="404"/>
                    </a:lnTo>
                    <a:lnTo>
                      <a:pt x="302" y="407"/>
                    </a:lnTo>
                    <a:lnTo>
                      <a:pt x="291" y="399"/>
                    </a:lnTo>
                    <a:lnTo>
                      <a:pt x="279" y="396"/>
                    </a:lnTo>
                    <a:lnTo>
                      <a:pt x="260" y="388"/>
                    </a:lnTo>
                    <a:lnTo>
                      <a:pt x="251" y="38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4" name="Russia"/>
              <p:cNvSpPr>
                <a:spLocks noChangeAspect="1"/>
              </p:cNvSpPr>
              <p:nvPr>
                <p:custDataLst>
                  <p:tags r:id="rId220"/>
                </p:custDataLst>
              </p:nvPr>
            </p:nvSpPr>
            <p:spPr bwMode="gray">
              <a:xfrm>
                <a:off x="4938186" y="2909385"/>
                <a:ext cx="84262" cy="63196"/>
              </a:xfrm>
              <a:custGeom>
                <a:avLst/>
                <a:gdLst/>
                <a:ahLst/>
                <a:cxnLst>
                  <a:cxn ang="0">
                    <a:pos x="0" y="118"/>
                  </a:cxn>
                  <a:cxn ang="0">
                    <a:pos x="2" y="114"/>
                  </a:cxn>
                  <a:cxn ang="0">
                    <a:pos x="12" y="107"/>
                  </a:cxn>
                  <a:cxn ang="0">
                    <a:pos x="14" y="102"/>
                  </a:cxn>
                  <a:cxn ang="0">
                    <a:pos x="19" y="87"/>
                  </a:cxn>
                  <a:cxn ang="0">
                    <a:pos x="21" y="76"/>
                  </a:cxn>
                  <a:cxn ang="0">
                    <a:pos x="25" y="70"/>
                  </a:cxn>
                  <a:cxn ang="0">
                    <a:pos x="46" y="69"/>
                  </a:cxn>
                  <a:cxn ang="0">
                    <a:pos x="55" y="63"/>
                  </a:cxn>
                  <a:cxn ang="0">
                    <a:pos x="67" y="48"/>
                  </a:cxn>
                  <a:cxn ang="0">
                    <a:pos x="77" y="32"/>
                  </a:cxn>
                  <a:cxn ang="0">
                    <a:pos x="82" y="15"/>
                  </a:cxn>
                  <a:cxn ang="0">
                    <a:pos x="83" y="0"/>
                  </a:cxn>
                  <a:cxn ang="0">
                    <a:pos x="79" y="27"/>
                  </a:cxn>
                  <a:cxn ang="0">
                    <a:pos x="71" y="46"/>
                  </a:cxn>
                  <a:cxn ang="0">
                    <a:pos x="65" y="55"/>
                  </a:cxn>
                  <a:cxn ang="0">
                    <a:pos x="57" y="64"/>
                  </a:cxn>
                  <a:cxn ang="0">
                    <a:pos x="61" y="71"/>
                  </a:cxn>
                  <a:cxn ang="0">
                    <a:pos x="67" y="70"/>
                  </a:cxn>
                  <a:cxn ang="0">
                    <a:pos x="76" y="75"/>
                  </a:cxn>
                  <a:cxn ang="0">
                    <a:pos x="87" y="75"/>
                  </a:cxn>
                  <a:cxn ang="0">
                    <a:pos x="89" y="66"/>
                  </a:cxn>
                  <a:cxn ang="0">
                    <a:pos x="89" y="49"/>
                  </a:cxn>
                  <a:cxn ang="0">
                    <a:pos x="93" y="44"/>
                  </a:cxn>
                  <a:cxn ang="0">
                    <a:pos x="93" y="41"/>
                  </a:cxn>
                  <a:cxn ang="0">
                    <a:pos x="103" y="38"/>
                  </a:cxn>
                  <a:cxn ang="0">
                    <a:pos x="109" y="43"/>
                  </a:cxn>
                  <a:cxn ang="0">
                    <a:pos x="116" y="46"/>
                  </a:cxn>
                  <a:cxn ang="0">
                    <a:pos x="122" y="50"/>
                  </a:cxn>
                  <a:cxn ang="0">
                    <a:pos x="130" y="54"/>
                  </a:cxn>
                  <a:cxn ang="0">
                    <a:pos x="147" y="57"/>
                  </a:cxn>
                  <a:cxn ang="0">
                    <a:pos x="163" y="55"/>
                  </a:cxn>
                  <a:cxn ang="0">
                    <a:pos x="169" y="59"/>
                  </a:cxn>
                  <a:cxn ang="0">
                    <a:pos x="180" y="82"/>
                  </a:cxn>
                  <a:cxn ang="0">
                    <a:pos x="174" y="97"/>
                  </a:cxn>
                  <a:cxn ang="0">
                    <a:pos x="174" y="114"/>
                  </a:cxn>
                  <a:cxn ang="0">
                    <a:pos x="177" y="124"/>
                  </a:cxn>
                  <a:cxn ang="0">
                    <a:pos x="153" y="127"/>
                  </a:cxn>
                  <a:cxn ang="0">
                    <a:pos x="126" y="133"/>
                  </a:cxn>
                  <a:cxn ang="0">
                    <a:pos x="78" y="134"/>
                  </a:cxn>
                  <a:cxn ang="0">
                    <a:pos x="14" y="123"/>
                  </a:cxn>
                  <a:cxn ang="0">
                    <a:pos x="0" y="118"/>
                  </a:cxn>
                </a:cxnLst>
                <a:rect l="0" t="0" r="r" b="b"/>
                <a:pathLst>
                  <a:path w="180" h="134">
                    <a:moveTo>
                      <a:pt x="0" y="118"/>
                    </a:moveTo>
                    <a:lnTo>
                      <a:pt x="2" y="114"/>
                    </a:lnTo>
                    <a:lnTo>
                      <a:pt x="12" y="107"/>
                    </a:lnTo>
                    <a:lnTo>
                      <a:pt x="14" y="102"/>
                    </a:lnTo>
                    <a:lnTo>
                      <a:pt x="19" y="87"/>
                    </a:lnTo>
                    <a:lnTo>
                      <a:pt x="21" y="76"/>
                    </a:lnTo>
                    <a:lnTo>
                      <a:pt x="25" y="70"/>
                    </a:lnTo>
                    <a:lnTo>
                      <a:pt x="46" y="69"/>
                    </a:lnTo>
                    <a:lnTo>
                      <a:pt x="55" y="63"/>
                    </a:lnTo>
                    <a:lnTo>
                      <a:pt x="67" y="48"/>
                    </a:lnTo>
                    <a:lnTo>
                      <a:pt x="77" y="32"/>
                    </a:lnTo>
                    <a:lnTo>
                      <a:pt x="82" y="15"/>
                    </a:lnTo>
                    <a:lnTo>
                      <a:pt x="83" y="0"/>
                    </a:lnTo>
                    <a:lnTo>
                      <a:pt x="79" y="27"/>
                    </a:lnTo>
                    <a:lnTo>
                      <a:pt x="71" y="46"/>
                    </a:lnTo>
                    <a:lnTo>
                      <a:pt x="65" y="55"/>
                    </a:lnTo>
                    <a:lnTo>
                      <a:pt x="57" y="64"/>
                    </a:lnTo>
                    <a:lnTo>
                      <a:pt x="61" y="71"/>
                    </a:lnTo>
                    <a:lnTo>
                      <a:pt x="67" y="70"/>
                    </a:lnTo>
                    <a:lnTo>
                      <a:pt x="76" y="75"/>
                    </a:lnTo>
                    <a:lnTo>
                      <a:pt x="87" y="75"/>
                    </a:lnTo>
                    <a:lnTo>
                      <a:pt x="89" y="66"/>
                    </a:lnTo>
                    <a:lnTo>
                      <a:pt x="89" y="49"/>
                    </a:lnTo>
                    <a:lnTo>
                      <a:pt x="93" y="44"/>
                    </a:lnTo>
                    <a:lnTo>
                      <a:pt x="93" y="41"/>
                    </a:lnTo>
                    <a:lnTo>
                      <a:pt x="103" y="38"/>
                    </a:lnTo>
                    <a:lnTo>
                      <a:pt x="109" y="43"/>
                    </a:lnTo>
                    <a:lnTo>
                      <a:pt x="116" y="46"/>
                    </a:lnTo>
                    <a:lnTo>
                      <a:pt x="122" y="50"/>
                    </a:lnTo>
                    <a:lnTo>
                      <a:pt x="130" y="54"/>
                    </a:lnTo>
                    <a:lnTo>
                      <a:pt x="147" y="57"/>
                    </a:lnTo>
                    <a:lnTo>
                      <a:pt x="163" y="55"/>
                    </a:lnTo>
                    <a:lnTo>
                      <a:pt x="169" y="59"/>
                    </a:lnTo>
                    <a:lnTo>
                      <a:pt x="180" y="82"/>
                    </a:lnTo>
                    <a:lnTo>
                      <a:pt x="174" y="97"/>
                    </a:lnTo>
                    <a:lnTo>
                      <a:pt x="174" y="114"/>
                    </a:lnTo>
                    <a:lnTo>
                      <a:pt x="177" y="124"/>
                    </a:lnTo>
                    <a:lnTo>
                      <a:pt x="153" y="127"/>
                    </a:lnTo>
                    <a:lnTo>
                      <a:pt x="126" y="133"/>
                    </a:lnTo>
                    <a:lnTo>
                      <a:pt x="78" y="134"/>
                    </a:lnTo>
                    <a:lnTo>
                      <a:pt x="14" y="123"/>
                    </a:lnTo>
                    <a:lnTo>
                      <a:pt x="0" y="11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5" name="Austria"/>
              <p:cNvSpPr>
                <a:spLocks noChangeAspect="1"/>
              </p:cNvSpPr>
              <p:nvPr>
                <p:custDataLst>
                  <p:tags r:id="rId221"/>
                </p:custDataLst>
              </p:nvPr>
            </p:nvSpPr>
            <p:spPr bwMode="gray">
              <a:xfrm>
                <a:off x="4678379" y="3194938"/>
                <a:ext cx="196610" cy="95965"/>
              </a:xfrm>
              <a:custGeom>
                <a:avLst/>
                <a:gdLst/>
                <a:ahLst/>
                <a:cxnLst>
                  <a:cxn ang="0">
                    <a:pos x="234" y="27"/>
                  </a:cxn>
                  <a:cxn ang="0">
                    <a:pos x="213" y="43"/>
                  </a:cxn>
                  <a:cxn ang="0">
                    <a:pos x="188" y="62"/>
                  </a:cxn>
                  <a:cxn ang="0">
                    <a:pos x="184" y="90"/>
                  </a:cxn>
                  <a:cxn ang="0">
                    <a:pos x="191" y="113"/>
                  </a:cxn>
                  <a:cxn ang="0">
                    <a:pos x="179" y="110"/>
                  </a:cxn>
                  <a:cxn ang="0">
                    <a:pos x="153" y="106"/>
                  </a:cxn>
                  <a:cxn ang="0">
                    <a:pos x="116" y="114"/>
                  </a:cxn>
                  <a:cxn ang="0">
                    <a:pos x="83" y="127"/>
                  </a:cxn>
                  <a:cxn ang="0">
                    <a:pos x="59" y="118"/>
                  </a:cxn>
                  <a:cxn ang="0">
                    <a:pos x="49" y="132"/>
                  </a:cxn>
                  <a:cxn ang="0">
                    <a:pos x="34" y="129"/>
                  </a:cxn>
                  <a:cxn ang="0">
                    <a:pos x="19" y="119"/>
                  </a:cxn>
                  <a:cxn ang="0">
                    <a:pos x="0" y="123"/>
                  </a:cxn>
                  <a:cxn ang="0">
                    <a:pos x="16" y="137"/>
                  </a:cxn>
                  <a:cxn ang="0">
                    <a:pos x="17" y="155"/>
                  </a:cxn>
                  <a:cxn ang="0">
                    <a:pos x="17" y="167"/>
                  </a:cxn>
                  <a:cxn ang="0">
                    <a:pos x="36" y="172"/>
                  </a:cxn>
                  <a:cxn ang="0">
                    <a:pos x="51" y="173"/>
                  </a:cxn>
                  <a:cxn ang="0">
                    <a:pos x="68" y="177"/>
                  </a:cxn>
                  <a:cxn ang="0">
                    <a:pos x="104" y="165"/>
                  </a:cxn>
                  <a:cxn ang="0">
                    <a:pos x="132" y="161"/>
                  </a:cxn>
                  <a:cxn ang="0">
                    <a:pos x="143" y="156"/>
                  </a:cxn>
                  <a:cxn ang="0">
                    <a:pos x="146" y="164"/>
                  </a:cxn>
                  <a:cxn ang="0">
                    <a:pos x="152" y="178"/>
                  </a:cxn>
                  <a:cxn ang="0">
                    <a:pos x="168" y="187"/>
                  </a:cxn>
                  <a:cxn ang="0">
                    <a:pos x="208" y="198"/>
                  </a:cxn>
                  <a:cxn ang="0">
                    <a:pos x="231" y="203"/>
                  </a:cxn>
                  <a:cxn ang="0">
                    <a:pos x="275" y="205"/>
                  </a:cxn>
                  <a:cxn ang="0">
                    <a:pos x="292" y="189"/>
                  </a:cxn>
                  <a:cxn ang="0">
                    <a:pos x="325" y="191"/>
                  </a:cxn>
                  <a:cxn ang="0">
                    <a:pos x="334" y="182"/>
                  </a:cxn>
                  <a:cxn ang="0">
                    <a:pos x="353" y="176"/>
                  </a:cxn>
                  <a:cxn ang="0">
                    <a:pos x="372" y="161"/>
                  </a:cxn>
                  <a:cxn ang="0">
                    <a:pos x="382" y="148"/>
                  </a:cxn>
                  <a:cxn ang="0">
                    <a:pos x="390" y="119"/>
                  </a:cxn>
                  <a:cxn ang="0">
                    <a:pos x="388" y="103"/>
                  </a:cxn>
                  <a:cxn ang="0">
                    <a:pos x="420" y="95"/>
                  </a:cxn>
                  <a:cxn ang="0">
                    <a:pos x="412" y="62"/>
                  </a:cxn>
                  <a:cxn ang="0">
                    <a:pos x="406" y="26"/>
                  </a:cxn>
                  <a:cxn ang="0">
                    <a:pos x="362" y="19"/>
                  </a:cxn>
                  <a:cxn ang="0">
                    <a:pos x="340" y="1"/>
                  </a:cxn>
                  <a:cxn ang="0">
                    <a:pos x="301" y="10"/>
                  </a:cxn>
                  <a:cxn ang="0">
                    <a:pos x="287" y="27"/>
                  </a:cxn>
                  <a:cxn ang="0">
                    <a:pos x="267" y="32"/>
                  </a:cxn>
                  <a:cxn ang="0">
                    <a:pos x="249" y="25"/>
                  </a:cxn>
                </a:cxnLst>
                <a:rect l="0" t="0" r="r" b="b"/>
                <a:pathLst>
                  <a:path w="420" h="205">
                    <a:moveTo>
                      <a:pt x="235" y="20"/>
                    </a:moveTo>
                    <a:lnTo>
                      <a:pt x="234" y="27"/>
                    </a:lnTo>
                    <a:lnTo>
                      <a:pt x="217" y="35"/>
                    </a:lnTo>
                    <a:lnTo>
                      <a:pt x="213" y="43"/>
                    </a:lnTo>
                    <a:lnTo>
                      <a:pt x="210" y="53"/>
                    </a:lnTo>
                    <a:lnTo>
                      <a:pt x="188" y="62"/>
                    </a:lnTo>
                    <a:lnTo>
                      <a:pt x="183" y="74"/>
                    </a:lnTo>
                    <a:lnTo>
                      <a:pt x="184" y="90"/>
                    </a:lnTo>
                    <a:lnTo>
                      <a:pt x="191" y="106"/>
                    </a:lnTo>
                    <a:lnTo>
                      <a:pt x="191" y="113"/>
                    </a:lnTo>
                    <a:lnTo>
                      <a:pt x="184" y="117"/>
                    </a:lnTo>
                    <a:lnTo>
                      <a:pt x="179" y="110"/>
                    </a:lnTo>
                    <a:lnTo>
                      <a:pt x="164" y="110"/>
                    </a:lnTo>
                    <a:lnTo>
                      <a:pt x="153" y="106"/>
                    </a:lnTo>
                    <a:lnTo>
                      <a:pt x="149" y="111"/>
                    </a:lnTo>
                    <a:lnTo>
                      <a:pt x="116" y="114"/>
                    </a:lnTo>
                    <a:lnTo>
                      <a:pt x="97" y="127"/>
                    </a:lnTo>
                    <a:lnTo>
                      <a:pt x="83" y="127"/>
                    </a:lnTo>
                    <a:lnTo>
                      <a:pt x="70" y="119"/>
                    </a:lnTo>
                    <a:lnTo>
                      <a:pt x="59" y="118"/>
                    </a:lnTo>
                    <a:lnTo>
                      <a:pt x="51" y="124"/>
                    </a:lnTo>
                    <a:lnTo>
                      <a:pt x="49" y="132"/>
                    </a:lnTo>
                    <a:lnTo>
                      <a:pt x="44" y="134"/>
                    </a:lnTo>
                    <a:lnTo>
                      <a:pt x="34" y="129"/>
                    </a:lnTo>
                    <a:lnTo>
                      <a:pt x="28" y="121"/>
                    </a:lnTo>
                    <a:lnTo>
                      <a:pt x="19" y="119"/>
                    </a:lnTo>
                    <a:lnTo>
                      <a:pt x="11" y="119"/>
                    </a:lnTo>
                    <a:lnTo>
                      <a:pt x="0" y="123"/>
                    </a:lnTo>
                    <a:lnTo>
                      <a:pt x="7" y="132"/>
                    </a:lnTo>
                    <a:lnTo>
                      <a:pt x="16" y="137"/>
                    </a:lnTo>
                    <a:lnTo>
                      <a:pt x="17" y="144"/>
                    </a:lnTo>
                    <a:lnTo>
                      <a:pt x="17" y="155"/>
                    </a:lnTo>
                    <a:lnTo>
                      <a:pt x="11" y="162"/>
                    </a:lnTo>
                    <a:lnTo>
                      <a:pt x="17" y="167"/>
                    </a:lnTo>
                    <a:lnTo>
                      <a:pt x="27" y="171"/>
                    </a:lnTo>
                    <a:lnTo>
                      <a:pt x="36" y="172"/>
                    </a:lnTo>
                    <a:lnTo>
                      <a:pt x="44" y="168"/>
                    </a:lnTo>
                    <a:lnTo>
                      <a:pt x="51" y="173"/>
                    </a:lnTo>
                    <a:lnTo>
                      <a:pt x="65" y="178"/>
                    </a:lnTo>
                    <a:lnTo>
                      <a:pt x="68" y="177"/>
                    </a:lnTo>
                    <a:lnTo>
                      <a:pt x="84" y="172"/>
                    </a:lnTo>
                    <a:lnTo>
                      <a:pt x="104" y="165"/>
                    </a:lnTo>
                    <a:lnTo>
                      <a:pt x="122" y="164"/>
                    </a:lnTo>
                    <a:lnTo>
                      <a:pt x="132" y="161"/>
                    </a:lnTo>
                    <a:lnTo>
                      <a:pt x="137" y="157"/>
                    </a:lnTo>
                    <a:lnTo>
                      <a:pt x="143" y="156"/>
                    </a:lnTo>
                    <a:lnTo>
                      <a:pt x="146" y="159"/>
                    </a:lnTo>
                    <a:lnTo>
                      <a:pt x="146" y="164"/>
                    </a:lnTo>
                    <a:lnTo>
                      <a:pt x="148" y="171"/>
                    </a:lnTo>
                    <a:lnTo>
                      <a:pt x="152" y="178"/>
                    </a:lnTo>
                    <a:lnTo>
                      <a:pt x="163" y="187"/>
                    </a:lnTo>
                    <a:lnTo>
                      <a:pt x="168" y="187"/>
                    </a:lnTo>
                    <a:lnTo>
                      <a:pt x="178" y="193"/>
                    </a:lnTo>
                    <a:lnTo>
                      <a:pt x="208" y="198"/>
                    </a:lnTo>
                    <a:lnTo>
                      <a:pt x="222" y="203"/>
                    </a:lnTo>
                    <a:lnTo>
                      <a:pt x="231" y="203"/>
                    </a:lnTo>
                    <a:lnTo>
                      <a:pt x="247" y="203"/>
                    </a:lnTo>
                    <a:lnTo>
                      <a:pt x="275" y="205"/>
                    </a:lnTo>
                    <a:lnTo>
                      <a:pt x="283" y="200"/>
                    </a:lnTo>
                    <a:lnTo>
                      <a:pt x="292" y="189"/>
                    </a:lnTo>
                    <a:lnTo>
                      <a:pt x="305" y="187"/>
                    </a:lnTo>
                    <a:lnTo>
                      <a:pt x="325" y="191"/>
                    </a:lnTo>
                    <a:lnTo>
                      <a:pt x="330" y="182"/>
                    </a:lnTo>
                    <a:lnTo>
                      <a:pt x="334" y="182"/>
                    </a:lnTo>
                    <a:lnTo>
                      <a:pt x="351" y="184"/>
                    </a:lnTo>
                    <a:lnTo>
                      <a:pt x="353" y="176"/>
                    </a:lnTo>
                    <a:lnTo>
                      <a:pt x="362" y="172"/>
                    </a:lnTo>
                    <a:lnTo>
                      <a:pt x="372" y="161"/>
                    </a:lnTo>
                    <a:lnTo>
                      <a:pt x="383" y="159"/>
                    </a:lnTo>
                    <a:lnTo>
                      <a:pt x="382" y="148"/>
                    </a:lnTo>
                    <a:lnTo>
                      <a:pt x="382" y="138"/>
                    </a:lnTo>
                    <a:lnTo>
                      <a:pt x="390" y="119"/>
                    </a:lnTo>
                    <a:lnTo>
                      <a:pt x="384" y="111"/>
                    </a:lnTo>
                    <a:lnTo>
                      <a:pt x="388" y="103"/>
                    </a:lnTo>
                    <a:lnTo>
                      <a:pt x="415" y="103"/>
                    </a:lnTo>
                    <a:lnTo>
                      <a:pt x="420" y="95"/>
                    </a:lnTo>
                    <a:lnTo>
                      <a:pt x="420" y="75"/>
                    </a:lnTo>
                    <a:lnTo>
                      <a:pt x="412" y="62"/>
                    </a:lnTo>
                    <a:lnTo>
                      <a:pt x="406" y="40"/>
                    </a:lnTo>
                    <a:lnTo>
                      <a:pt x="406" y="26"/>
                    </a:lnTo>
                    <a:lnTo>
                      <a:pt x="398" y="15"/>
                    </a:lnTo>
                    <a:lnTo>
                      <a:pt x="362" y="19"/>
                    </a:lnTo>
                    <a:lnTo>
                      <a:pt x="348" y="6"/>
                    </a:lnTo>
                    <a:lnTo>
                      <a:pt x="340" y="1"/>
                    </a:lnTo>
                    <a:lnTo>
                      <a:pt x="307" y="0"/>
                    </a:lnTo>
                    <a:lnTo>
                      <a:pt x="301" y="10"/>
                    </a:lnTo>
                    <a:lnTo>
                      <a:pt x="297" y="19"/>
                    </a:lnTo>
                    <a:lnTo>
                      <a:pt x="287" y="27"/>
                    </a:lnTo>
                    <a:lnTo>
                      <a:pt x="278" y="31"/>
                    </a:lnTo>
                    <a:lnTo>
                      <a:pt x="267" y="32"/>
                    </a:lnTo>
                    <a:lnTo>
                      <a:pt x="256" y="31"/>
                    </a:lnTo>
                    <a:lnTo>
                      <a:pt x="249" y="25"/>
                    </a:lnTo>
                    <a:lnTo>
                      <a:pt x="235" y="2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6" name="Andorra"/>
              <p:cNvSpPr>
                <a:spLocks noChangeAspect="1"/>
              </p:cNvSpPr>
              <p:nvPr>
                <p:custDataLst>
                  <p:tags r:id="rId222"/>
                </p:custDataLst>
              </p:nvPr>
            </p:nvSpPr>
            <p:spPr bwMode="gray">
              <a:xfrm>
                <a:off x="4472406" y="3428998"/>
                <a:ext cx="11703" cy="7022"/>
              </a:xfrm>
              <a:custGeom>
                <a:avLst/>
                <a:gdLst/>
                <a:ahLst/>
                <a:cxnLst>
                  <a:cxn ang="0">
                    <a:pos x="18" y="7"/>
                  </a:cxn>
                  <a:cxn ang="0">
                    <a:pos x="21" y="11"/>
                  </a:cxn>
                  <a:cxn ang="0">
                    <a:pos x="16" y="13"/>
                  </a:cxn>
                  <a:cxn ang="0">
                    <a:pos x="10" y="12"/>
                  </a:cxn>
                  <a:cxn ang="0">
                    <a:pos x="6" y="7"/>
                  </a:cxn>
                  <a:cxn ang="0">
                    <a:pos x="0" y="0"/>
                  </a:cxn>
                  <a:cxn ang="0">
                    <a:pos x="13" y="1"/>
                  </a:cxn>
                  <a:cxn ang="0">
                    <a:pos x="18" y="7"/>
                  </a:cxn>
                </a:cxnLst>
                <a:rect l="0" t="0" r="r" b="b"/>
                <a:pathLst>
                  <a:path w="21" h="13">
                    <a:moveTo>
                      <a:pt x="18" y="7"/>
                    </a:moveTo>
                    <a:lnTo>
                      <a:pt x="21" y="11"/>
                    </a:lnTo>
                    <a:lnTo>
                      <a:pt x="16" y="13"/>
                    </a:lnTo>
                    <a:lnTo>
                      <a:pt x="10" y="12"/>
                    </a:lnTo>
                    <a:lnTo>
                      <a:pt x="6" y="7"/>
                    </a:lnTo>
                    <a:lnTo>
                      <a:pt x="0" y="0"/>
                    </a:lnTo>
                    <a:lnTo>
                      <a:pt x="13" y="1"/>
                    </a:lnTo>
                    <a:lnTo>
                      <a:pt x="18" y="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Liechtenstein"/>
              <p:cNvSpPr>
                <a:spLocks noChangeAspect="1"/>
              </p:cNvSpPr>
              <p:nvPr>
                <p:custDataLst>
                  <p:tags r:id="rId223"/>
                </p:custDataLst>
              </p:nvPr>
            </p:nvSpPr>
            <p:spPr bwMode="gray">
              <a:xfrm>
                <a:off x="4680719" y="3255793"/>
                <a:ext cx="7022" cy="14044"/>
              </a:xfrm>
              <a:custGeom>
                <a:avLst/>
                <a:gdLst/>
                <a:ahLst/>
                <a:cxnLst>
                  <a:cxn ang="0">
                    <a:pos x="8" y="30"/>
                  </a:cxn>
                  <a:cxn ang="0">
                    <a:pos x="14" y="23"/>
                  </a:cxn>
                  <a:cxn ang="0">
                    <a:pos x="14" y="12"/>
                  </a:cxn>
                  <a:cxn ang="0">
                    <a:pos x="13" y="5"/>
                  </a:cxn>
                  <a:cxn ang="0">
                    <a:pos x="4" y="0"/>
                  </a:cxn>
                  <a:cxn ang="0">
                    <a:pos x="2" y="8"/>
                  </a:cxn>
                  <a:cxn ang="0">
                    <a:pos x="0" y="18"/>
                  </a:cxn>
                  <a:cxn ang="0">
                    <a:pos x="8" y="30"/>
                  </a:cxn>
                </a:cxnLst>
                <a:rect l="0" t="0" r="r" b="b"/>
                <a:pathLst>
                  <a:path w="14" h="30">
                    <a:moveTo>
                      <a:pt x="8" y="30"/>
                    </a:moveTo>
                    <a:lnTo>
                      <a:pt x="14" y="23"/>
                    </a:lnTo>
                    <a:lnTo>
                      <a:pt x="14" y="12"/>
                    </a:lnTo>
                    <a:lnTo>
                      <a:pt x="13" y="5"/>
                    </a:lnTo>
                    <a:lnTo>
                      <a:pt x="4" y="0"/>
                    </a:lnTo>
                    <a:lnTo>
                      <a:pt x="2" y="8"/>
                    </a:lnTo>
                    <a:lnTo>
                      <a:pt x="0" y="18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8" name="Group 178"/>
              <p:cNvGrpSpPr>
                <a:grpSpLocks noChangeAspect="1"/>
              </p:cNvGrpSpPr>
              <p:nvPr/>
            </p:nvGrpSpPr>
            <p:grpSpPr bwMode="gray">
              <a:xfrm>
                <a:off x="4608161" y="3267496"/>
                <a:ext cx="301938" cy="358112"/>
                <a:chOff x="2589" y="1903"/>
                <a:chExt cx="129" cy="153"/>
              </a:xfrm>
              <a:grpFill/>
            </p:grpSpPr>
            <p:sp>
              <p:nvSpPr>
                <p:cNvPr id="279" name="Italy"/>
                <p:cNvSpPr>
                  <a:spLocks noChangeAspect="1"/>
                </p:cNvSpPr>
                <p:nvPr>
                  <p:custDataLst>
                    <p:tags r:id="rId261"/>
                  </p:custDataLst>
                </p:nvPr>
              </p:nvSpPr>
              <p:spPr bwMode="gray">
                <a:xfrm>
                  <a:off x="2653" y="2034"/>
                  <a:ext cx="34" cy="22"/>
                </a:xfrm>
                <a:custGeom>
                  <a:avLst/>
                  <a:gdLst/>
                  <a:ahLst/>
                  <a:cxnLst>
                    <a:cxn ang="0">
                      <a:pos x="172" y="0"/>
                    </a:cxn>
                    <a:cxn ang="0">
                      <a:pos x="168" y="1"/>
                    </a:cxn>
                    <a:cxn ang="0">
                      <a:pos x="168" y="2"/>
                    </a:cxn>
                    <a:cxn ang="0">
                      <a:pos x="167" y="12"/>
                    </a:cxn>
                    <a:cxn ang="0">
                      <a:pos x="153" y="34"/>
                    </a:cxn>
                    <a:cxn ang="0">
                      <a:pos x="143" y="60"/>
                    </a:cxn>
                    <a:cxn ang="0">
                      <a:pos x="142" y="66"/>
                    </a:cxn>
                    <a:cxn ang="0">
                      <a:pos x="146" y="70"/>
                    </a:cxn>
                    <a:cxn ang="0">
                      <a:pos x="147" y="75"/>
                    </a:cxn>
                    <a:cxn ang="0">
                      <a:pos x="152" y="87"/>
                    </a:cxn>
                    <a:cxn ang="0">
                      <a:pos x="146" y="103"/>
                    </a:cxn>
                    <a:cxn ang="0">
                      <a:pos x="145" y="110"/>
                    </a:cxn>
                    <a:cxn ang="0">
                      <a:pos x="130" y="110"/>
                    </a:cxn>
                    <a:cxn ang="0">
                      <a:pos x="118" y="108"/>
                    </a:cxn>
                    <a:cxn ang="0">
                      <a:pos x="108" y="98"/>
                    </a:cxn>
                    <a:cxn ang="0">
                      <a:pos x="99" y="88"/>
                    </a:cxn>
                    <a:cxn ang="0">
                      <a:pos x="84" y="83"/>
                    </a:cxn>
                    <a:cxn ang="0">
                      <a:pos x="76" y="82"/>
                    </a:cxn>
                    <a:cxn ang="0">
                      <a:pos x="67" y="79"/>
                    </a:cxn>
                    <a:cxn ang="0">
                      <a:pos x="61" y="71"/>
                    </a:cxn>
                    <a:cxn ang="0">
                      <a:pos x="49" y="66"/>
                    </a:cxn>
                    <a:cxn ang="0">
                      <a:pos x="37" y="56"/>
                    </a:cxn>
                    <a:cxn ang="0">
                      <a:pos x="25" y="51"/>
                    </a:cxn>
                    <a:cxn ang="0">
                      <a:pos x="8" y="48"/>
                    </a:cxn>
                    <a:cxn ang="0">
                      <a:pos x="2" y="40"/>
                    </a:cxn>
                    <a:cxn ang="0">
                      <a:pos x="0" y="26"/>
                    </a:cxn>
                    <a:cxn ang="0">
                      <a:pos x="1" y="18"/>
                    </a:cxn>
                    <a:cxn ang="0">
                      <a:pos x="3" y="15"/>
                    </a:cxn>
                    <a:cxn ang="0">
                      <a:pos x="6" y="10"/>
                    </a:cxn>
                    <a:cxn ang="0">
                      <a:pos x="9" y="8"/>
                    </a:cxn>
                    <a:cxn ang="0">
                      <a:pos x="19" y="15"/>
                    </a:cxn>
                    <a:cxn ang="0">
                      <a:pos x="25" y="15"/>
                    </a:cxn>
                    <a:cxn ang="0">
                      <a:pos x="41" y="5"/>
                    </a:cxn>
                    <a:cxn ang="0">
                      <a:pos x="62" y="15"/>
                    </a:cxn>
                    <a:cxn ang="0">
                      <a:pos x="66" y="22"/>
                    </a:cxn>
                    <a:cxn ang="0">
                      <a:pos x="73" y="22"/>
                    </a:cxn>
                    <a:cxn ang="0">
                      <a:pos x="80" y="20"/>
                    </a:cxn>
                    <a:cxn ang="0">
                      <a:pos x="110" y="16"/>
                    </a:cxn>
                    <a:cxn ang="0">
                      <a:pos x="119" y="13"/>
                    </a:cxn>
                    <a:cxn ang="0">
                      <a:pos x="127" y="8"/>
                    </a:cxn>
                    <a:cxn ang="0">
                      <a:pos x="146" y="8"/>
                    </a:cxn>
                    <a:cxn ang="0">
                      <a:pos x="152" y="4"/>
                    </a:cxn>
                    <a:cxn ang="0">
                      <a:pos x="163" y="2"/>
                    </a:cxn>
                    <a:cxn ang="0">
                      <a:pos x="172" y="0"/>
                    </a:cxn>
                  </a:cxnLst>
                  <a:rect l="0" t="0" r="r" b="b"/>
                  <a:pathLst>
                    <a:path w="172" h="110">
                      <a:moveTo>
                        <a:pt x="172" y="0"/>
                      </a:moveTo>
                      <a:lnTo>
                        <a:pt x="168" y="1"/>
                      </a:lnTo>
                      <a:lnTo>
                        <a:pt x="168" y="2"/>
                      </a:lnTo>
                      <a:lnTo>
                        <a:pt x="167" y="12"/>
                      </a:lnTo>
                      <a:lnTo>
                        <a:pt x="153" y="34"/>
                      </a:lnTo>
                      <a:lnTo>
                        <a:pt x="143" y="60"/>
                      </a:lnTo>
                      <a:lnTo>
                        <a:pt x="142" y="66"/>
                      </a:lnTo>
                      <a:lnTo>
                        <a:pt x="146" y="70"/>
                      </a:lnTo>
                      <a:lnTo>
                        <a:pt x="147" y="75"/>
                      </a:lnTo>
                      <a:lnTo>
                        <a:pt x="152" y="87"/>
                      </a:lnTo>
                      <a:lnTo>
                        <a:pt x="146" y="103"/>
                      </a:lnTo>
                      <a:lnTo>
                        <a:pt x="145" y="110"/>
                      </a:lnTo>
                      <a:lnTo>
                        <a:pt x="130" y="110"/>
                      </a:lnTo>
                      <a:lnTo>
                        <a:pt x="118" y="108"/>
                      </a:lnTo>
                      <a:lnTo>
                        <a:pt x="108" y="98"/>
                      </a:lnTo>
                      <a:lnTo>
                        <a:pt x="99" y="88"/>
                      </a:lnTo>
                      <a:lnTo>
                        <a:pt x="84" y="83"/>
                      </a:lnTo>
                      <a:lnTo>
                        <a:pt x="76" y="82"/>
                      </a:lnTo>
                      <a:lnTo>
                        <a:pt x="67" y="79"/>
                      </a:lnTo>
                      <a:lnTo>
                        <a:pt x="61" y="71"/>
                      </a:lnTo>
                      <a:lnTo>
                        <a:pt x="49" y="66"/>
                      </a:lnTo>
                      <a:lnTo>
                        <a:pt x="37" y="56"/>
                      </a:lnTo>
                      <a:lnTo>
                        <a:pt x="25" y="51"/>
                      </a:lnTo>
                      <a:lnTo>
                        <a:pt x="8" y="48"/>
                      </a:lnTo>
                      <a:lnTo>
                        <a:pt x="2" y="40"/>
                      </a:lnTo>
                      <a:lnTo>
                        <a:pt x="0" y="26"/>
                      </a:lnTo>
                      <a:lnTo>
                        <a:pt x="1" y="18"/>
                      </a:lnTo>
                      <a:lnTo>
                        <a:pt x="3" y="15"/>
                      </a:lnTo>
                      <a:lnTo>
                        <a:pt x="6" y="10"/>
                      </a:lnTo>
                      <a:lnTo>
                        <a:pt x="9" y="8"/>
                      </a:lnTo>
                      <a:lnTo>
                        <a:pt x="19" y="15"/>
                      </a:lnTo>
                      <a:lnTo>
                        <a:pt x="25" y="15"/>
                      </a:lnTo>
                      <a:lnTo>
                        <a:pt x="41" y="5"/>
                      </a:lnTo>
                      <a:lnTo>
                        <a:pt x="62" y="15"/>
                      </a:lnTo>
                      <a:lnTo>
                        <a:pt x="66" y="22"/>
                      </a:lnTo>
                      <a:lnTo>
                        <a:pt x="73" y="22"/>
                      </a:lnTo>
                      <a:lnTo>
                        <a:pt x="80" y="20"/>
                      </a:lnTo>
                      <a:lnTo>
                        <a:pt x="110" y="16"/>
                      </a:lnTo>
                      <a:lnTo>
                        <a:pt x="119" y="13"/>
                      </a:lnTo>
                      <a:lnTo>
                        <a:pt x="127" y="8"/>
                      </a:lnTo>
                      <a:lnTo>
                        <a:pt x="146" y="8"/>
                      </a:lnTo>
                      <a:lnTo>
                        <a:pt x="152" y="4"/>
                      </a:lnTo>
                      <a:lnTo>
                        <a:pt x="163" y="2"/>
                      </a:lnTo>
                      <a:lnTo>
                        <a:pt x="172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0" name="Italy"/>
                <p:cNvSpPr>
                  <a:spLocks noChangeAspect="1"/>
                </p:cNvSpPr>
                <p:nvPr>
                  <p:custDataLst>
                    <p:tags r:id="rId262"/>
                  </p:custDataLst>
                </p:nvPr>
              </p:nvSpPr>
              <p:spPr bwMode="gray">
                <a:xfrm>
                  <a:off x="2606" y="1991"/>
                  <a:ext cx="16" cy="35"/>
                </a:xfrm>
                <a:custGeom>
                  <a:avLst/>
                  <a:gdLst/>
                  <a:ahLst/>
                  <a:cxnLst>
                    <a:cxn ang="0">
                      <a:pos x="50" y="0"/>
                    </a:cxn>
                    <a:cxn ang="0">
                      <a:pos x="63" y="5"/>
                    </a:cxn>
                    <a:cxn ang="0">
                      <a:pos x="64" y="8"/>
                    </a:cxn>
                    <a:cxn ang="0">
                      <a:pos x="70" y="12"/>
                    </a:cxn>
                    <a:cxn ang="0">
                      <a:pos x="75" y="24"/>
                    </a:cxn>
                    <a:cxn ang="0">
                      <a:pos x="81" y="43"/>
                    </a:cxn>
                    <a:cxn ang="0">
                      <a:pos x="82" y="63"/>
                    </a:cxn>
                    <a:cxn ang="0">
                      <a:pos x="80" y="79"/>
                    </a:cxn>
                    <a:cxn ang="0">
                      <a:pos x="81" y="111"/>
                    </a:cxn>
                    <a:cxn ang="0">
                      <a:pos x="80" y="138"/>
                    </a:cxn>
                    <a:cxn ang="0">
                      <a:pos x="76" y="144"/>
                    </a:cxn>
                    <a:cxn ang="0">
                      <a:pos x="76" y="149"/>
                    </a:cxn>
                    <a:cxn ang="0">
                      <a:pos x="70" y="154"/>
                    </a:cxn>
                    <a:cxn ang="0">
                      <a:pos x="57" y="150"/>
                    </a:cxn>
                    <a:cxn ang="0">
                      <a:pos x="52" y="155"/>
                    </a:cxn>
                    <a:cxn ang="0">
                      <a:pos x="47" y="165"/>
                    </a:cxn>
                    <a:cxn ang="0">
                      <a:pos x="41" y="171"/>
                    </a:cxn>
                    <a:cxn ang="0">
                      <a:pos x="31" y="173"/>
                    </a:cxn>
                    <a:cxn ang="0">
                      <a:pos x="26" y="168"/>
                    </a:cxn>
                    <a:cxn ang="0">
                      <a:pos x="15" y="152"/>
                    </a:cxn>
                    <a:cxn ang="0">
                      <a:pos x="14" y="144"/>
                    </a:cxn>
                    <a:cxn ang="0">
                      <a:pos x="14" y="139"/>
                    </a:cxn>
                    <a:cxn ang="0">
                      <a:pos x="11" y="130"/>
                    </a:cxn>
                    <a:cxn ang="0">
                      <a:pos x="14" y="109"/>
                    </a:cxn>
                    <a:cxn ang="0">
                      <a:pos x="17" y="106"/>
                    </a:cxn>
                    <a:cxn ang="0">
                      <a:pos x="18" y="101"/>
                    </a:cxn>
                    <a:cxn ang="0">
                      <a:pos x="16" y="97"/>
                    </a:cxn>
                    <a:cxn ang="0">
                      <a:pos x="14" y="89"/>
                    </a:cxn>
                    <a:cxn ang="0">
                      <a:pos x="15" y="80"/>
                    </a:cxn>
                    <a:cxn ang="0">
                      <a:pos x="15" y="70"/>
                    </a:cxn>
                    <a:cxn ang="0">
                      <a:pos x="12" y="63"/>
                    </a:cxn>
                    <a:cxn ang="0">
                      <a:pos x="10" y="54"/>
                    </a:cxn>
                    <a:cxn ang="0">
                      <a:pos x="7" y="53"/>
                    </a:cxn>
                    <a:cxn ang="0">
                      <a:pos x="4" y="53"/>
                    </a:cxn>
                    <a:cxn ang="0">
                      <a:pos x="0" y="47"/>
                    </a:cxn>
                    <a:cxn ang="0">
                      <a:pos x="0" y="26"/>
                    </a:cxn>
                    <a:cxn ang="0">
                      <a:pos x="1" y="25"/>
                    </a:cxn>
                    <a:cxn ang="0">
                      <a:pos x="10" y="33"/>
                    </a:cxn>
                    <a:cxn ang="0">
                      <a:pos x="20" y="32"/>
                    </a:cxn>
                    <a:cxn ang="0">
                      <a:pos x="39" y="12"/>
                    </a:cxn>
                    <a:cxn ang="0">
                      <a:pos x="45" y="1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82" h="173">
                      <a:moveTo>
                        <a:pt x="50" y="0"/>
                      </a:moveTo>
                      <a:lnTo>
                        <a:pt x="63" y="5"/>
                      </a:lnTo>
                      <a:lnTo>
                        <a:pt x="64" y="8"/>
                      </a:lnTo>
                      <a:lnTo>
                        <a:pt x="70" y="12"/>
                      </a:lnTo>
                      <a:lnTo>
                        <a:pt x="75" y="24"/>
                      </a:lnTo>
                      <a:lnTo>
                        <a:pt x="81" y="43"/>
                      </a:lnTo>
                      <a:lnTo>
                        <a:pt x="82" y="63"/>
                      </a:lnTo>
                      <a:lnTo>
                        <a:pt x="80" y="79"/>
                      </a:lnTo>
                      <a:lnTo>
                        <a:pt x="81" y="111"/>
                      </a:lnTo>
                      <a:lnTo>
                        <a:pt x="80" y="138"/>
                      </a:lnTo>
                      <a:lnTo>
                        <a:pt x="76" y="144"/>
                      </a:lnTo>
                      <a:lnTo>
                        <a:pt x="76" y="149"/>
                      </a:lnTo>
                      <a:lnTo>
                        <a:pt x="70" y="154"/>
                      </a:lnTo>
                      <a:lnTo>
                        <a:pt x="57" y="150"/>
                      </a:lnTo>
                      <a:lnTo>
                        <a:pt x="52" y="155"/>
                      </a:lnTo>
                      <a:lnTo>
                        <a:pt x="47" y="165"/>
                      </a:lnTo>
                      <a:lnTo>
                        <a:pt x="41" y="171"/>
                      </a:lnTo>
                      <a:lnTo>
                        <a:pt x="31" y="173"/>
                      </a:lnTo>
                      <a:lnTo>
                        <a:pt x="26" y="168"/>
                      </a:lnTo>
                      <a:lnTo>
                        <a:pt x="15" y="152"/>
                      </a:lnTo>
                      <a:lnTo>
                        <a:pt x="14" y="144"/>
                      </a:lnTo>
                      <a:lnTo>
                        <a:pt x="14" y="139"/>
                      </a:lnTo>
                      <a:lnTo>
                        <a:pt x="11" y="130"/>
                      </a:lnTo>
                      <a:lnTo>
                        <a:pt x="14" y="109"/>
                      </a:lnTo>
                      <a:lnTo>
                        <a:pt x="17" y="106"/>
                      </a:lnTo>
                      <a:lnTo>
                        <a:pt x="18" y="101"/>
                      </a:lnTo>
                      <a:lnTo>
                        <a:pt x="16" y="97"/>
                      </a:lnTo>
                      <a:lnTo>
                        <a:pt x="14" y="89"/>
                      </a:lnTo>
                      <a:lnTo>
                        <a:pt x="15" y="80"/>
                      </a:lnTo>
                      <a:lnTo>
                        <a:pt x="15" y="70"/>
                      </a:lnTo>
                      <a:lnTo>
                        <a:pt x="12" y="63"/>
                      </a:lnTo>
                      <a:lnTo>
                        <a:pt x="10" y="54"/>
                      </a:lnTo>
                      <a:lnTo>
                        <a:pt x="7" y="53"/>
                      </a:lnTo>
                      <a:lnTo>
                        <a:pt x="4" y="53"/>
                      </a:lnTo>
                      <a:lnTo>
                        <a:pt x="0" y="47"/>
                      </a:lnTo>
                      <a:lnTo>
                        <a:pt x="0" y="26"/>
                      </a:lnTo>
                      <a:lnTo>
                        <a:pt x="1" y="25"/>
                      </a:lnTo>
                      <a:lnTo>
                        <a:pt x="10" y="33"/>
                      </a:lnTo>
                      <a:lnTo>
                        <a:pt x="20" y="32"/>
                      </a:lnTo>
                      <a:lnTo>
                        <a:pt x="39" y="12"/>
                      </a:lnTo>
                      <a:lnTo>
                        <a:pt x="45" y="10"/>
                      </a:lnTo>
                      <a:lnTo>
                        <a:pt x="50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1" name="Italy"/>
                <p:cNvSpPr>
                  <a:spLocks noChangeAspect="1"/>
                </p:cNvSpPr>
                <p:nvPr>
                  <p:custDataLst>
                    <p:tags r:id="rId263"/>
                  </p:custDataLst>
                </p:nvPr>
              </p:nvSpPr>
              <p:spPr bwMode="gray">
                <a:xfrm>
                  <a:off x="2589" y="1903"/>
                  <a:ext cx="129" cy="136"/>
                </a:xfrm>
                <a:custGeom>
                  <a:avLst/>
                  <a:gdLst/>
                  <a:ahLst/>
                  <a:cxnLst>
                    <a:cxn ang="0">
                      <a:pos x="195" y="38"/>
                    </a:cxn>
                    <a:cxn ang="0">
                      <a:pos x="186" y="59"/>
                    </a:cxn>
                    <a:cxn ang="0">
                      <a:pos x="147" y="53"/>
                    </a:cxn>
                    <a:cxn ang="0">
                      <a:pos x="125" y="89"/>
                    </a:cxn>
                    <a:cxn ang="0">
                      <a:pos x="98" y="73"/>
                    </a:cxn>
                    <a:cxn ang="0">
                      <a:pos x="75" y="76"/>
                    </a:cxn>
                    <a:cxn ang="0">
                      <a:pos x="23" y="96"/>
                    </a:cxn>
                    <a:cxn ang="0">
                      <a:pos x="5" y="107"/>
                    </a:cxn>
                    <a:cxn ang="0">
                      <a:pos x="2" y="156"/>
                    </a:cxn>
                    <a:cxn ang="0">
                      <a:pos x="11" y="177"/>
                    </a:cxn>
                    <a:cxn ang="0">
                      <a:pos x="13" y="216"/>
                    </a:cxn>
                    <a:cxn ang="0">
                      <a:pos x="48" y="245"/>
                    </a:cxn>
                    <a:cxn ang="0">
                      <a:pos x="64" y="254"/>
                    </a:cxn>
                    <a:cxn ang="0">
                      <a:pos x="94" y="224"/>
                    </a:cxn>
                    <a:cxn ang="0">
                      <a:pos x="132" y="213"/>
                    </a:cxn>
                    <a:cxn ang="0">
                      <a:pos x="195" y="259"/>
                    </a:cxn>
                    <a:cxn ang="0">
                      <a:pos x="231" y="333"/>
                    </a:cxn>
                    <a:cxn ang="0">
                      <a:pos x="259" y="358"/>
                    </a:cxn>
                    <a:cxn ang="0">
                      <a:pos x="309" y="410"/>
                    </a:cxn>
                    <a:cxn ang="0">
                      <a:pos x="379" y="444"/>
                    </a:cxn>
                    <a:cxn ang="0">
                      <a:pos x="421" y="479"/>
                    </a:cxn>
                    <a:cxn ang="0">
                      <a:pos x="444" y="488"/>
                    </a:cxn>
                    <a:cxn ang="0">
                      <a:pos x="455" y="520"/>
                    </a:cxn>
                    <a:cxn ang="0">
                      <a:pos x="483" y="527"/>
                    </a:cxn>
                    <a:cxn ang="0">
                      <a:pos x="498" y="559"/>
                    </a:cxn>
                    <a:cxn ang="0">
                      <a:pos x="507" y="624"/>
                    </a:cxn>
                    <a:cxn ang="0">
                      <a:pos x="492" y="661"/>
                    </a:cxn>
                    <a:cxn ang="0">
                      <a:pos x="496" y="681"/>
                    </a:cxn>
                    <a:cxn ang="0">
                      <a:pos x="522" y="661"/>
                    </a:cxn>
                    <a:cxn ang="0">
                      <a:pos x="540" y="643"/>
                    </a:cxn>
                    <a:cxn ang="0">
                      <a:pos x="562" y="607"/>
                    </a:cxn>
                    <a:cxn ang="0">
                      <a:pos x="568" y="585"/>
                    </a:cxn>
                    <a:cxn ang="0">
                      <a:pos x="549" y="558"/>
                    </a:cxn>
                    <a:cxn ang="0">
                      <a:pos x="551" y="511"/>
                    </a:cxn>
                    <a:cxn ang="0">
                      <a:pos x="604" y="512"/>
                    </a:cxn>
                    <a:cxn ang="0">
                      <a:pos x="637" y="546"/>
                    </a:cxn>
                    <a:cxn ang="0">
                      <a:pos x="636" y="511"/>
                    </a:cxn>
                    <a:cxn ang="0">
                      <a:pos x="572" y="460"/>
                    </a:cxn>
                    <a:cxn ang="0">
                      <a:pos x="510" y="430"/>
                    </a:cxn>
                    <a:cxn ang="0">
                      <a:pos x="508" y="414"/>
                    </a:cxn>
                    <a:cxn ang="0">
                      <a:pos x="500" y="392"/>
                    </a:cxn>
                    <a:cxn ang="0">
                      <a:pos x="465" y="394"/>
                    </a:cxn>
                    <a:cxn ang="0">
                      <a:pos x="437" y="382"/>
                    </a:cxn>
                    <a:cxn ang="0">
                      <a:pos x="405" y="345"/>
                    </a:cxn>
                    <a:cxn ang="0">
                      <a:pos x="382" y="285"/>
                    </a:cxn>
                    <a:cxn ang="0">
                      <a:pos x="362" y="263"/>
                    </a:cxn>
                    <a:cxn ang="0">
                      <a:pos x="314" y="230"/>
                    </a:cxn>
                    <a:cxn ang="0">
                      <a:pos x="308" y="177"/>
                    </a:cxn>
                    <a:cxn ang="0">
                      <a:pos x="304" y="156"/>
                    </a:cxn>
                    <a:cxn ang="0">
                      <a:pos x="318" y="126"/>
                    </a:cxn>
                    <a:cxn ang="0">
                      <a:pos x="366" y="111"/>
                    </a:cxn>
                    <a:cxn ang="0">
                      <a:pos x="379" y="121"/>
                    </a:cxn>
                    <a:cxn ang="0">
                      <a:pos x="393" y="119"/>
                    </a:cxn>
                    <a:cxn ang="0">
                      <a:pos x="385" y="105"/>
                    </a:cxn>
                    <a:cxn ang="0">
                      <a:pos x="371" y="84"/>
                    </a:cxn>
                    <a:cxn ang="0">
                      <a:pos x="367" y="69"/>
                    </a:cxn>
                    <a:cxn ang="0">
                      <a:pos x="372" y="47"/>
                    </a:cxn>
                    <a:cxn ang="0">
                      <a:pos x="313" y="31"/>
                    </a:cxn>
                    <a:cxn ang="0">
                      <a:pos x="296" y="3"/>
                    </a:cxn>
                    <a:cxn ang="0">
                      <a:pos x="272" y="8"/>
                    </a:cxn>
                    <a:cxn ang="0">
                      <a:pos x="215" y="22"/>
                    </a:cxn>
                  </a:cxnLst>
                  <a:rect l="0" t="0" r="r" b="b"/>
                  <a:pathLst>
                    <a:path w="645" h="681">
                      <a:moveTo>
                        <a:pt x="201" y="17"/>
                      </a:moveTo>
                      <a:lnTo>
                        <a:pt x="199" y="28"/>
                      </a:lnTo>
                      <a:lnTo>
                        <a:pt x="199" y="36"/>
                      </a:lnTo>
                      <a:lnTo>
                        <a:pt x="195" y="38"/>
                      </a:lnTo>
                      <a:lnTo>
                        <a:pt x="184" y="40"/>
                      </a:lnTo>
                      <a:lnTo>
                        <a:pt x="183" y="46"/>
                      </a:lnTo>
                      <a:lnTo>
                        <a:pt x="184" y="53"/>
                      </a:lnTo>
                      <a:lnTo>
                        <a:pt x="186" y="59"/>
                      </a:lnTo>
                      <a:lnTo>
                        <a:pt x="185" y="63"/>
                      </a:lnTo>
                      <a:lnTo>
                        <a:pt x="164" y="59"/>
                      </a:lnTo>
                      <a:lnTo>
                        <a:pt x="153" y="58"/>
                      </a:lnTo>
                      <a:lnTo>
                        <a:pt x="147" y="53"/>
                      </a:lnTo>
                      <a:lnTo>
                        <a:pt x="140" y="49"/>
                      </a:lnTo>
                      <a:lnTo>
                        <a:pt x="137" y="60"/>
                      </a:lnTo>
                      <a:lnTo>
                        <a:pt x="126" y="79"/>
                      </a:lnTo>
                      <a:lnTo>
                        <a:pt x="125" y="89"/>
                      </a:lnTo>
                      <a:lnTo>
                        <a:pt x="123" y="94"/>
                      </a:lnTo>
                      <a:lnTo>
                        <a:pt x="115" y="89"/>
                      </a:lnTo>
                      <a:lnTo>
                        <a:pt x="109" y="81"/>
                      </a:lnTo>
                      <a:lnTo>
                        <a:pt x="98" y="73"/>
                      </a:lnTo>
                      <a:lnTo>
                        <a:pt x="92" y="53"/>
                      </a:lnTo>
                      <a:lnTo>
                        <a:pt x="81" y="59"/>
                      </a:lnTo>
                      <a:lnTo>
                        <a:pt x="75" y="68"/>
                      </a:lnTo>
                      <a:lnTo>
                        <a:pt x="75" y="76"/>
                      </a:lnTo>
                      <a:lnTo>
                        <a:pt x="71" y="81"/>
                      </a:lnTo>
                      <a:lnTo>
                        <a:pt x="60" y="90"/>
                      </a:lnTo>
                      <a:lnTo>
                        <a:pt x="48" y="90"/>
                      </a:lnTo>
                      <a:lnTo>
                        <a:pt x="23" y="96"/>
                      </a:lnTo>
                      <a:lnTo>
                        <a:pt x="14" y="96"/>
                      </a:lnTo>
                      <a:lnTo>
                        <a:pt x="5" y="97"/>
                      </a:lnTo>
                      <a:lnTo>
                        <a:pt x="3" y="102"/>
                      </a:lnTo>
                      <a:lnTo>
                        <a:pt x="5" y="107"/>
                      </a:lnTo>
                      <a:lnTo>
                        <a:pt x="16" y="133"/>
                      </a:lnTo>
                      <a:lnTo>
                        <a:pt x="18" y="143"/>
                      </a:lnTo>
                      <a:lnTo>
                        <a:pt x="7" y="150"/>
                      </a:lnTo>
                      <a:lnTo>
                        <a:pt x="2" y="156"/>
                      </a:lnTo>
                      <a:lnTo>
                        <a:pt x="0" y="165"/>
                      </a:lnTo>
                      <a:lnTo>
                        <a:pt x="1" y="170"/>
                      </a:lnTo>
                      <a:lnTo>
                        <a:pt x="2" y="175"/>
                      </a:lnTo>
                      <a:lnTo>
                        <a:pt x="11" y="177"/>
                      </a:lnTo>
                      <a:lnTo>
                        <a:pt x="12" y="186"/>
                      </a:lnTo>
                      <a:lnTo>
                        <a:pt x="10" y="194"/>
                      </a:lnTo>
                      <a:lnTo>
                        <a:pt x="11" y="205"/>
                      </a:lnTo>
                      <a:lnTo>
                        <a:pt x="13" y="216"/>
                      </a:lnTo>
                      <a:lnTo>
                        <a:pt x="19" y="225"/>
                      </a:lnTo>
                      <a:lnTo>
                        <a:pt x="44" y="227"/>
                      </a:lnTo>
                      <a:lnTo>
                        <a:pt x="48" y="236"/>
                      </a:lnTo>
                      <a:lnTo>
                        <a:pt x="48" y="245"/>
                      </a:lnTo>
                      <a:lnTo>
                        <a:pt x="45" y="251"/>
                      </a:lnTo>
                      <a:lnTo>
                        <a:pt x="46" y="254"/>
                      </a:lnTo>
                      <a:lnTo>
                        <a:pt x="54" y="254"/>
                      </a:lnTo>
                      <a:lnTo>
                        <a:pt x="64" y="254"/>
                      </a:lnTo>
                      <a:lnTo>
                        <a:pt x="80" y="247"/>
                      </a:lnTo>
                      <a:lnTo>
                        <a:pt x="81" y="240"/>
                      </a:lnTo>
                      <a:lnTo>
                        <a:pt x="89" y="226"/>
                      </a:lnTo>
                      <a:lnTo>
                        <a:pt x="94" y="224"/>
                      </a:lnTo>
                      <a:lnTo>
                        <a:pt x="97" y="218"/>
                      </a:lnTo>
                      <a:lnTo>
                        <a:pt x="114" y="210"/>
                      </a:lnTo>
                      <a:lnTo>
                        <a:pt x="123" y="210"/>
                      </a:lnTo>
                      <a:lnTo>
                        <a:pt x="132" y="213"/>
                      </a:lnTo>
                      <a:lnTo>
                        <a:pt x="173" y="236"/>
                      </a:lnTo>
                      <a:lnTo>
                        <a:pt x="190" y="243"/>
                      </a:lnTo>
                      <a:lnTo>
                        <a:pt x="193" y="248"/>
                      </a:lnTo>
                      <a:lnTo>
                        <a:pt x="195" y="259"/>
                      </a:lnTo>
                      <a:lnTo>
                        <a:pt x="207" y="294"/>
                      </a:lnTo>
                      <a:lnTo>
                        <a:pt x="211" y="306"/>
                      </a:lnTo>
                      <a:lnTo>
                        <a:pt x="210" y="313"/>
                      </a:lnTo>
                      <a:lnTo>
                        <a:pt x="231" y="333"/>
                      </a:lnTo>
                      <a:lnTo>
                        <a:pt x="241" y="345"/>
                      </a:lnTo>
                      <a:lnTo>
                        <a:pt x="244" y="361"/>
                      </a:lnTo>
                      <a:lnTo>
                        <a:pt x="252" y="358"/>
                      </a:lnTo>
                      <a:lnTo>
                        <a:pt x="259" y="358"/>
                      </a:lnTo>
                      <a:lnTo>
                        <a:pt x="269" y="365"/>
                      </a:lnTo>
                      <a:lnTo>
                        <a:pt x="282" y="386"/>
                      </a:lnTo>
                      <a:lnTo>
                        <a:pt x="292" y="387"/>
                      </a:lnTo>
                      <a:lnTo>
                        <a:pt x="309" y="410"/>
                      </a:lnTo>
                      <a:lnTo>
                        <a:pt x="323" y="424"/>
                      </a:lnTo>
                      <a:lnTo>
                        <a:pt x="347" y="444"/>
                      </a:lnTo>
                      <a:lnTo>
                        <a:pt x="352" y="442"/>
                      </a:lnTo>
                      <a:lnTo>
                        <a:pt x="379" y="444"/>
                      </a:lnTo>
                      <a:lnTo>
                        <a:pt x="385" y="445"/>
                      </a:lnTo>
                      <a:lnTo>
                        <a:pt x="400" y="462"/>
                      </a:lnTo>
                      <a:lnTo>
                        <a:pt x="404" y="472"/>
                      </a:lnTo>
                      <a:lnTo>
                        <a:pt x="421" y="479"/>
                      </a:lnTo>
                      <a:lnTo>
                        <a:pt x="422" y="482"/>
                      </a:lnTo>
                      <a:lnTo>
                        <a:pt x="421" y="490"/>
                      </a:lnTo>
                      <a:lnTo>
                        <a:pt x="440" y="487"/>
                      </a:lnTo>
                      <a:lnTo>
                        <a:pt x="444" y="488"/>
                      </a:lnTo>
                      <a:lnTo>
                        <a:pt x="449" y="494"/>
                      </a:lnTo>
                      <a:lnTo>
                        <a:pt x="453" y="505"/>
                      </a:lnTo>
                      <a:lnTo>
                        <a:pt x="451" y="512"/>
                      </a:lnTo>
                      <a:lnTo>
                        <a:pt x="455" y="520"/>
                      </a:lnTo>
                      <a:lnTo>
                        <a:pt x="467" y="525"/>
                      </a:lnTo>
                      <a:lnTo>
                        <a:pt x="473" y="530"/>
                      </a:lnTo>
                      <a:lnTo>
                        <a:pt x="478" y="537"/>
                      </a:lnTo>
                      <a:lnTo>
                        <a:pt x="483" y="527"/>
                      </a:lnTo>
                      <a:lnTo>
                        <a:pt x="487" y="527"/>
                      </a:lnTo>
                      <a:lnTo>
                        <a:pt x="495" y="539"/>
                      </a:lnTo>
                      <a:lnTo>
                        <a:pt x="495" y="546"/>
                      </a:lnTo>
                      <a:lnTo>
                        <a:pt x="498" y="559"/>
                      </a:lnTo>
                      <a:lnTo>
                        <a:pt x="510" y="578"/>
                      </a:lnTo>
                      <a:lnTo>
                        <a:pt x="513" y="596"/>
                      </a:lnTo>
                      <a:lnTo>
                        <a:pt x="522" y="617"/>
                      </a:lnTo>
                      <a:lnTo>
                        <a:pt x="507" y="624"/>
                      </a:lnTo>
                      <a:lnTo>
                        <a:pt x="500" y="629"/>
                      </a:lnTo>
                      <a:lnTo>
                        <a:pt x="503" y="640"/>
                      </a:lnTo>
                      <a:lnTo>
                        <a:pt x="496" y="651"/>
                      </a:lnTo>
                      <a:lnTo>
                        <a:pt x="492" y="661"/>
                      </a:lnTo>
                      <a:lnTo>
                        <a:pt x="494" y="673"/>
                      </a:lnTo>
                      <a:lnTo>
                        <a:pt x="496" y="681"/>
                      </a:lnTo>
                      <a:lnTo>
                        <a:pt x="496" y="678"/>
                      </a:lnTo>
                      <a:lnTo>
                        <a:pt x="496" y="681"/>
                      </a:lnTo>
                      <a:lnTo>
                        <a:pt x="503" y="681"/>
                      </a:lnTo>
                      <a:lnTo>
                        <a:pt x="511" y="681"/>
                      </a:lnTo>
                      <a:lnTo>
                        <a:pt x="514" y="678"/>
                      </a:lnTo>
                      <a:lnTo>
                        <a:pt x="522" y="661"/>
                      </a:lnTo>
                      <a:lnTo>
                        <a:pt x="525" y="656"/>
                      </a:lnTo>
                      <a:lnTo>
                        <a:pt x="532" y="651"/>
                      </a:lnTo>
                      <a:lnTo>
                        <a:pt x="538" y="649"/>
                      </a:lnTo>
                      <a:lnTo>
                        <a:pt x="540" y="643"/>
                      </a:lnTo>
                      <a:lnTo>
                        <a:pt x="541" y="621"/>
                      </a:lnTo>
                      <a:lnTo>
                        <a:pt x="544" y="616"/>
                      </a:lnTo>
                      <a:lnTo>
                        <a:pt x="553" y="613"/>
                      </a:lnTo>
                      <a:lnTo>
                        <a:pt x="562" y="607"/>
                      </a:lnTo>
                      <a:lnTo>
                        <a:pt x="567" y="607"/>
                      </a:lnTo>
                      <a:lnTo>
                        <a:pt x="570" y="603"/>
                      </a:lnTo>
                      <a:lnTo>
                        <a:pt x="570" y="590"/>
                      </a:lnTo>
                      <a:lnTo>
                        <a:pt x="568" y="585"/>
                      </a:lnTo>
                      <a:lnTo>
                        <a:pt x="567" y="575"/>
                      </a:lnTo>
                      <a:lnTo>
                        <a:pt x="564" y="570"/>
                      </a:lnTo>
                      <a:lnTo>
                        <a:pt x="554" y="564"/>
                      </a:lnTo>
                      <a:lnTo>
                        <a:pt x="549" y="558"/>
                      </a:lnTo>
                      <a:lnTo>
                        <a:pt x="538" y="553"/>
                      </a:lnTo>
                      <a:lnTo>
                        <a:pt x="538" y="543"/>
                      </a:lnTo>
                      <a:lnTo>
                        <a:pt x="543" y="523"/>
                      </a:lnTo>
                      <a:lnTo>
                        <a:pt x="551" y="511"/>
                      </a:lnTo>
                      <a:lnTo>
                        <a:pt x="564" y="499"/>
                      </a:lnTo>
                      <a:lnTo>
                        <a:pt x="575" y="496"/>
                      </a:lnTo>
                      <a:lnTo>
                        <a:pt x="591" y="509"/>
                      </a:lnTo>
                      <a:lnTo>
                        <a:pt x="604" y="512"/>
                      </a:lnTo>
                      <a:lnTo>
                        <a:pt x="615" y="519"/>
                      </a:lnTo>
                      <a:lnTo>
                        <a:pt x="619" y="527"/>
                      </a:lnTo>
                      <a:lnTo>
                        <a:pt x="626" y="539"/>
                      </a:lnTo>
                      <a:lnTo>
                        <a:pt x="637" y="546"/>
                      </a:lnTo>
                      <a:lnTo>
                        <a:pt x="637" y="543"/>
                      </a:lnTo>
                      <a:lnTo>
                        <a:pt x="645" y="527"/>
                      </a:lnTo>
                      <a:lnTo>
                        <a:pt x="642" y="520"/>
                      </a:lnTo>
                      <a:lnTo>
                        <a:pt x="636" y="511"/>
                      </a:lnTo>
                      <a:lnTo>
                        <a:pt x="626" y="500"/>
                      </a:lnTo>
                      <a:lnTo>
                        <a:pt x="615" y="482"/>
                      </a:lnTo>
                      <a:lnTo>
                        <a:pt x="580" y="468"/>
                      </a:lnTo>
                      <a:lnTo>
                        <a:pt x="572" y="460"/>
                      </a:lnTo>
                      <a:lnTo>
                        <a:pt x="560" y="452"/>
                      </a:lnTo>
                      <a:lnTo>
                        <a:pt x="524" y="437"/>
                      </a:lnTo>
                      <a:lnTo>
                        <a:pt x="516" y="433"/>
                      </a:lnTo>
                      <a:lnTo>
                        <a:pt x="510" y="430"/>
                      </a:lnTo>
                      <a:lnTo>
                        <a:pt x="506" y="430"/>
                      </a:lnTo>
                      <a:lnTo>
                        <a:pt x="502" y="426"/>
                      </a:lnTo>
                      <a:lnTo>
                        <a:pt x="502" y="420"/>
                      </a:lnTo>
                      <a:lnTo>
                        <a:pt x="508" y="414"/>
                      </a:lnTo>
                      <a:lnTo>
                        <a:pt x="516" y="409"/>
                      </a:lnTo>
                      <a:lnTo>
                        <a:pt x="517" y="401"/>
                      </a:lnTo>
                      <a:lnTo>
                        <a:pt x="511" y="392"/>
                      </a:lnTo>
                      <a:lnTo>
                        <a:pt x="500" y="392"/>
                      </a:lnTo>
                      <a:lnTo>
                        <a:pt x="496" y="394"/>
                      </a:lnTo>
                      <a:lnTo>
                        <a:pt x="503" y="392"/>
                      </a:lnTo>
                      <a:lnTo>
                        <a:pt x="496" y="394"/>
                      </a:lnTo>
                      <a:lnTo>
                        <a:pt x="465" y="394"/>
                      </a:lnTo>
                      <a:lnTo>
                        <a:pt x="465" y="403"/>
                      </a:lnTo>
                      <a:lnTo>
                        <a:pt x="453" y="390"/>
                      </a:lnTo>
                      <a:lnTo>
                        <a:pt x="442" y="382"/>
                      </a:lnTo>
                      <a:lnTo>
                        <a:pt x="437" y="382"/>
                      </a:lnTo>
                      <a:lnTo>
                        <a:pt x="435" y="374"/>
                      </a:lnTo>
                      <a:lnTo>
                        <a:pt x="431" y="374"/>
                      </a:lnTo>
                      <a:lnTo>
                        <a:pt x="410" y="354"/>
                      </a:lnTo>
                      <a:lnTo>
                        <a:pt x="405" y="345"/>
                      </a:lnTo>
                      <a:lnTo>
                        <a:pt x="398" y="332"/>
                      </a:lnTo>
                      <a:lnTo>
                        <a:pt x="392" y="313"/>
                      </a:lnTo>
                      <a:lnTo>
                        <a:pt x="388" y="309"/>
                      </a:lnTo>
                      <a:lnTo>
                        <a:pt x="382" y="285"/>
                      </a:lnTo>
                      <a:lnTo>
                        <a:pt x="374" y="270"/>
                      </a:lnTo>
                      <a:lnTo>
                        <a:pt x="369" y="267"/>
                      </a:lnTo>
                      <a:lnTo>
                        <a:pt x="363" y="267"/>
                      </a:lnTo>
                      <a:lnTo>
                        <a:pt x="362" y="263"/>
                      </a:lnTo>
                      <a:lnTo>
                        <a:pt x="347" y="254"/>
                      </a:lnTo>
                      <a:lnTo>
                        <a:pt x="341" y="247"/>
                      </a:lnTo>
                      <a:lnTo>
                        <a:pt x="320" y="237"/>
                      </a:lnTo>
                      <a:lnTo>
                        <a:pt x="314" y="230"/>
                      </a:lnTo>
                      <a:lnTo>
                        <a:pt x="309" y="220"/>
                      </a:lnTo>
                      <a:lnTo>
                        <a:pt x="306" y="211"/>
                      </a:lnTo>
                      <a:lnTo>
                        <a:pt x="306" y="193"/>
                      </a:lnTo>
                      <a:lnTo>
                        <a:pt x="308" y="177"/>
                      </a:lnTo>
                      <a:lnTo>
                        <a:pt x="313" y="172"/>
                      </a:lnTo>
                      <a:lnTo>
                        <a:pt x="314" y="165"/>
                      </a:lnTo>
                      <a:lnTo>
                        <a:pt x="312" y="159"/>
                      </a:lnTo>
                      <a:lnTo>
                        <a:pt x="304" y="156"/>
                      </a:lnTo>
                      <a:lnTo>
                        <a:pt x="302" y="141"/>
                      </a:lnTo>
                      <a:lnTo>
                        <a:pt x="304" y="134"/>
                      </a:lnTo>
                      <a:lnTo>
                        <a:pt x="314" y="126"/>
                      </a:lnTo>
                      <a:lnTo>
                        <a:pt x="318" y="126"/>
                      </a:lnTo>
                      <a:lnTo>
                        <a:pt x="319" y="127"/>
                      </a:lnTo>
                      <a:lnTo>
                        <a:pt x="324" y="126"/>
                      </a:lnTo>
                      <a:lnTo>
                        <a:pt x="357" y="108"/>
                      </a:lnTo>
                      <a:lnTo>
                        <a:pt x="366" y="111"/>
                      </a:lnTo>
                      <a:lnTo>
                        <a:pt x="376" y="106"/>
                      </a:lnTo>
                      <a:lnTo>
                        <a:pt x="382" y="107"/>
                      </a:lnTo>
                      <a:lnTo>
                        <a:pt x="383" y="113"/>
                      </a:lnTo>
                      <a:lnTo>
                        <a:pt x="379" y="121"/>
                      </a:lnTo>
                      <a:lnTo>
                        <a:pt x="379" y="122"/>
                      </a:lnTo>
                      <a:lnTo>
                        <a:pt x="384" y="123"/>
                      </a:lnTo>
                      <a:lnTo>
                        <a:pt x="389" y="122"/>
                      </a:lnTo>
                      <a:lnTo>
                        <a:pt x="393" y="119"/>
                      </a:lnTo>
                      <a:lnTo>
                        <a:pt x="394" y="114"/>
                      </a:lnTo>
                      <a:lnTo>
                        <a:pt x="392" y="111"/>
                      </a:lnTo>
                      <a:lnTo>
                        <a:pt x="388" y="110"/>
                      </a:lnTo>
                      <a:lnTo>
                        <a:pt x="385" y="105"/>
                      </a:lnTo>
                      <a:lnTo>
                        <a:pt x="378" y="101"/>
                      </a:lnTo>
                      <a:lnTo>
                        <a:pt x="376" y="98"/>
                      </a:lnTo>
                      <a:lnTo>
                        <a:pt x="376" y="90"/>
                      </a:lnTo>
                      <a:lnTo>
                        <a:pt x="371" y="84"/>
                      </a:lnTo>
                      <a:lnTo>
                        <a:pt x="372" y="76"/>
                      </a:lnTo>
                      <a:lnTo>
                        <a:pt x="374" y="69"/>
                      </a:lnTo>
                      <a:lnTo>
                        <a:pt x="369" y="70"/>
                      </a:lnTo>
                      <a:lnTo>
                        <a:pt x="367" y="69"/>
                      </a:lnTo>
                      <a:lnTo>
                        <a:pt x="367" y="64"/>
                      </a:lnTo>
                      <a:lnTo>
                        <a:pt x="369" y="57"/>
                      </a:lnTo>
                      <a:lnTo>
                        <a:pt x="381" y="47"/>
                      </a:lnTo>
                      <a:lnTo>
                        <a:pt x="372" y="47"/>
                      </a:lnTo>
                      <a:lnTo>
                        <a:pt x="358" y="42"/>
                      </a:lnTo>
                      <a:lnTo>
                        <a:pt x="328" y="37"/>
                      </a:lnTo>
                      <a:lnTo>
                        <a:pt x="318" y="31"/>
                      </a:lnTo>
                      <a:lnTo>
                        <a:pt x="313" y="31"/>
                      </a:lnTo>
                      <a:lnTo>
                        <a:pt x="302" y="22"/>
                      </a:lnTo>
                      <a:lnTo>
                        <a:pt x="298" y="15"/>
                      </a:lnTo>
                      <a:lnTo>
                        <a:pt x="296" y="8"/>
                      </a:lnTo>
                      <a:lnTo>
                        <a:pt x="296" y="3"/>
                      </a:lnTo>
                      <a:lnTo>
                        <a:pt x="293" y="0"/>
                      </a:lnTo>
                      <a:lnTo>
                        <a:pt x="287" y="1"/>
                      </a:lnTo>
                      <a:lnTo>
                        <a:pt x="282" y="5"/>
                      </a:lnTo>
                      <a:lnTo>
                        <a:pt x="272" y="8"/>
                      </a:lnTo>
                      <a:lnTo>
                        <a:pt x="254" y="9"/>
                      </a:lnTo>
                      <a:lnTo>
                        <a:pt x="234" y="16"/>
                      </a:lnTo>
                      <a:lnTo>
                        <a:pt x="218" y="21"/>
                      </a:lnTo>
                      <a:lnTo>
                        <a:pt x="215" y="22"/>
                      </a:lnTo>
                      <a:lnTo>
                        <a:pt x="201" y="1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39" name="Luxembourg"/>
              <p:cNvSpPr>
                <a:spLocks noChangeAspect="1"/>
              </p:cNvSpPr>
              <p:nvPr>
                <p:custDataLst>
                  <p:tags r:id="rId224"/>
                </p:custDataLst>
              </p:nvPr>
            </p:nvSpPr>
            <p:spPr bwMode="gray">
              <a:xfrm>
                <a:off x="4582414" y="3148126"/>
                <a:ext cx="16384" cy="25747"/>
              </a:xfrm>
              <a:custGeom>
                <a:avLst/>
                <a:gdLst/>
                <a:ahLst/>
                <a:cxnLst>
                  <a:cxn ang="0">
                    <a:pos x="21" y="53"/>
                  </a:cxn>
                  <a:cxn ang="0">
                    <a:pos x="33" y="52"/>
                  </a:cxn>
                  <a:cxn ang="0">
                    <a:pos x="38" y="45"/>
                  </a:cxn>
                  <a:cxn ang="0">
                    <a:pos x="37" y="33"/>
                  </a:cxn>
                  <a:cxn ang="0">
                    <a:pos x="33" y="26"/>
                  </a:cxn>
                  <a:cxn ang="0">
                    <a:pos x="28" y="18"/>
                  </a:cxn>
                  <a:cxn ang="0">
                    <a:pos x="28" y="11"/>
                  </a:cxn>
                  <a:cxn ang="0">
                    <a:pos x="30" y="4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6" y="7"/>
                  </a:cxn>
                  <a:cxn ang="0">
                    <a:pos x="0" y="20"/>
                  </a:cxn>
                  <a:cxn ang="0">
                    <a:pos x="3" y="33"/>
                  </a:cxn>
                  <a:cxn ang="0">
                    <a:pos x="3" y="48"/>
                  </a:cxn>
                  <a:cxn ang="0">
                    <a:pos x="21" y="53"/>
                  </a:cxn>
                </a:cxnLst>
                <a:rect l="0" t="0" r="r" b="b"/>
                <a:pathLst>
                  <a:path w="38" h="53">
                    <a:moveTo>
                      <a:pt x="21" y="53"/>
                    </a:moveTo>
                    <a:lnTo>
                      <a:pt x="33" y="52"/>
                    </a:lnTo>
                    <a:lnTo>
                      <a:pt x="38" y="45"/>
                    </a:lnTo>
                    <a:lnTo>
                      <a:pt x="37" y="33"/>
                    </a:lnTo>
                    <a:lnTo>
                      <a:pt x="33" y="26"/>
                    </a:lnTo>
                    <a:lnTo>
                      <a:pt x="28" y="18"/>
                    </a:lnTo>
                    <a:lnTo>
                      <a:pt x="28" y="11"/>
                    </a:lnTo>
                    <a:lnTo>
                      <a:pt x="30" y="4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6" y="7"/>
                    </a:lnTo>
                    <a:lnTo>
                      <a:pt x="0" y="20"/>
                    </a:lnTo>
                    <a:lnTo>
                      <a:pt x="3" y="33"/>
                    </a:lnTo>
                    <a:lnTo>
                      <a:pt x="3" y="48"/>
                    </a:lnTo>
                    <a:lnTo>
                      <a:pt x="21" y="5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0" name="Switzerland"/>
              <p:cNvSpPr>
                <a:spLocks noChangeAspect="1"/>
              </p:cNvSpPr>
              <p:nvPr>
                <p:custDataLst>
                  <p:tags r:id="rId225"/>
                </p:custDataLst>
              </p:nvPr>
            </p:nvSpPr>
            <p:spPr bwMode="gray">
              <a:xfrm>
                <a:off x="4589436" y="3246431"/>
                <a:ext cx="114689" cy="65537"/>
              </a:xfrm>
              <a:custGeom>
                <a:avLst/>
                <a:gdLst/>
                <a:ahLst/>
                <a:cxnLst>
                  <a:cxn ang="0">
                    <a:pos x="52" y="131"/>
                  </a:cxn>
                  <a:cxn ang="0">
                    <a:pos x="42" y="119"/>
                  </a:cxn>
                  <a:cxn ang="0">
                    <a:pos x="38" y="100"/>
                  </a:cxn>
                  <a:cxn ang="0">
                    <a:pos x="10" y="117"/>
                  </a:cxn>
                  <a:cxn ang="0">
                    <a:pos x="0" y="119"/>
                  </a:cxn>
                  <a:cxn ang="0">
                    <a:pos x="5" y="84"/>
                  </a:cxn>
                  <a:cxn ang="0">
                    <a:pos x="13" y="74"/>
                  </a:cxn>
                  <a:cxn ang="0">
                    <a:pos x="21" y="67"/>
                  </a:cxn>
                  <a:cxn ang="0">
                    <a:pos x="30" y="49"/>
                  </a:cxn>
                  <a:cxn ang="0">
                    <a:pos x="50" y="18"/>
                  </a:cxn>
                  <a:cxn ang="0">
                    <a:pos x="70" y="13"/>
                  </a:cxn>
                  <a:cxn ang="0">
                    <a:pos x="85" y="3"/>
                  </a:cxn>
                  <a:cxn ang="0">
                    <a:pos x="127" y="6"/>
                  </a:cxn>
                  <a:cxn ang="0">
                    <a:pos x="172" y="6"/>
                  </a:cxn>
                  <a:cxn ang="0">
                    <a:pos x="197" y="22"/>
                  </a:cxn>
                  <a:cxn ang="0">
                    <a:pos x="193" y="40"/>
                  </a:cxn>
                  <a:cxn ang="0">
                    <a:pos x="207" y="57"/>
                  </a:cxn>
                  <a:cxn ang="0">
                    <a:pos x="226" y="63"/>
                  </a:cxn>
                  <a:cxn ang="0">
                    <a:pos x="241" y="63"/>
                  </a:cxn>
                  <a:cxn ang="0">
                    <a:pos x="239" y="82"/>
                  </a:cxn>
                  <a:cxn ang="0">
                    <a:pos x="224" y="86"/>
                  </a:cxn>
                  <a:cxn ang="0">
                    <a:pos x="224" y="99"/>
                  </a:cxn>
                  <a:cxn ang="0">
                    <a:pos x="225" y="109"/>
                  </a:cxn>
                  <a:cxn ang="0">
                    <a:pos x="193" y="104"/>
                  </a:cxn>
                  <a:cxn ang="0">
                    <a:pos x="180" y="95"/>
                  </a:cxn>
                  <a:cxn ang="0">
                    <a:pos x="166" y="126"/>
                  </a:cxn>
                  <a:cxn ang="0">
                    <a:pos x="163" y="140"/>
                  </a:cxn>
                  <a:cxn ang="0">
                    <a:pos x="149" y="127"/>
                  </a:cxn>
                  <a:cxn ang="0">
                    <a:pos x="132" y="99"/>
                  </a:cxn>
                  <a:cxn ang="0">
                    <a:pos x="115" y="114"/>
                  </a:cxn>
                  <a:cxn ang="0">
                    <a:pos x="111" y="127"/>
                  </a:cxn>
                  <a:cxn ang="0">
                    <a:pos x="88" y="136"/>
                  </a:cxn>
                  <a:cxn ang="0">
                    <a:pos x="54" y="142"/>
                  </a:cxn>
                </a:cxnLst>
                <a:rect l="0" t="0" r="r" b="b"/>
                <a:pathLst>
                  <a:path w="241" h="142">
                    <a:moveTo>
                      <a:pt x="54" y="142"/>
                    </a:moveTo>
                    <a:lnTo>
                      <a:pt x="52" y="131"/>
                    </a:lnTo>
                    <a:lnTo>
                      <a:pt x="45" y="130"/>
                    </a:lnTo>
                    <a:lnTo>
                      <a:pt x="42" y="119"/>
                    </a:lnTo>
                    <a:lnTo>
                      <a:pt x="42" y="101"/>
                    </a:lnTo>
                    <a:lnTo>
                      <a:pt x="38" y="100"/>
                    </a:lnTo>
                    <a:lnTo>
                      <a:pt x="21" y="100"/>
                    </a:lnTo>
                    <a:lnTo>
                      <a:pt x="10" y="117"/>
                    </a:lnTo>
                    <a:lnTo>
                      <a:pt x="4" y="121"/>
                    </a:lnTo>
                    <a:lnTo>
                      <a:pt x="0" y="119"/>
                    </a:lnTo>
                    <a:lnTo>
                      <a:pt x="2" y="97"/>
                    </a:lnTo>
                    <a:lnTo>
                      <a:pt x="5" y="84"/>
                    </a:lnTo>
                    <a:lnTo>
                      <a:pt x="9" y="81"/>
                    </a:lnTo>
                    <a:lnTo>
                      <a:pt x="13" y="74"/>
                    </a:lnTo>
                    <a:lnTo>
                      <a:pt x="20" y="70"/>
                    </a:lnTo>
                    <a:lnTo>
                      <a:pt x="21" y="67"/>
                    </a:lnTo>
                    <a:lnTo>
                      <a:pt x="24" y="57"/>
                    </a:lnTo>
                    <a:lnTo>
                      <a:pt x="30" y="49"/>
                    </a:lnTo>
                    <a:lnTo>
                      <a:pt x="53" y="23"/>
                    </a:lnTo>
                    <a:lnTo>
                      <a:pt x="50" y="18"/>
                    </a:lnTo>
                    <a:lnTo>
                      <a:pt x="53" y="11"/>
                    </a:lnTo>
                    <a:lnTo>
                      <a:pt x="70" y="13"/>
                    </a:lnTo>
                    <a:lnTo>
                      <a:pt x="78" y="9"/>
                    </a:lnTo>
                    <a:lnTo>
                      <a:pt x="85" y="3"/>
                    </a:lnTo>
                    <a:lnTo>
                      <a:pt x="91" y="9"/>
                    </a:lnTo>
                    <a:lnTo>
                      <a:pt x="127" y="6"/>
                    </a:lnTo>
                    <a:lnTo>
                      <a:pt x="153" y="0"/>
                    </a:lnTo>
                    <a:lnTo>
                      <a:pt x="172" y="6"/>
                    </a:lnTo>
                    <a:lnTo>
                      <a:pt x="190" y="13"/>
                    </a:lnTo>
                    <a:lnTo>
                      <a:pt x="197" y="22"/>
                    </a:lnTo>
                    <a:lnTo>
                      <a:pt x="195" y="30"/>
                    </a:lnTo>
                    <a:lnTo>
                      <a:pt x="193" y="40"/>
                    </a:lnTo>
                    <a:lnTo>
                      <a:pt x="201" y="52"/>
                    </a:lnTo>
                    <a:lnTo>
                      <a:pt x="207" y="57"/>
                    </a:lnTo>
                    <a:lnTo>
                      <a:pt x="217" y="62"/>
                    </a:lnTo>
                    <a:lnTo>
                      <a:pt x="226" y="63"/>
                    </a:lnTo>
                    <a:lnTo>
                      <a:pt x="234" y="58"/>
                    </a:lnTo>
                    <a:lnTo>
                      <a:pt x="241" y="63"/>
                    </a:lnTo>
                    <a:lnTo>
                      <a:pt x="239" y="74"/>
                    </a:lnTo>
                    <a:lnTo>
                      <a:pt x="239" y="82"/>
                    </a:lnTo>
                    <a:lnTo>
                      <a:pt x="235" y="84"/>
                    </a:lnTo>
                    <a:lnTo>
                      <a:pt x="224" y="86"/>
                    </a:lnTo>
                    <a:lnTo>
                      <a:pt x="223" y="92"/>
                    </a:lnTo>
                    <a:lnTo>
                      <a:pt x="224" y="99"/>
                    </a:lnTo>
                    <a:lnTo>
                      <a:pt x="226" y="105"/>
                    </a:lnTo>
                    <a:lnTo>
                      <a:pt x="225" y="109"/>
                    </a:lnTo>
                    <a:lnTo>
                      <a:pt x="204" y="105"/>
                    </a:lnTo>
                    <a:lnTo>
                      <a:pt x="193" y="104"/>
                    </a:lnTo>
                    <a:lnTo>
                      <a:pt x="187" y="99"/>
                    </a:lnTo>
                    <a:lnTo>
                      <a:pt x="180" y="95"/>
                    </a:lnTo>
                    <a:lnTo>
                      <a:pt x="177" y="106"/>
                    </a:lnTo>
                    <a:lnTo>
                      <a:pt x="166" y="126"/>
                    </a:lnTo>
                    <a:lnTo>
                      <a:pt x="165" y="135"/>
                    </a:lnTo>
                    <a:lnTo>
                      <a:pt x="163" y="140"/>
                    </a:lnTo>
                    <a:lnTo>
                      <a:pt x="155" y="135"/>
                    </a:lnTo>
                    <a:lnTo>
                      <a:pt x="149" y="127"/>
                    </a:lnTo>
                    <a:lnTo>
                      <a:pt x="138" y="119"/>
                    </a:lnTo>
                    <a:lnTo>
                      <a:pt x="132" y="99"/>
                    </a:lnTo>
                    <a:lnTo>
                      <a:pt x="121" y="105"/>
                    </a:lnTo>
                    <a:lnTo>
                      <a:pt x="115" y="114"/>
                    </a:lnTo>
                    <a:lnTo>
                      <a:pt x="115" y="122"/>
                    </a:lnTo>
                    <a:lnTo>
                      <a:pt x="111" y="127"/>
                    </a:lnTo>
                    <a:lnTo>
                      <a:pt x="100" y="136"/>
                    </a:lnTo>
                    <a:lnTo>
                      <a:pt x="88" y="136"/>
                    </a:lnTo>
                    <a:lnTo>
                      <a:pt x="63" y="142"/>
                    </a:lnTo>
                    <a:lnTo>
                      <a:pt x="54" y="14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1" name="Belgium"/>
              <p:cNvSpPr>
                <a:spLocks noChangeAspect="1"/>
              </p:cNvSpPr>
              <p:nvPr>
                <p:custDataLst>
                  <p:tags r:id="rId226"/>
                </p:custDataLst>
              </p:nvPr>
            </p:nvSpPr>
            <p:spPr bwMode="gray">
              <a:xfrm>
                <a:off x="4509856" y="3096633"/>
                <a:ext cx="86602" cy="74899"/>
              </a:xfrm>
              <a:custGeom>
                <a:avLst/>
                <a:gdLst/>
                <a:ahLst/>
                <a:cxnLst>
                  <a:cxn ang="0">
                    <a:pos x="158" y="160"/>
                  </a:cxn>
                  <a:cxn ang="0">
                    <a:pos x="150" y="161"/>
                  </a:cxn>
                  <a:cxn ang="0">
                    <a:pos x="140" y="159"/>
                  </a:cxn>
                  <a:cxn ang="0">
                    <a:pos x="131" y="152"/>
                  </a:cxn>
                  <a:cxn ang="0">
                    <a:pos x="120" y="146"/>
                  </a:cxn>
                  <a:cxn ang="0">
                    <a:pos x="123" y="140"/>
                  </a:cxn>
                  <a:cxn ang="0">
                    <a:pos x="118" y="138"/>
                  </a:cxn>
                  <a:cxn ang="0">
                    <a:pos x="118" y="114"/>
                  </a:cxn>
                  <a:cxn ang="0">
                    <a:pos x="112" y="114"/>
                  </a:cxn>
                  <a:cxn ang="0">
                    <a:pos x="106" y="122"/>
                  </a:cxn>
                  <a:cxn ang="0">
                    <a:pos x="101" y="129"/>
                  </a:cxn>
                  <a:cxn ang="0">
                    <a:pos x="91" y="129"/>
                  </a:cxn>
                  <a:cxn ang="0">
                    <a:pos x="81" y="125"/>
                  </a:cxn>
                  <a:cxn ang="0">
                    <a:pos x="79" y="110"/>
                  </a:cxn>
                  <a:cxn ang="0">
                    <a:pos x="76" y="101"/>
                  </a:cxn>
                  <a:cxn ang="0">
                    <a:pos x="70" y="96"/>
                  </a:cxn>
                  <a:cxn ang="0">
                    <a:pos x="58" y="92"/>
                  </a:cxn>
                  <a:cxn ang="0">
                    <a:pos x="44" y="84"/>
                  </a:cxn>
                  <a:cxn ang="0">
                    <a:pos x="34" y="80"/>
                  </a:cxn>
                  <a:cxn ang="0">
                    <a:pos x="25" y="62"/>
                  </a:cxn>
                  <a:cxn ang="0">
                    <a:pos x="13" y="63"/>
                  </a:cxn>
                  <a:cxn ang="0">
                    <a:pos x="2" y="58"/>
                  </a:cxn>
                  <a:cxn ang="0">
                    <a:pos x="0" y="48"/>
                  </a:cxn>
                  <a:cxn ang="0">
                    <a:pos x="0" y="32"/>
                  </a:cxn>
                  <a:cxn ang="0">
                    <a:pos x="0" y="28"/>
                  </a:cxn>
                  <a:cxn ang="0">
                    <a:pos x="23" y="15"/>
                  </a:cxn>
                  <a:cxn ang="0">
                    <a:pos x="33" y="11"/>
                  </a:cxn>
                  <a:cxn ang="0">
                    <a:pos x="39" y="10"/>
                  </a:cxn>
                  <a:cxn ang="0">
                    <a:pos x="39" y="11"/>
                  </a:cxn>
                  <a:cxn ang="0">
                    <a:pos x="56" y="20"/>
                  </a:cxn>
                  <a:cxn ang="0">
                    <a:pos x="76" y="14"/>
                  </a:cxn>
                  <a:cxn ang="0">
                    <a:pos x="91" y="4"/>
                  </a:cxn>
                  <a:cxn ang="0">
                    <a:pos x="103" y="1"/>
                  </a:cxn>
                  <a:cxn ang="0">
                    <a:pos x="118" y="0"/>
                  </a:cxn>
                  <a:cxn ang="0">
                    <a:pos x="124" y="6"/>
                  </a:cxn>
                  <a:cxn ang="0">
                    <a:pos x="127" y="6"/>
                  </a:cxn>
                  <a:cxn ang="0">
                    <a:pos x="129" y="14"/>
                  </a:cxn>
                  <a:cxn ang="0">
                    <a:pos x="138" y="17"/>
                  </a:cxn>
                  <a:cxn ang="0">
                    <a:pos x="146" y="19"/>
                  </a:cxn>
                  <a:cxn ang="0">
                    <a:pos x="155" y="24"/>
                  </a:cxn>
                  <a:cxn ang="0">
                    <a:pos x="155" y="35"/>
                  </a:cxn>
                  <a:cxn ang="0">
                    <a:pos x="154" y="44"/>
                  </a:cxn>
                  <a:cxn ang="0">
                    <a:pos x="156" y="55"/>
                  </a:cxn>
                  <a:cxn ang="0">
                    <a:pos x="163" y="62"/>
                  </a:cxn>
                  <a:cxn ang="0">
                    <a:pos x="176" y="62"/>
                  </a:cxn>
                  <a:cxn ang="0">
                    <a:pos x="181" y="68"/>
                  </a:cxn>
                  <a:cxn ang="0">
                    <a:pos x="182" y="79"/>
                  </a:cxn>
                  <a:cxn ang="0">
                    <a:pos x="188" y="87"/>
                  </a:cxn>
                  <a:cxn ang="0">
                    <a:pos x="188" y="96"/>
                  </a:cxn>
                  <a:cxn ang="0">
                    <a:pos x="177" y="112"/>
                  </a:cxn>
                  <a:cxn ang="0">
                    <a:pos x="171" y="112"/>
                  </a:cxn>
                  <a:cxn ang="0">
                    <a:pos x="161" y="119"/>
                  </a:cxn>
                  <a:cxn ang="0">
                    <a:pos x="155" y="132"/>
                  </a:cxn>
                  <a:cxn ang="0">
                    <a:pos x="158" y="145"/>
                  </a:cxn>
                  <a:cxn ang="0">
                    <a:pos x="158" y="160"/>
                  </a:cxn>
                </a:cxnLst>
                <a:rect l="0" t="0" r="r" b="b"/>
                <a:pathLst>
                  <a:path w="188" h="161">
                    <a:moveTo>
                      <a:pt x="158" y="160"/>
                    </a:moveTo>
                    <a:lnTo>
                      <a:pt x="150" y="161"/>
                    </a:lnTo>
                    <a:lnTo>
                      <a:pt x="140" y="159"/>
                    </a:lnTo>
                    <a:lnTo>
                      <a:pt x="131" y="152"/>
                    </a:lnTo>
                    <a:lnTo>
                      <a:pt x="120" y="146"/>
                    </a:lnTo>
                    <a:lnTo>
                      <a:pt x="123" y="140"/>
                    </a:lnTo>
                    <a:lnTo>
                      <a:pt x="118" y="138"/>
                    </a:lnTo>
                    <a:lnTo>
                      <a:pt x="118" y="114"/>
                    </a:lnTo>
                    <a:lnTo>
                      <a:pt x="112" y="114"/>
                    </a:lnTo>
                    <a:lnTo>
                      <a:pt x="106" y="122"/>
                    </a:lnTo>
                    <a:lnTo>
                      <a:pt x="101" y="129"/>
                    </a:lnTo>
                    <a:lnTo>
                      <a:pt x="91" y="129"/>
                    </a:lnTo>
                    <a:lnTo>
                      <a:pt x="81" y="125"/>
                    </a:lnTo>
                    <a:lnTo>
                      <a:pt x="79" y="110"/>
                    </a:lnTo>
                    <a:lnTo>
                      <a:pt x="76" y="101"/>
                    </a:lnTo>
                    <a:lnTo>
                      <a:pt x="70" y="96"/>
                    </a:lnTo>
                    <a:lnTo>
                      <a:pt x="58" y="92"/>
                    </a:lnTo>
                    <a:lnTo>
                      <a:pt x="44" y="84"/>
                    </a:lnTo>
                    <a:lnTo>
                      <a:pt x="34" y="80"/>
                    </a:lnTo>
                    <a:lnTo>
                      <a:pt x="25" y="62"/>
                    </a:lnTo>
                    <a:lnTo>
                      <a:pt x="13" y="63"/>
                    </a:lnTo>
                    <a:lnTo>
                      <a:pt x="2" y="58"/>
                    </a:lnTo>
                    <a:lnTo>
                      <a:pt x="0" y="48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23" y="15"/>
                    </a:lnTo>
                    <a:lnTo>
                      <a:pt x="33" y="11"/>
                    </a:lnTo>
                    <a:lnTo>
                      <a:pt x="39" y="10"/>
                    </a:lnTo>
                    <a:lnTo>
                      <a:pt x="39" y="11"/>
                    </a:lnTo>
                    <a:lnTo>
                      <a:pt x="56" y="20"/>
                    </a:lnTo>
                    <a:lnTo>
                      <a:pt x="76" y="14"/>
                    </a:lnTo>
                    <a:lnTo>
                      <a:pt x="91" y="4"/>
                    </a:lnTo>
                    <a:lnTo>
                      <a:pt x="103" y="1"/>
                    </a:lnTo>
                    <a:lnTo>
                      <a:pt x="118" y="0"/>
                    </a:lnTo>
                    <a:lnTo>
                      <a:pt x="124" y="6"/>
                    </a:lnTo>
                    <a:lnTo>
                      <a:pt x="127" y="6"/>
                    </a:lnTo>
                    <a:lnTo>
                      <a:pt x="129" y="14"/>
                    </a:lnTo>
                    <a:lnTo>
                      <a:pt x="138" y="17"/>
                    </a:lnTo>
                    <a:lnTo>
                      <a:pt x="146" y="19"/>
                    </a:lnTo>
                    <a:lnTo>
                      <a:pt x="155" y="24"/>
                    </a:lnTo>
                    <a:lnTo>
                      <a:pt x="155" y="35"/>
                    </a:lnTo>
                    <a:lnTo>
                      <a:pt x="154" y="44"/>
                    </a:lnTo>
                    <a:lnTo>
                      <a:pt x="156" y="55"/>
                    </a:lnTo>
                    <a:lnTo>
                      <a:pt x="163" y="62"/>
                    </a:lnTo>
                    <a:lnTo>
                      <a:pt x="176" y="62"/>
                    </a:lnTo>
                    <a:lnTo>
                      <a:pt x="181" y="68"/>
                    </a:lnTo>
                    <a:lnTo>
                      <a:pt x="182" y="79"/>
                    </a:lnTo>
                    <a:lnTo>
                      <a:pt x="188" y="87"/>
                    </a:lnTo>
                    <a:lnTo>
                      <a:pt x="188" y="96"/>
                    </a:lnTo>
                    <a:lnTo>
                      <a:pt x="177" y="112"/>
                    </a:lnTo>
                    <a:lnTo>
                      <a:pt x="171" y="112"/>
                    </a:lnTo>
                    <a:lnTo>
                      <a:pt x="161" y="119"/>
                    </a:lnTo>
                    <a:lnTo>
                      <a:pt x="155" y="132"/>
                    </a:lnTo>
                    <a:lnTo>
                      <a:pt x="158" y="145"/>
                    </a:lnTo>
                    <a:lnTo>
                      <a:pt x="158" y="16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2" name="Spain"/>
              <p:cNvSpPr>
                <a:spLocks noChangeAspect="1"/>
              </p:cNvSpPr>
              <p:nvPr>
                <p:custDataLst>
                  <p:tags r:id="rId227"/>
                </p:custDataLst>
              </p:nvPr>
            </p:nvSpPr>
            <p:spPr bwMode="gray">
              <a:xfrm>
                <a:off x="4203237" y="3389208"/>
                <a:ext cx="320662" cy="255125"/>
              </a:xfrm>
              <a:custGeom>
                <a:avLst/>
                <a:gdLst/>
                <a:ahLst/>
                <a:cxnLst>
                  <a:cxn ang="0">
                    <a:pos x="100" y="440"/>
                  </a:cxn>
                  <a:cxn ang="0">
                    <a:pos x="128" y="410"/>
                  </a:cxn>
                  <a:cxn ang="0">
                    <a:pos x="112" y="376"/>
                  </a:cxn>
                  <a:cxn ang="0">
                    <a:pos x="124" y="340"/>
                  </a:cxn>
                  <a:cxn ang="0">
                    <a:pos x="106" y="301"/>
                  </a:cxn>
                  <a:cxn ang="0">
                    <a:pos x="135" y="280"/>
                  </a:cxn>
                  <a:cxn ang="0">
                    <a:pos x="129" y="253"/>
                  </a:cxn>
                  <a:cxn ang="0">
                    <a:pos x="138" y="210"/>
                  </a:cxn>
                  <a:cxn ang="0">
                    <a:pos x="169" y="165"/>
                  </a:cxn>
                  <a:cxn ang="0">
                    <a:pos x="155" y="138"/>
                  </a:cxn>
                  <a:cxn ang="0">
                    <a:pos x="110" y="140"/>
                  </a:cxn>
                  <a:cxn ang="0">
                    <a:pos x="65" y="135"/>
                  </a:cxn>
                  <a:cxn ang="0">
                    <a:pos x="36" y="131"/>
                  </a:cxn>
                  <a:cxn ang="0">
                    <a:pos x="25" y="128"/>
                  </a:cxn>
                  <a:cxn ang="0">
                    <a:pos x="26" y="108"/>
                  </a:cxn>
                  <a:cxn ang="0">
                    <a:pos x="27" y="82"/>
                  </a:cxn>
                  <a:cxn ang="0">
                    <a:pos x="16" y="70"/>
                  </a:cxn>
                  <a:cxn ang="0">
                    <a:pos x="17" y="34"/>
                  </a:cxn>
                  <a:cxn ang="0">
                    <a:pos x="56" y="22"/>
                  </a:cxn>
                  <a:cxn ang="0">
                    <a:pos x="84" y="0"/>
                  </a:cxn>
                  <a:cxn ang="0">
                    <a:pos x="129" y="14"/>
                  </a:cxn>
                  <a:cxn ang="0">
                    <a:pos x="192" y="9"/>
                  </a:cxn>
                  <a:cxn ang="0">
                    <a:pos x="256" y="22"/>
                  </a:cxn>
                  <a:cxn ang="0">
                    <a:pos x="306" y="18"/>
                  </a:cxn>
                  <a:cxn ang="0">
                    <a:pos x="366" y="23"/>
                  </a:cxn>
                  <a:cxn ang="0">
                    <a:pos x="408" y="27"/>
                  </a:cxn>
                  <a:cxn ang="0">
                    <a:pos x="440" y="54"/>
                  </a:cxn>
                  <a:cxn ang="0">
                    <a:pos x="469" y="69"/>
                  </a:cxn>
                  <a:cxn ang="0">
                    <a:pos x="537" y="81"/>
                  </a:cxn>
                  <a:cxn ang="0">
                    <a:pos x="564" y="75"/>
                  </a:cxn>
                  <a:cxn ang="0">
                    <a:pos x="589" y="97"/>
                  </a:cxn>
                  <a:cxn ang="0">
                    <a:pos x="597" y="92"/>
                  </a:cxn>
                  <a:cxn ang="0">
                    <a:pos x="644" y="101"/>
                  </a:cxn>
                  <a:cxn ang="0">
                    <a:pos x="678" y="100"/>
                  </a:cxn>
                  <a:cxn ang="0">
                    <a:pos x="678" y="114"/>
                  </a:cxn>
                  <a:cxn ang="0">
                    <a:pos x="675" y="144"/>
                  </a:cxn>
                  <a:cxn ang="0">
                    <a:pos x="564" y="203"/>
                  </a:cxn>
                  <a:cxn ang="0">
                    <a:pos x="543" y="232"/>
                  </a:cxn>
                  <a:cxn ang="0">
                    <a:pos x="495" y="300"/>
                  </a:cxn>
                  <a:cxn ang="0">
                    <a:pos x="489" y="321"/>
                  </a:cxn>
                  <a:cxn ang="0">
                    <a:pos x="497" y="343"/>
                  </a:cxn>
                  <a:cxn ang="0">
                    <a:pos x="515" y="354"/>
                  </a:cxn>
                  <a:cxn ang="0">
                    <a:pos x="500" y="378"/>
                  </a:cxn>
                  <a:cxn ang="0">
                    <a:pos x="474" y="409"/>
                  </a:cxn>
                  <a:cxn ang="0">
                    <a:pos x="465" y="435"/>
                  </a:cxn>
                  <a:cxn ang="0">
                    <a:pos x="415" y="463"/>
                  </a:cxn>
                  <a:cxn ang="0">
                    <a:pos x="398" y="496"/>
                  </a:cxn>
                  <a:cxn ang="0">
                    <a:pos x="364" y="501"/>
                  </a:cxn>
                  <a:cxn ang="0">
                    <a:pos x="318" y="500"/>
                  </a:cxn>
                  <a:cxn ang="0">
                    <a:pos x="258" y="515"/>
                  </a:cxn>
                  <a:cxn ang="0">
                    <a:pos x="226" y="529"/>
                  </a:cxn>
                  <a:cxn ang="0">
                    <a:pos x="210" y="545"/>
                  </a:cxn>
                  <a:cxn ang="0">
                    <a:pos x="170" y="517"/>
                  </a:cxn>
                  <a:cxn ang="0">
                    <a:pos x="161" y="491"/>
                  </a:cxn>
                  <a:cxn ang="0">
                    <a:pos x="148" y="477"/>
                  </a:cxn>
                  <a:cxn ang="0">
                    <a:pos x="105" y="468"/>
                  </a:cxn>
                </a:cxnLst>
                <a:rect l="0" t="0" r="r" b="b"/>
                <a:pathLst>
                  <a:path w="687" h="545">
                    <a:moveTo>
                      <a:pt x="105" y="468"/>
                    </a:moveTo>
                    <a:lnTo>
                      <a:pt x="101" y="451"/>
                    </a:lnTo>
                    <a:lnTo>
                      <a:pt x="100" y="440"/>
                    </a:lnTo>
                    <a:lnTo>
                      <a:pt x="107" y="430"/>
                    </a:lnTo>
                    <a:lnTo>
                      <a:pt x="122" y="419"/>
                    </a:lnTo>
                    <a:lnTo>
                      <a:pt x="128" y="410"/>
                    </a:lnTo>
                    <a:lnTo>
                      <a:pt x="126" y="399"/>
                    </a:lnTo>
                    <a:lnTo>
                      <a:pt x="116" y="388"/>
                    </a:lnTo>
                    <a:lnTo>
                      <a:pt x="112" y="376"/>
                    </a:lnTo>
                    <a:lnTo>
                      <a:pt x="113" y="361"/>
                    </a:lnTo>
                    <a:lnTo>
                      <a:pt x="121" y="349"/>
                    </a:lnTo>
                    <a:lnTo>
                      <a:pt x="124" y="340"/>
                    </a:lnTo>
                    <a:lnTo>
                      <a:pt x="122" y="335"/>
                    </a:lnTo>
                    <a:lnTo>
                      <a:pt x="110" y="317"/>
                    </a:lnTo>
                    <a:lnTo>
                      <a:pt x="106" y="301"/>
                    </a:lnTo>
                    <a:lnTo>
                      <a:pt x="114" y="295"/>
                    </a:lnTo>
                    <a:lnTo>
                      <a:pt x="126" y="291"/>
                    </a:lnTo>
                    <a:lnTo>
                      <a:pt x="135" y="280"/>
                    </a:lnTo>
                    <a:lnTo>
                      <a:pt x="137" y="270"/>
                    </a:lnTo>
                    <a:lnTo>
                      <a:pt x="129" y="260"/>
                    </a:lnTo>
                    <a:lnTo>
                      <a:pt x="129" y="253"/>
                    </a:lnTo>
                    <a:lnTo>
                      <a:pt x="135" y="238"/>
                    </a:lnTo>
                    <a:lnTo>
                      <a:pt x="138" y="224"/>
                    </a:lnTo>
                    <a:lnTo>
                      <a:pt x="138" y="210"/>
                    </a:lnTo>
                    <a:lnTo>
                      <a:pt x="139" y="200"/>
                    </a:lnTo>
                    <a:lnTo>
                      <a:pt x="161" y="178"/>
                    </a:lnTo>
                    <a:lnTo>
                      <a:pt x="169" y="165"/>
                    </a:lnTo>
                    <a:lnTo>
                      <a:pt x="169" y="156"/>
                    </a:lnTo>
                    <a:lnTo>
                      <a:pt x="161" y="147"/>
                    </a:lnTo>
                    <a:lnTo>
                      <a:pt x="155" y="138"/>
                    </a:lnTo>
                    <a:lnTo>
                      <a:pt x="140" y="134"/>
                    </a:lnTo>
                    <a:lnTo>
                      <a:pt x="123" y="134"/>
                    </a:lnTo>
                    <a:lnTo>
                      <a:pt x="110" y="140"/>
                    </a:lnTo>
                    <a:lnTo>
                      <a:pt x="86" y="138"/>
                    </a:lnTo>
                    <a:lnTo>
                      <a:pt x="73" y="140"/>
                    </a:lnTo>
                    <a:lnTo>
                      <a:pt x="65" y="135"/>
                    </a:lnTo>
                    <a:lnTo>
                      <a:pt x="64" y="123"/>
                    </a:lnTo>
                    <a:lnTo>
                      <a:pt x="51" y="125"/>
                    </a:lnTo>
                    <a:lnTo>
                      <a:pt x="36" y="131"/>
                    </a:lnTo>
                    <a:lnTo>
                      <a:pt x="27" y="141"/>
                    </a:lnTo>
                    <a:lnTo>
                      <a:pt x="25" y="136"/>
                    </a:lnTo>
                    <a:lnTo>
                      <a:pt x="25" y="128"/>
                    </a:lnTo>
                    <a:lnTo>
                      <a:pt x="28" y="116"/>
                    </a:lnTo>
                    <a:lnTo>
                      <a:pt x="35" y="107"/>
                    </a:lnTo>
                    <a:lnTo>
                      <a:pt x="26" y="108"/>
                    </a:lnTo>
                    <a:lnTo>
                      <a:pt x="30" y="100"/>
                    </a:lnTo>
                    <a:lnTo>
                      <a:pt x="20" y="95"/>
                    </a:lnTo>
                    <a:lnTo>
                      <a:pt x="27" y="82"/>
                    </a:lnTo>
                    <a:lnTo>
                      <a:pt x="22" y="82"/>
                    </a:lnTo>
                    <a:lnTo>
                      <a:pt x="15" y="79"/>
                    </a:lnTo>
                    <a:lnTo>
                      <a:pt x="16" y="70"/>
                    </a:lnTo>
                    <a:lnTo>
                      <a:pt x="0" y="57"/>
                    </a:lnTo>
                    <a:lnTo>
                      <a:pt x="5" y="43"/>
                    </a:lnTo>
                    <a:lnTo>
                      <a:pt x="17" y="34"/>
                    </a:lnTo>
                    <a:lnTo>
                      <a:pt x="28" y="31"/>
                    </a:lnTo>
                    <a:lnTo>
                      <a:pt x="47" y="31"/>
                    </a:lnTo>
                    <a:lnTo>
                      <a:pt x="56" y="22"/>
                    </a:lnTo>
                    <a:lnTo>
                      <a:pt x="54" y="16"/>
                    </a:lnTo>
                    <a:lnTo>
                      <a:pt x="62" y="5"/>
                    </a:lnTo>
                    <a:lnTo>
                      <a:pt x="84" y="0"/>
                    </a:lnTo>
                    <a:lnTo>
                      <a:pt x="95" y="3"/>
                    </a:lnTo>
                    <a:lnTo>
                      <a:pt x="110" y="10"/>
                    </a:lnTo>
                    <a:lnTo>
                      <a:pt x="129" y="14"/>
                    </a:lnTo>
                    <a:lnTo>
                      <a:pt x="170" y="12"/>
                    </a:lnTo>
                    <a:lnTo>
                      <a:pt x="180" y="7"/>
                    </a:lnTo>
                    <a:lnTo>
                      <a:pt x="192" y="9"/>
                    </a:lnTo>
                    <a:lnTo>
                      <a:pt x="212" y="15"/>
                    </a:lnTo>
                    <a:lnTo>
                      <a:pt x="223" y="15"/>
                    </a:lnTo>
                    <a:lnTo>
                      <a:pt x="256" y="22"/>
                    </a:lnTo>
                    <a:lnTo>
                      <a:pt x="273" y="23"/>
                    </a:lnTo>
                    <a:lnTo>
                      <a:pt x="293" y="22"/>
                    </a:lnTo>
                    <a:lnTo>
                      <a:pt x="306" y="18"/>
                    </a:lnTo>
                    <a:lnTo>
                      <a:pt x="317" y="22"/>
                    </a:lnTo>
                    <a:lnTo>
                      <a:pt x="337" y="25"/>
                    </a:lnTo>
                    <a:lnTo>
                      <a:pt x="366" y="23"/>
                    </a:lnTo>
                    <a:lnTo>
                      <a:pt x="381" y="28"/>
                    </a:lnTo>
                    <a:lnTo>
                      <a:pt x="398" y="30"/>
                    </a:lnTo>
                    <a:lnTo>
                      <a:pt x="408" y="27"/>
                    </a:lnTo>
                    <a:lnTo>
                      <a:pt x="409" y="31"/>
                    </a:lnTo>
                    <a:lnTo>
                      <a:pt x="431" y="49"/>
                    </a:lnTo>
                    <a:lnTo>
                      <a:pt x="440" y="54"/>
                    </a:lnTo>
                    <a:lnTo>
                      <a:pt x="451" y="57"/>
                    </a:lnTo>
                    <a:lnTo>
                      <a:pt x="462" y="63"/>
                    </a:lnTo>
                    <a:lnTo>
                      <a:pt x="469" y="69"/>
                    </a:lnTo>
                    <a:lnTo>
                      <a:pt x="515" y="81"/>
                    </a:lnTo>
                    <a:lnTo>
                      <a:pt x="531" y="82"/>
                    </a:lnTo>
                    <a:lnTo>
                      <a:pt x="537" y="81"/>
                    </a:lnTo>
                    <a:lnTo>
                      <a:pt x="547" y="74"/>
                    </a:lnTo>
                    <a:lnTo>
                      <a:pt x="555" y="73"/>
                    </a:lnTo>
                    <a:lnTo>
                      <a:pt x="564" y="75"/>
                    </a:lnTo>
                    <a:lnTo>
                      <a:pt x="579" y="85"/>
                    </a:lnTo>
                    <a:lnTo>
                      <a:pt x="585" y="92"/>
                    </a:lnTo>
                    <a:lnTo>
                      <a:pt x="589" y="97"/>
                    </a:lnTo>
                    <a:lnTo>
                      <a:pt x="595" y="98"/>
                    </a:lnTo>
                    <a:lnTo>
                      <a:pt x="600" y="96"/>
                    </a:lnTo>
                    <a:lnTo>
                      <a:pt x="597" y="92"/>
                    </a:lnTo>
                    <a:lnTo>
                      <a:pt x="608" y="101"/>
                    </a:lnTo>
                    <a:lnTo>
                      <a:pt x="616" y="103"/>
                    </a:lnTo>
                    <a:lnTo>
                      <a:pt x="644" y="101"/>
                    </a:lnTo>
                    <a:lnTo>
                      <a:pt x="657" y="98"/>
                    </a:lnTo>
                    <a:lnTo>
                      <a:pt x="671" y="98"/>
                    </a:lnTo>
                    <a:lnTo>
                      <a:pt x="678" y="100"/>
                    </a:lnTo>
                    <a:lnTo>
                      <a:pt x="686" y="102"/>
                    </a:lnTo>
                    <a:lnTo>
                      <a:pt x="687" y="109"/>
                    </a:lnTo>
                    <a:lnTo>
                      <a:pt x="678" y="114"/>
                    </a:lnTo>
                    <a:lnTo>
                      <a:pt x="680" y="124"/>
                    </a:lnTo>
                    <a:lnTo>
                      <a:pt x="683" y="133"/>
                    </a:lnTo>
                    <a:lnTo>
                      <a:pt x="675" y="144"/>
                    </a:lnTo>
                    <a:lnTo>
                      <a:pt x="637" y="167"/>
                    </a:lnTo>
                    <a:lnTo>
                      <a:pt x="623" y="181"/>
                    </a:lnTo>
                    <a:lnTo>
                      <a:pt x="564" y="203"/>
                    </a:lnTo>
                    <a:lnTo>
                      <a:pt x="552" y="217"/>
                    </a:lnTo>
                    <a:lnTo>
                      <a:pt x="552" y="224"/>
                    </a:lnTo>
                    <a:lnTo>
                      <a:pt x="543" y="232"/>
                    </a:lnTo>
                    <a:lnTo>
                      <a:pt x="531" y="247"/>
                    </a:lnTo>
                    <a:lnTo>
                      <a:pt x="515" y="274"/>
                    </a:lnTo>
                    <a:lnTo>
                      <a:pt x="495" y="300"/>
                    </a:lnTo>
                    <a:lnTo>
                      <a:pt x="492" y="312"/>
                    </a:lnTo>
                    <a:lnTo>
                      <a:pt x="489" y="318"/>
                    </a:lnTo>
                    <a:lnTo>
                      <a:pt x="489" y="321"/>
                    </a:lnTo>
                    <a:lnTo>
                      <a:pt x="492" y="327"/>
                    </a:lnTo>
                    <a:lnTo>
                      <a:pt x="494" y="337"/>
                    </a:lnTo>
                    <a:lnTo>
                      <a:pt x="497" y="343"/>
                    </a:lnTo>
                    <a:lnTo>
                      <a:pt x="501" y="349"/>
                    </a:lnTo>
                    <a:lnTo>
                      <a:pt x="506" y="351"/>
                    </a:lnTo>
                    <a:lnTo>
                      <a:pt x="515" y="354"/>
                    </a:lnTo>
                    <a:lnTo>
                      <a:pt x="519" y="360"/>
                    </a:lnTo>
                    <a:lnTo>
                      <a:pt x="514" y="369"/>
                    </a:lnTo>
                    <a:lnTo>
                      <a:pt x="500" y="378"/>
                    </a:lnTo>
                    <a:lnTo>
                      <a:pt x="492" y="385"/>
                    </a:lnTo>
                    <a:lnTo>
                      <a:pt x="484" y="392"/>
                    </a:lnTo>
                    <a:lnTo>
                      <a:pt x="474" y="409"/>
                    </a:lnTo>
                    <a:lnTo>
                      <a:pt x="472" y="418"/>
                    </a:lnTo>
                    <a:lnTo>
                      <a:pt x="467" y="426"/>
                    </a:lnTo>
                    <a:lnTo>
                      <a:pt x="465" y="435"/>
                    </a:lnTo>
                    <a:lnTo>
                      <a:pt x="467" y="441"/>
                    </a:lnTo>
                    <a:lnTo>
                      <a:pt x="435" y="445"/>
                    </a:lnTo>
                    <a:lnTo>
                      <a:pt x="415" y="463"/>
                    </a:lnTo>
                    <a:lnTo>
                      <a:pt x="408" y="482"/>
                    </a:lnTo>
                    <a:lnTo>
                      <a:pt x="404" y="490"/>
                    </a:lnTo>
                    <a:lnTo>
                      <a:pt x="398" y="496"/>
                    </a:lnTo>
                    <a:lnTo>
                      <a:pt x="391" y="498"/>
                    </a:lnTo>
                    <a:lnTo>
                      <a:pt x="379" y="495"/>
                    </a:lnTo>
                    <a:lnTo>
                      <a:pt x="364" y="501"/>
                    </a:lnTo>
                    <a:lnTo>
                      <a:pt x="350" y="501"/>
                    </a:lnTo>
                    <a:lnTo>
                      <a:pt x="334" y="498"/>
                    </a:lnTo>
                    <a:lnTo>
                      <a:pt x="318" y="500"/>
                    </a:lnTo>
                    <a:lnTo>
                      <a:pt x="306" y="498"/>
                    </a:lnTo>
                    <a:lnTo>
                      <a:pt x="269" y="502"/>
                    </a:lnTo>
                    <a:lnTo>
                      <a:pt x="258" y="515"/>
                    </a:lnTo>
                    <a:lnTo>
                      <a:pt x="246" y="516"/>
                    </a:lnTo>
                    <a:lnTo>
                      <a:pt x="234" y="521"/>
                    </a:lnTo>
                    <a:lnTo>
                      <a:pt x="226" y="529"/>
                    </a:lnTo>
                    <a:lnTo>
                      <a:pt x="223" y="536"/>
                    </a:lnTo>
                    <a:lnTo>
                      <a:pt x="218" y="541"/>
                    </a:lnTo>
                    <a:lnTo>
                      <a:pt x="210" y="545"/>
                    </a:lnTo>
                    <a:lnTo>
                      <a:pt x="193" y="542"/>
                    </a:lnTo>
                    <a:lnTo>
                      <a:pt x="181" y="533"/>
                    </a:lnTo>
                    <a:lnTo>
                      <a:pt x="170" y="517"/>
                    </a:lnTo>
                    <a:lnTo>
                      <a:pt x="169" y="509"/>
                    </a:lnTo>
                    <a:lnTo>
                      <a:pt x="161" y="502"/>
                    </a:lnTo>
                    <a:lnTo>
                      <a:pt x="161" y="491"/>
                    </a:lnTo>
                    <a:lnTo>
                      <a:pt x="160" y="488"/>
                    </a:lnTo>
                    <a:lnTo>
                      <a:pt x="156" y="484"/>
                    </a:lnTo>
                    <a:lnTo>
                      <a:pt x="148" y="477"/>
                    </a:lnTo>
                    <a:lnTo>
                      <a:pt x="133" y="468"/>
                    </a:lnTo>
                    <a:lnTo>
                      <a:pt x="126" y="467"/>
                    </a:lnTo>
                    <a:lnTo>
                      <a:pt x="105" y="46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3" name="Netherland"/>
              <p:cNvSpPr>
                <a:spLocks noChangeAspect="1"/>
              </p:cNvSpPr>
              <p:nvPr>
                <p:custDataLst>
                  <p:tags r:id="rId228"/>
                </p:custDataLst>
              </p:nvPr>
            </p:nvSpPr>
            <p:spPr bwMode="gray">
              <a:xfrm>
                <a:off x="4526240" y="3012371"/>
                <a:ext cx="93624" cy="112349"/>
              </a:xfrm>
              <a:custGeom>
                <a:avLst/>
                <a:gdLst/>
                <a:ahLst/>
                <a:cxnLst>
                  <a:cxn ang="0">
                    <a:pos x="124" y="239"/>
                  </a:cxn>
                  <a:cxn ang="0">
                    <a:pos x="116" y="221"/>
                  </a:cxn>
                  <a:cxn ang="0">
                    <a:pos x="116" y="201"/>
                  </a:cxn>
                  <a:cxn ang="0">
                    <a:pos x="99" y="194"/>
                  </a:cxn>
                  <a:cxn ang="0">
                    <a:pos x="88" y="183"/>
                  </a:cxn>
                  <a:cxn ang="0">
                    <a:pos x="79" y="177"/>
                  </a:cxn>
                  <a:cxn ang="0">
                    <a:pos x="52" y="181"/>
                  </a:cxn>
                  <a:cxn ang="0">
                    <a:pos x="17" y="197"/>
                  </a:cxn>
                  <a:cxn ang="0">
                    <a:pos x="0" y="187"/>
                  </a:cxn>
                  <a:cxn ang="0">
                    <a:pos x="10" y="185"/>
                  </a:cxn>
                  <a:cxn ang="0">
                    <a:pos x="30" y="186"/>
                  </a:cxn>
                  <a:cxn ang="0">
                    <a:pos x="42" y="182"/>
                  </a:cxn>
                  <a:cxn ang="0">
                    <a:pos x="25" y="182"/>
                  </a:cxn>
                  <a:cxn ang="0">
                    <a:pos x="24" y="172"/>
                  </a:cxn>
                  <a:cxn ang="0">
                    <a:pos x="54" y="162"/>
                  </a:cxn>
                  <a:cxn ang="0">
                    <a:pos x="78" y="155"/>
                  </a:cxn>
                  <a:cxn ang="0">
                    <a:pos x="62" y="156"/>
                  </a:cxn>
                  <a:cxn ang="0">
                    <a:pos x="45" y="153"/>
                  </a:cxn>
                  <a:cxn ang="0">
                    <a:pos x="38" y="138"/>
                  </a:cxn>
                  <a:cxn ang="0">
                    <a:pos x="62" y="106"/>
                  </a:cxn>
                  <a:cxn ang="0">
                    <a:pos x="74" y="52"/>
                  </a:cxn>
                  <a:cxn ang="0">
                    <a:pos x="88" y="57"/>
                  </a:cxn>
                  <a:cxn ang="0">
                    <a:pos x="94" y="65"/>
                  </a:cxn>
                  <a:cxn ang="0">
                    <a:pos x="85" y="69"/>
                  </a:cxn>
                  <a:cxn ang="0">
                    <a:pos x="83" y="79"/>
                  </a:cxn>
                  <a:cxn ang="0">
                    <a:pos x="84" y="94"/>
                  </a:cxn>
                  <a:cxn ang="0">
                    <a:pos x="100" y="103"/>
                  </a:cxn>
                  <a:cxn ang="0">
                    <a:pos x="106" y="101"/>
                  </a:cxn>
                  <a:cxn ang="0">
                    <a:pos x="101" y="88"/>
                  </a:cxn>
                  <a:cxn ang="0">
                    <a:pos x="103" y="81"/>
                  </a:cxn>
                  <a:cxn ang="0">
                    <a:pos x="111" y="65"/>
                  </a:cxn>
                  <a:cxn ang="0">
                    <a:pos x="112" y="51"/>
                  </a:cxn>
                  <a:cxn ang="0">
                    <a:pos x="105" y="48"/>
                  </a:cxn>
                  <a:cxn ang="0">
                    <a:pos x="103" y="26"/>
                  </a:cxn>
                  <a:cxn ang="0">
                    <a:pos x="117" y="11"/>
                  </a:cxn>
                  <a:cxn ang="0">
                    <a:pos x="138" y="4"/>
                  </a:cxn>
                  <a:cxn ang="0">
                    <a:pos x="161" y="2"/>
                  </a:cxn>
                  <a:cxn ang="0">
                    <a:pos x="182" y="3"/>
                  </a:cxn>
                  <a:cxn ang="0">
                    <a:pos x="196" y="16"/>
                  </a:cxn>
                  <a:cxn ang="0">
                    <a:pos x="170" y="73"/>
                  </a:cxn>
                  <a:cxn ang="0">
                    <a:pos x="191" y="90"/>
                  </a:cxn>
                  <a:cxn ang="0">
                    <a:pos x="182" y="111"/>
                  </a:cxn>
                  <a:cxn ang="0">
                    <a:pos x="171" y="129"/>
                  </a:cxn>
                  <a:cxn ang="0">
                    <a:pos x="158" y="142"/>
                  </a:cxn>
                  <a:cxn ang="0">
                    <a:pos x="135" y="137"/>
                  </a:cxn>
                  <a:cxn ang="0">
                    <a:pos x="138" y="160"/>
                  </a:cxn>
                  <a:cxn ang="0">
                    <a:pos x="138" y="182"/>
                  </a:cxn>
                  <a:cxn ang="0">
                    <a:pos x="132" y="208"/>
                  </a:cxn>
                  <a:cxn ang="0">
                    <a:pos x="137" y="232"/>
                  </a:cxn>
                </a:cxnLst>
                <a:rect l="0" t="0" r="r" b="b"/>
                <a:pathLst>
                  <a:path w="196" h="239">
                    <a:moveTo>
                      <a:pt x="137" y="239"/>
                    </a:moveTo>
                    <a:lnTo>
                      <a:pt x="124" y="239"/>
                    </a:lnTo>
                    <a:lnTo>
                      <a:pt x="117" y="232"/>
                    </a:lnTo>
                    <a:lnTo>
                      <a:pt x="116" y="221"/>
                    </a:lnTo>
                    <a:lnTo>
                      <a:pt x="117" y="212"/>
                    </a:lnTo>
                    <a:lnTo>
                      <a:pt x="116" y="201"/>
                    </a:lnTo>
                    <a:lnTo>
                      <a:pt x="107" y="196"/>
                    </a:lnTo>
                    <a:lnTo>
                      <a:pt x="99" y="194"/>
                    </a:lnTo>
                    <a:lnTo>
                      <a:pt x="90" y="189"/>
                    </a:lnTo>
                    <a:lnTo>
                      <a:pt x="88" y="183"/>
                    </a:lnTo>
                    <a:lnTo>
                      <a:pt x="85" y="183"/>
                    </a:lnTo>
                    <a:lnTo>
                      <a:pt x="79" y="177"/>
                    </a:lnTo>
                    <a:lnTo>
                      <a:pt x="64" y="178"/>
                    </a:lnTo>
                    <a:lnTo>
                      <a:pt x="52" y="181"/>
                    </a:lnTo>
                    <a:lnTo>
                      <a:pt x="37" y="191"/>
                    </a:lnTo>
                    <a:lnTo>
                      <a:pt x="17" y="197"/>
                    </a:lnTo>
                    <a:lnTo>
                      <a:pt x="0" y="188"/>
                    </a:lnTo>
                    <a:lnTo>
                      <a:pt x="0" y="187"/>
                    </a:lnTo>
                    <a:lnTo>
                      <a:pt x="3" y="185"/>
                    </a:lnTo>
                    <a:lnTo>
                      <a:pt x="10" y="185"/>
                    </a:lnTo>
                    <a:lnTo>
                      <a:pt x="21" y="191"/>
                    </a:lnTo>
                    <a:lnTo>
                      <a:pt x="30" y="186"/>
                    </a:lnTo>
                    <a:lnTo>
                      <a:pt x="38" y="186"/>
                    </a:lnTo>
                    <a:lnTo>
                      <a:pt x="42" y="182"/>
                    </a:lnTo>
                    <a:lnTo>
                      <a:pt x="35" y="181"/>
                    </a:lnTo>
                    <a:lnTo>
                      <a:pt x="25" y="182"/>
                    </a:lnTo>
                    <a:lnTo>
                      <a:pt x="20" y="181"/>
                    </a:lnTo>
                    <a:lnTo>
                      <a:pt x="24" y="172"/>
                    </a:lnTo>
                    <a:lnTo>
                      <a:pt x="43" y="169"/>
                    </a:lnTo>
                    <a:lnTo>
                      <a:pt x="54" y="162"/>
                    </a:lnTo>
                    <a:lnTo>
                      <a:pt x="72" y="159"/>
                    </a:lnTo>
                    <a:lnTo>
                      <a:pt x="78" y="155"/>
                    </a:lnTo>
                    <a:lnTo>
                      <a:pt x="73" y="151"/>
                    </a:lnTo>
                    <a:lnTo>
                      <a:pt x="62" y="156"/>
                    </a:lnTo>
                    <a:lnTo>
                      <a:pt x="52" y="155"/>
                    </a:lnTo>
                    <a:lnTo>
                      <a:pt x="45" y="153"/>
                    </a:lnTo>
                    <a:lnTo>
                      <a:pt x="38" y="146"/>
                    </a:lnTo>
                    <a:lnTo>
                      <a:pt x="38" y="138"/>
                    </a:lnTo>
                    <a:lnTo>
                      <a:pt x="40" y="133"/>
                    </a:lnTo>
                    <a:lnTo>
                      <a:pt x="62" y="106"/>
                    </a:lnTo>
                    <a:lnTo>
                      <a:pt x="68" y="69"/>
                    </a:lnTo>
                    <a:lnTo>
                      <a:pt x="74" y="52"/>
                    </a:lnTo>
                    <a:lnTo>
                      <a:pt x="84" y="48"/>
                    </a:lnTo>
                    <a:lnTo>
                      <a:pt x="88" y="57"/>
                    </a:lnTo>
                    <a:lnTo>
                      <a:pt x="94" y="62"/>
                    </a:lnTo>
                    <a:lnTo>
                      <a:pt x="94" y="65"/>
                    </a:lnTo>
                    <a:lnTo>
                      <a:pt x="94" y="67"/>
                    </a:lnTo>
                    <a:lnTo>
                      <a:pt x="85" y="69"/>
                    </a:lnTo>
                    <a:lnTo>
                      <a:pt x="84" y="73"/>
                    </a:lnTo>
                    <a:lnTo>
                      <a:pt x="83" y="79"/>
                    </a:lnTo>
                    <a:lnTo>
                      <a:pt x="84" y="90"/>
                    </a:lnTo>
                    <a:lnTo>
                      <a:pt x="84" y="94"/>
                    </a:lnTo>
                    <a:lnTo>
                      <a:pt x="89" y="100"/>
                    </a:lnTo>
                    <a:lnTo>
                      <a:pt x="100" y="103"/>
                    </a:lnTo>
                    <a:lnTo>
                      <a:pt x="105" y="103"/>
                    </a:lnTo>
                    <a:lnTo>
                      <a:pt x="106" y="101"/>
                    </a:lnTo>
                    <a:lnTo>
                      <a:pt x="105" y="94"/>
                    </a:lnTo>
                    <a:lnTo>
                      <a:pt x="101" y="88"/>
                    </a:lnTo>
                    <a:lnTo>
                      <a:pt x="100" y="83"/>
                    </a:lnTo>
                    <a:lnTo>
                      <a:pt x="103" y="81"/>
                    </a:lnTo>
                    <a:lnTo>
                      <a:pt x="110" y="76"/>
                    </a:lnTo>
                    <a:lnTo>
                      <a:pt x="111" y="65"/>
                    </a:lnTo>
                    <a:lnTo>
                      <a:pt x="116" y="53"/>
                    </a:lnTo>
                    <a:lnTo>
                      <a:pt x="112" y="51"/>
                    </a:lnTo>
                    <a:lnTo>
                      <a:pt x="106" y="51"/>
                    </a:lnTo>
                    <a:lnTo>
                      <a:pt x="105" y="48"/>
                    </a:lnTo>
                    <a:lnTo>
                      <a:pt x="102" y="31"/>
                    </a:lnTo>
                    <a:lnTo>
                      <a:pt x="103" y="26"/>
                    </a:lnTo>
                    <a:lnTo>
                      <a:pt x="108" y="19"/>
                    </a:lnTo>
                    <a:lnTo>
                      <a:pt x="117" y="11"/>
                    </a:lnTo>
                    <a:lnTo>
                      <a:pt x="128" y="6"/>
                    </a:lnTo>
                    <a:lnTo>
                      <a:pt x="138" y="4"/>
                    </a:lnTo>
                    <a:lnTo>
                      <a:pt x="151" y="6"/>
                    </a:lnTo>
                    <a:lnTo>
                      <a:pt x="161" y="2"/>
                    </a:lnTo>
                    <a:lnTo>
                      <a:pt x="173" y="0"/>
                    </a:lnTo>
                    <a:lnTo>
                      <a:pt x="182" y="3"/>
                    </a:lnTo>
                    <a:lnTo>
                      <a:pt x="191" y="10"/>
                    </a:lnTo>
                    <a:lnTo>
                      <a:pt x="196" y="16"/>
                    </a:lnTo>
                    <a:lnTo>
                      <a:pt x="186" y="62"/>
                    </a:lnTo>
                    <a:lnTo>
                      <a:pt x="170" y="73"/>
                    </a:lnTo>
                    <a:lnTo>
                      <a:pt x="172" y="81"/>
                    </a:lnTo>
                    <a:lnTo>
                      <a:pt x="191" y="90"/>
                    </a:lnTo>
                    <a:lnTo>
                      <a:pt x="189" y="101"/>
                    </a:lnTo>
                    <a:lnTo>
                      <a:pt x="182" y="111"/>
                    </a:lnTo>
                    <a:lnTo>
                      <a:pt x="172" y="118"/>
                    </a:lnTo>
                    <a:lnTo>
                      <a:pt x="171" y="129"/>
                    </a:lnTo>
                    <a:lnTo>
                      <a:pt x="166" y="140"/>
                    </a:lnTo>
                    <a:lnTo>
                      <a:pt x="158" y="142"/>
                    </a:lnTo>
                    <a:lnTo>
                      <a:pt x="145" y="137"/>
                    </a:lnTo>
                    <a:lnTo>
                      <a:pt x="135" y="137"/>
                    </a:lnTo>
                    <a:lnTo>
                      <a:pt x="134" y="145"/>
                    </a:lnTo>
                    <a:lnTo>
                      <a:pt x="138" y="160"/>
                    </a:lnTo>
                    <a:lnTo>
                      <a:pt x="139" y="170"/>
                    </a:lnTo>
                    <a:lnTo>
                      <a:pt x="138" y="182"/>
                    </a:lnTo>
                    <a:lnTo>
                      <a:pt x="138" y="201"/>
                    </a:lnTo>
                    <a:lnTo>
                      <a:pt x="132" y="208"/>
                    </a:lnTo>
                    <a:lnTo>
                      <a:pt x="132" y="215"/>
                    </a:lnTo>
                    <a:lnTo>
                      <a:pt x="137" y="232"/>
                    </a:lnTo>
                    <a:lnTo>
                      <a:pt x="137" y="23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4" name="Portugal"/>
              <p:cNvSpPr>
                <a:spLocks noChangeAspect="1"/>
              </p:cNvSpPr>
              <p:nvPr>
                <p:custDataLst>
                  <p:tags r:id="rId229"/>
                </p:custDataLst>
              </p:nvPr>
            </p:nvSpPr>
            <p:spPr bwMode="gray">
              <a:xfrm>
                <a:off x="4198556" y="3447723"/>
                <a:ext cx="81921" cy="166183"/>
              </a:xfrm>
              <a:custGeom>
                <a:avLst/>
                <a:gdLst/>
                <a:ahLst/>
                <a:cxnLst>
                  <a:cxn ang="0">
                    <a:pos x="109" y="328"/>
                  </a:cxn>
                  <a:cxn ang="0">
                    <a:pos x="115" y="307"/>
                  </a:cxn>
                  <a:cxn ang="0">
                    <a:pos x="136" y="287"/>
                  </a:cxn>
                  <a:cxn ang="0">
                    <a:pos x="124" y="265"/>
                  </a:cxn>
                  <a:cxn ang="0">
                    <a:pos x="121" y="238"/>
                  </a:cxn>
                  <a:cxn ang="0">
                    <a:pos x="132" y="217"/>
                  </a:cxn>
                  <a:cxn ang="0">
                    <a:pos x="118" y="194"/>
                  </a:cxn>
                  <a:cxn ang="0">
                    <a:pos x="122" y="172"/>
                  </a:cxn>
                  <a:cxn ang="0">
                    <a:pos x="143" y="157"/>
                  </a:cxn>
                  <a:cxn ang="0">
                    <a:pos x="137" y="137"/>
                  </a:cxn>
                  <a:cxn ang="0">
                    <a:pos x="143" y="115"/>
                  </a:cxn>
                  <a:cxn ang="0">
                    <a:pos x="146" y="87"/>
                  </a:cxn>
                  <a:cxn ang="0">
                    <a:pos x="169" y="55"/>
                  </a:cxn>
                  <a:cxn ang="0">
                    <a:pos x="177" y="33"/>
                  </a:cxn>
                  <a:cxn ang="0">
                    <a:pos x="163" y="15"/>
                  </a:cxn>
                  <a:cxn ang="0">
                    <a:pos x="131" y="11"/>
                  </a:cxn>
                  <a:cxn ang="0">
                    <a:pos x="94" y="15"/>
                  </a:cxn>
                  <a:cxn ang="0">
                    <a:pos x="73" y="12"/>
                  </a:cxn>
                  <a:cxn ang="0">
                    <a:pos x="59" y="2"/>
                  </a:cxn>
                  <a:cxn ang="0">
                    <a:pos x="35" y="18"/>
                  </a:cxn>
                  <a:cxn ang="0">
                    <a:pos x="45" y="74"/>
                  </a:cxn>
                  <a:cxn ang="0">
                    <a:pos x="38" y="104"/>
                  </a:cxn>
                  <a:cxn ang="0">
                    <a:pos x="32" y="129"/>
                  </a:cxn>
                  <a:cxn ang="0">
                    <a:pos x="28" y="155"/>
                  </a:cxn>
                  <a:cxn ang="0">
                    <a:pos x="16" y="184"/>
                  </a:cxn>
                  <a:cxn ang="0">
                    <a:pos x="3" y="220"/>
                  </a:cxn>
                  <a:cxn ang="0">
                    <a:pos x="1" y="238"/>
                  </a:cxn>
                  <a:cxn ang="0">
                    <a:pos x="18" y="259"/>
                  </a:cxn>
                  <a:cxn ang="0">
                    <a:pos x="40" y="253"/>
                  </a:cxn>
                  <a:cxn ang="0">
                    <a:pos x="36" y="262"/>
                  </a:cxn>
                  <a:cxn ang="0">
                    <a:pos x="35" y="290"/>
                  </a:cxn>
                  <a:cxn ang="0">
                    <a:pos x="36" y="319"/>
                  </a:cxn>
                  <a:cxn ang="0">
                    <a:pos x="29" y="340"/>
                  </a:cxn>
                  <a:cxn ang="0">
                    <a:pos x="32" y="355"/>
                  </a:cxn>
                  <a:cxn ang="0">
                    <a:pos x="55" y="352"/>
                  </a:cxn>
                  <a:cxn ang="0">
                    <a:pos x="76" y="356"/>
                  </a:cxn>
                  <a:cxn ang="0">
                    <a:pos x="97" y="352"/>
                  </a:cxn>
                  <a:cxn ang="0">
                    <a:pos x="113" y="345"/>
                  </a:cxn>
                </a:cxnLst>
                <a:rect l="0" t="0" r="r" b="b"/>
                <a:pathLst>
                  <a:path w="177" h="356">
                    <a:moveTo>
                      <a:pt x="113" y="345"/>
                    </a:moveTo>
                    <a:lnTo>
                      <a:pt x="109" y="328"/>
                    </a:lnTo>
                    <a:lnTo>
                      <a:pt x="108" y="317"/>
                    </a:lnTo>
                    <a:lnTo>
                      <a:pt x="115" y="307"/>
                    </a:lnTo>
                    <a:lnTo>
                      <a:pt x="130" y="296"/>
                    </a:lnTo>
                    <a:lnTo>
                      <a:pt x="136" y="287"/>
                    </a:lnTo>
                    <a:lnTo>
                      <a:pt x="134" y="275"/>
                    </a:lnTo>
                    <a:lnTo>
                      <a:pt x="124" y="265"/>
                    </a:lnTo>
                    <a:lnTo>
                      <a:pt x="120" y="253"/>
                    </a:lnTo>
                    <a:lnTo>
                      <a:pt x="121" y="238"/>
                    </a:lnTo>
                    <a:lnTo>
                      <a:pt x="129" y="226"/>
                    </a:lnTo>
                    <a:lnTo>
                      <a:pt x="132" y="217"/>
                    </a:lnTo>
                    <a:lnTo>
                      <a:pt x="130" y="212"/>
                    </a:lnTo>
                    <a:lnTo>
                      <a:pt x="118" y="194"/>
                    </a:lnTo>
                    <a:lnTo>
                      <a:pt x="114" y="178"/>
                    </a:lnTo>
                    <a:lnTo>
                      <a:pt x="122" y="172"/>
                    </a:lnTo>
                    <a:lnTo>
                      <a:pt x="134" y="168"/>
                    </a:lnTo>
                    <a:lnTo>
                      <a:pt x="143" y="157"/>
                    </a:lnTo>
                    <a:lnTo>
                      <a:pt x="145" y="147"/>
                    </a:lnTo>
                    <a:lnTo>
                      <a:pt x="137" y="137"/>
                    </a:lnTo>
                    <a:lnTo>
                      <a:pt x="137" y="130"/>
                    </a:lnTo>
                    <a:lnTo>
                      <a:pt x="143" y="115"/>
                    </a:lnTo>
                    <a:lnTo>
                      <a:pt x="146" y="101"/>
                    </a:lnTo>
                    <a:lnTo>
                      <a:pt x="146" y="87"/>
                    </a:lnTo>
                    <a:lnTo>
                      <a:pt x="147" y="77"/>
                    </a:lnTo>
                    <a:lnTo>
                      <a:pt x="169" y="55"/>
                    </a:lnTo>
                    <a:lnTo>
                      <a:pt x="177" y="42"/>
                    </a:lnTo>
                    <a:lnTo>
                      <a:pt x="177" y="33"/>
                    </a:lnTo>
                    <a:lnTo>
                      <a:pt x="169" y="24"/>
                    </a:lnTo>
                    <a:lnTo>
                      <a:pt x="163" y="15"/>
                    </a:lnTo>
                    <a:lnTo>
                      <a:pt x="148" y="11"/>
                    </a:lnTo>
                    <a:lnTo>
                      <a:pt x="131" y="11"/>
                    </a:lnTo>
                    <a:lnTo>
                      <a:pt x="118" y="17"/>
                    </a:lnTo>
                    <a:lnTo>
                      <a:pt x="94" y="15"/>
                    </a:lnTo>
                    <a:lnTo>
                      <a:pt x="81" y="17"/>
                    </a:lnTo>
                    <a:lnTo>
                      <a:pt x="73" y="12"/>
                    </a:lnTo>
                    <a:lnTo>
                      <a:pt x="72" y="0"/>
                    </a:lnTo>
                    <a:lnTo>
                      <a:pt x="59" y="2"/>
                    </a:lnTo>
                    <a:lnTo>
                      <a:pt x="44" y="8"/>
                    </a:lnTo>
                    <a:lnTo>
                      <a:pt x="35" y="18"/>
                    </a:lnTo>
                    <a:lnTo>
                      <a:pt x="44" y="63"/>
                    </a:lnTo>
                    <a:lnTo>
                      <a:pt x="45" y="74"/>
                    </a:lnTo>
                    <a:lnTo>
                      <a:pt x="41" y="81"/>
                    </a:lnTo>
                    <a:lnTo>
                      <a:pt x="38" y="104"/>
                    </a:lnTo>
                    <a:lnTo>
                      <a:pt x="35" y="113"/>
                    </a:lnTo>
                    <a:lnTo>
                      <a:pt x="32" y="129"/>
                    </a:lnTo>
                    <a:lnTo>
                      <a:pt x="30" y="144"/>
                    </a:lnTo>
                    <a:lnTo>
                      <a:pt x="28" y="155"/>
                    </a:lnTo>
                    <a:lnTo>
                      <a:pt x="22" y="173"/>
                    </a:lnTo>
                    <a:lnTo>
                      <a:pt x="16" y="184"/>
                    </a:lnTo>
                    <a:lnTo>
                      <a:pt x="3" y="203"/>
                    </a:lnTo>
                    <a:lnTo>
                      <a:pt x="3" y="220"/>
                    </a:lnTo>
                    <a:lnTo>
                      <a:pt x="0" y="235"/>
                    </a:lnTo>
                    <a:lnTo>
                      <a:pt x="1" y="238"/>
                    </a:lnTo>
                    <a:lnTo>
                      <a:pt x="8" y="243"/>
                    </a:lnTo>
                    <a:lnTo>
                      <a:pt x="18" y="259"/>
                    </a:lnTo>
                    <a:lnTo>
                      <a:pt x="25" y="255"/>
                    </a:lnTo>
                    <a:lnTo>
                      <a:pt x="40" y="253"/>
                    </a:lnTo>
                    <a:lnTo>
                      <a:pt x="39" y="258"/>
                    </a:lnTo>
                    <a:lnTo>
                      <a:pt x="36" y="262"/>
                    </a:lnTo>
                    <a:lnTo>
                      <a:pt x="38" y="277"/>
                    </a:lnTo>
                    <a:lnTo>
                      <a:pt x="35" y="290"/>
                    </a:lnTo>
                    <a:lnTo>
                      <a:pt x="36" y="296"/>
                    </a:lnTo>
                    <a:lnTo>
                      <a:pt x="36" y="319"/>
                    </a:lnTo>
                    <a:lnTo>
                      <a:pt x="35" y="328"/>
                    </a:lnTo>
                    <a:lnTo>
                      <a:pt x="29" y="340"/>
                    </a:lnTo>
                    <a:lnTo>
                      <a:pt x="29" y="351"/>
                    </a:lnTo>
                    <a:lnTo>
                      <a:pt x="32" y="355"/>
                    </a:lnTo>
                    <a:lnTo>
                      <a:pt x="43" y="352"/>
                    </a:lnTo>
                    <a:lnTo>
                      <a:pt x="55" y="352"/>
                    </a:lnTo>
                    <a:lnTo>
                      <a:pt x="67" y="352"/>
                    </a:lnTo>
                    <a:lnTo>
                      <a:pt x="76" y="356"/>
                    </a:lnTo>
                    <a:lnTo>
                      <a:pt x="87" y="356"/>
                    </a:lnTo>
                    <a:lnTo>
                      <a:pt x="97" y="352"/>
                    </a:lnTo>
                    <a:lnTo>
                      <a:pt x="104" y="348"/>
                    </a:lnTo>
                    <a:lnTo>
                      <a:pt x="113" y="34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5" name="Germany"/>
              <p:cNvSpPr>
                <a:spLocks noChangeAspect="1"/>
              </p:cNvSpPr>
              <p:nvPr>
                <p:custDataLst>
                  <p:tags r:id="rId230"/>
                </p:custDataLst>
              </p:nvPr>
            </p:nvSpPr>
            <p:spPr bwMode="gray">
              <a:xfrm>
                <a:off x="4589436" y="2949175"/>
                <a:ext cx="229379" cy="306619"/>
              </a:xfrm>
              <a:custGeom>
                <a:avLst/>
                <a:gdLst/>
                <a:ahLst/>
                <a:cxnLst>
                  <a:cxn ang="0">
                    <a:pos x="271" y="68"/>
                  </a:cxn>
                  <a:cxn ang="0">
                    <a:pos x="255" y="55"/>
                  </a:cxn>
                  <a:cxn ang="0">
                    <a:pos x="228" y="50"/>
                  </a:cxn>
                  <a:cxn ang="0">
                    <a:pos x="211" y="39"/>
                  </a:cxn>
                  <a:cxn ang="0">
                    <a:pos x="196" y="6"/>
                  </a:cxn>
                  <a:cxn ang="0">
                    <a:pos x="158" y="0"/>
                  </a:cxn>
                  <a:cxn ang="0">
                    <a:pos x="164" y="31"/>
                  </a:cxn>
                  <a:cxn ang="0">
                    <a:pos x="148" y="55"/>
                  </a:cxn>
                  <a:cxn ang="0">
                    <a:pos x="161" y="71"/>
                  </a:cxn>
                  <a:cxn ang="0">
                    <a:pos x="159" y="87"/>
                  </a:cxn>
                  <a:cxn ang="0">
                    <a:pos x="145" y="106"/>
                  </a:cxn>
                  <a:cxn ang="0">
                    <a:pos x="142" y="142"/>
                  </a:cxn>
                  <a:cxn ang="0">
                    <a:pos x="123" y="137"/>
                  </a:cxn>
                  <a:cxn ang="0">
                    <a:pos x="72" y="117"/>
                  </a:cxn>
                  <a:cxn ang="0">
                    <a:pos x="62" y="140"/>
                  </a:cxn>
                  <a:cxn ang="0">
                    <a:pos x="86" y="160"/>
                  </a:cxn>
                  <a:cxn ang="0">
                    <a:pos x="54" y="200"/>
                  </a:cxn>
                  <a:cxn ang="0">
                    <a:pos x="57" y="239"/>
                  </a:cxn>
                  <a:cxn ang="0">
                    <a:pos x="34" y="278"/>
                  </a:cxn>
                  <a:cxn ang="0">
                    <a:pos x="2" y="283"/>
                  </a:cxn>
                  <a:cxn ang="0">
                    <a:pos x="6" y="339"/>
                  </a:cxn>
                  <a:cxn ang="0">
                    <a:pos x="5" y="377"/>
                  </a:cxn>
                  <a:cxn ang="0">
                    <a:pos x="17" y="410"/>
                  </a:cxn>
                  <a:cxn ang="0">
                    <a:pos x="12" y="445"/>
                  </a:cxn>
                  <a:cxn ang="0">
                    <a:pos x="17" y="479"/>
                  </a:cxn>
                  <a:cxn ang="0">
                    <a:pos x="61" y="508"/>
                  </a:cxn>
                  <a:cxn ang="0">
                    <a:pos x="96" y="561"/>
                  </a:cxn>
                  <a:cxn ang="0">
                    <a:pos x="86" y="636"/>
                  </a:cxn>
                  <a:cxn ang="0">
                    <a:pos x="156" y="635"/>
                  </a:cxn>
                  <a:cxn ang="0">
                    <a:pos x="212" y="644"/>
                  </a:cxn>
                  <a:cxn ang="0">
                    <a:pos x="242" y="657"/>
                  </a:cxn>
                  <a:cxn ang="0">
                    <a:pos x="276" y="652"/>
                  </a:cxn>
                  <a:cxn ang="0">
                    <a:pos x="346" y="631"/>
                  </a:cxn>
                  <a:cxn ang="0">
                    <a:pos x="384" y="638"/>
                  </a:cxn>
                  <a:cxn ang="0">
                    <a:pos x="381" y="587"/>
                  </a:cxn>
                  <a:cxn ang="0">
                    <a:pos x="427" y="552"/>
                  </a:cxn>
                  <a:cxn ang="0">
                    <a:pos x="389" y="506"/>
                  </a:cxn>
                  <a:cxn ang="0">
                    <a:pos x="349" y="440"/>
                  </a:cxn>
                  <a:cxn ang="0">
                    <a:pos x="329" y="411"/>
                  </a:cxn>
                  <a:cxn ang="0">
                    <a:pos x="368" y="405"/>
                  </a:cxn>
                  <a:cxn ang="0">
                    <a:pos x="447" y="366"/>
                  </a:cxn>
                  <a:cxn ang="0">
                    <a:pos x="474" y="367"/>
                  </a:cxn>
                  <a:cxn ang="0">
                    <a:pos x="490" y="320"/>
                  </a:cxn>
                  <a:cxn ang="0">
                    <a:pos x="470" y="262"/>
                  </a:cxn>
                  <a:cxn ang="0">
                    <a:pos x="463" y="205"/>
                  </a:cxn>
                  <a:cxn ang="0">
                    <a:pos x="458" y="162"/>
                  </a:cxn>
                  <a:cxn ang="0">
                    <a:pos x="448" y="106"/>
                  </a:cxn>
                  <a:cxn ang="0">
                    <a:pos x="405" y="73"/>
                  </a:cxn>
                  <a:cxn ang="0">
                    <a:pos x="387" y="55"/>
                  </a:cxn>
                  <a:cxn ang="0">
                    <a:pos x="351" y="60"/>
                  </a:cxn>
                  <a:cxn ang="0">
                    <a:pos x="361" y="41"/>
                  </a:cxn>
                  <a:cxn ang="0">
                    <a:pos x="330" y="72"/>
                  </a:cxn>
                  <a:cxn ang="0">
                    <a:pos x="299" y="88"/>
                  </a:cxn>
                  <a:cxn ang="0">
                    <a:pos x="261" y="88"/>
                  </a:cxn>
                </a:cxnLst>
                <a:rect l="0" t="0" r="r" b="b"/>
                <a:pathLst>
                  <a:path w="490" h="659">
                    <a:moveTo>
                      <a:pt x="261" y="88"/>
                    </a:moveTo>
                    <a:lnTo>
                      <a:pt x="260" y="83"/>
                    </a:lnTo>
                    <a:lnTo>
                      <a:pt x="264" y="73"/>
                    </a:lnTo>
                    <a:lnTo>
                      <a:pt x="271" y="68"/>
                    </a:lnTo>
                    <a:lnTo>
                      <a:pt x="276" y="62"/>
                    </a:lnTo>
                    <a:lnTo>
                      <a:pt x="276" y="52"/>
                    </a:lnTo>
                    <a:lnTo>
                      <a:pt x="272" y="49"/>
                    </a:lnTo>
                    <a:lnTo>
                      <a:pt x="255" y="55"/>
                    </a:lnTo>
                    <a:lnTo>
                      <a:pt x="249" y="55"/>
                    </a:lnTo>
                    <a:lnTo>
                      <a:pt x="244" y="49"/>
                    </a:lnTo>
                    <a:lnTo>
                      <a:pt x="233" y="44"/>
                    </a:lnTo>
                    <a:lnTo>
                      <a:pt x="228" y="50"/>
                    </a:lnTo>
                    <a:lnTo>
                      <a:pt x="223" y="50"/>
                    </a:lnTo>
                    <a:lnTo>
                      <a:pt x="222" y="42"/>
                    </a:lnTo>
                    <a:lnTo>
                      <a:pt x="215" y="42"/>
                    </a:lnTo>
                    <a:lnTo>
                      <a:pt x="211" y="39"/>
                    </a:lnTo>
                    <a:lnTo>
                      <a:pt x="217" y="31"/>
                    </a:lnTo>
                    <a:lnTo>
                      <a:pt x="217" y="22"/>
                    </a:lnTo>
                    <a:lnTo>
                      <a:pt x="212" y="11"/>
                    </a:lnTo>
                    <a:lnTo>
                      <a:pt x="196" y="6"/>
                    </a:lnTo>
                    <a:lnTo>
                      <a:pt x="189" y="7"/>
                    </a:lnTo>
                    <a:lnTo>
                      <a:pt x="190" y="2"/>
                    </a:lnTo>
                    <a:lnTo>
                      <a:pt x="182" y="6"/>
                    </a:lnTo>
                    <a:lnTo>
                      <a:pt x="158" y="0"/>
                    </a:lnTo>
                    <a:lnTo>
                      <a:pt x="150" y="1"/>
                    </a:lnTo>
                    <a:lnTo>
                      <a:pt x="150" y="11"/>
                    </a:lnTo>
                    <a:lnTo>
                      <a:pt x="158" y="25"/>
                    </a:lnTo>
                    <a:lnTo>
                      <a:pt x="164" y="31"/>
                    </a:lnTo>
                    <a:lnTo>
                      <a:pt x="167" y="38"/>
                    </a:lnTo>
                    <a:lnTo>
                      <a:pt x="153" y="46"/>
                    </a:lnTo>
                    <a:lnTo>
                      <a:pt x="152" y="50"/>
                    </a:lnTo>
                    <a:lnTo>
                      <a:pt x="148" y="55"/>
                    </a:lnTo>
                    <a:lnTo>
                      <a:pt x="155" y="55"/>
                    </a:lnTo>
                    <a:lnTo>
                      <a:pt x="159" y="58"/>
                    </a:lnTo>
                    <a:lnTo>
                      <a:pt x="157" y="65"/>
                    </a:lnTo>
                    <a:lnTo>
                      <a:pt x="161" y="71"/>
                    </a:lnTo>
                    <a:lnTo>
                      <a:pt x="166" y="74"/>
                    </a:lnTo>
                    <a:lnTo>
                      <a:pt x="164" y="78"/>
                    </a:lnTo>
                    <a:lnTo>
                      <a:pt x="159" y="79"/>
                    </a:lnTo>
                    <a:lnTo>
                      <a:pt x="159" y="87"/>
                    </a:lnTo>
                    <a:lnTo>
                      <a:pt x="172" y="97"/>
                    </a:lnTo>
                    <a:lnTo>
                      <a:pt x="170" y="99"/>
                    </a:lnTo>
                    <a:lnTo>
                      <a:pt x="148" y="99"/>
                    </a:lnTo>
                    <a:lnTo>
                      <a:pt x="145" y="106"/>
                    </a:lnTo>
                    <a:lnTo>
                      <a:pt x="142" y="110"/>
                    </a:lnTo>
                    <a:lnTo>
                      <a:pt x="142" y="128"/>
                    </a:lnTo>
                    <a:lnTo>
                      <a:pt x="148" y="148"/>
                    </a:lnTo>
                    <a:lnTo>
                      <a:pt x="142" y="142"/>
                    </a:lnTo>
                    <a:lnTo>
                      <a:pt x="137" y="128"/>
                    </a:lnTo>
                    <a:lnTo>
                      <a:pt x="130" y="126"/>
                    </a:lnTo>
                    <a:lnTo>
                      <a:pt x="129" y="137"/>
                    </a:lnTo>
                    <a:lnTo>
                      <a:pt x="123" y="137"/>
                    </a:lnTo>
                    <a:lnTo>
                      <a:pt x="120" y="125"/>
                    </a:lnTo>
                    <a:lnTo>
                      <a:pt x="115" y="115"/>
                    </a:lnTo>
                    <a:lnTo>
                      <a:pt x="99" y="113"/>
                    </a:lnTo>
                    <a:lnTo>
                      <a:pt x="72" y="117"/>
                    </a:lnTo>
                    <a:lnTo>
                      <a:pt x="69" y="126"/>
                    </a:lnTo>
                    <a:lnTo>
                      <a:pt x="65" y="130"/>
                    </a:lnTo>
                    <a:lnTo>
                      <a:pt x="61" y="137"/>
                    </a:lnTo>
                    <a:lnTo>
                      <a:pt x="62" y="140"/>
                    </a:lnTo>
                    <a:lnTo>
                      <a:pt x="73" y="142"/>
                    </a:lnTo>
                    <a:lnTo>
                      <a:pt x="78" y="146"/>
                    </a:lnTo>
                    <a:lnTo>
                      <a:pt x="83" y="152"/>
                    </a:lnTo>
                    <a:lnTo>
                      <a:pt x="86" y="160"/>
                    </a:lnTo>
                    <a:lnTo>
                      <a:pt x="83" y="159"/>
                    </a:lnTo>
                    <a:lnTo>
                      <a:pt x="78" y="151"/>
                    </a:lnTo>
                    <a:lnTo>
                      <a:pt x="64" y="154"/>
                    </a:lnTo>
                    <a:lnTo>
                      <a:pt x="54" y="200"/>
                    </a:lnTo>
                    <a:lnTo>
                      <a:pt x="38" y="211"/>
                    </a:lnTo>
                    <a:lnTo>
                      <a:pt x="40" y="219"/>
                    </a:lnTo>
                    <a:lnTo>
                      <a:pt x="59" y="228"/>
                    </a:lnTo>
                    <a:lnTo>
                      <a:pt x="57" y="239"/>
                    </a:lnTo>
                    <a:lnTo>
                      <a:pt x="50" y="249"/>
                    </a:lnTo>
                    <a:lnTo>
                      <a:pt x="40" y="256"/>
                    </a:lnTo>
                    <a:lnTo>
                      <a:pt x="39" y="267"/>
                    </a:lnTo>
                    <a:lnTo>
                      <a:pt x="34" y="278"/>
                    </a:lnTo>
                    <a:lnTo>
                      <a:pt x="26" y="280"/>
                    </a:lnTo>
                    <a:lnTo>
                      <a:pt x="13" y="275"/>
                    </a:lnTo>
                    <a:lnTo>
                      <a:pt x="3" y="275"/>
                    </a:lnTo>
                    <a:lnTo>
                      <a:pt x="2" y="283"/>
                    </a:lnTo>
                    <a:lnTo>
                      <a:pt x="6" y="298"/>
                    </a:lnTo>
                    <a:lnTo>
                      <a:pt x="7" y="308"/>
                    </a:lnTo>
                    <a:lnTo>
                      <a:pt x="6" y="320"/>
                    </a:lnTo>
                    <a:lnTo>
                      <a:pt x="6" y="339"/>
                    </a:lnTo>
                    <a:lnTo>
                      <a:pt x="0" y="346"/>
                    </a:lnTo>
                    <a:lnTo>
                      <a:pt x="0" y="353"/>
                    </a:lnTo>
                    <a:lnTo>
                      <a:pt x="5" y="370"/>
                    </a:lnTo>
                    <a:lnTo>
                      <a:pt x="5" y="377"/>
                    </a:lnTo>
                    <a:lnTo>
                      <a:pt x="10" y="383"/>
                    </a:lnTo>
                    <a:lnTo>
                      <a:pt x="11" y="394"/>
                    </a:lnTo>
                    <a:lnTo>
                      <a:pt x="17" y="402"/>
                    </a:lnTo>
                    <a:lnTo>
                      <a:pt x="17" y="410"/>
                    </a:lnTo>
                    <a:lnTo>
                      <a:pt x="6" y="427"/>
                    </a:lnTo>
                    <a:lnTo>
                      <a:pt x="14" y="431"/>
                    </a:lnTo>
                    <a:lnTo>
                      <a:pt x="12" y="438"/>
                    </a:lnTo>
                    <a:lnTo>
                      <a:pt x="12" y="445"/>
                    </a:lnTo>
                    <a:lnTo>
                      <a:pt x="17" y="453"/>
                    </a:lnTo>
                    <a:lnTo>
                      <a:pt x="21" y="460"/>
                    </a:lnTo>
                    <a:lnTo>
                      <a:pt x="22" y="472"/>
                    </a:lnTo>
                    <a:lnTo>
                      <a:pt x="17" y="479"/>
                    </a:lnTo>
                    <a:lnTo>
                      <a:pt x="29" y="490"/>
                    </a:lnTo>
                    <a:lnTo>
                      <a:pt x="37" y="496"/>
                    </a:lnTo>
                    <a:lnTo>
                      <a:pt x="43" y="507"/>
                    </a:lnTo>
                    <a:lnTo>
                      <a:pt x="61" y="508"/>
                    </a:lnTo>
                    <a:lnTo>
                      <a:pt x="102" y="520"/>
                    </a:lnTo>
                    <a:lnTo>
                      <a:pt x="115" y="526"/>
                    </a:lnTo>
                    <a:lnTo>
                      <a:pt x="113" y="538"/>
                    </a:lnTo>
                    <a:lnTo>
                      <a:pt x="96" y="561"/>
                    </a:lnTo>
                    <a:lnTo>
                      <a:pt x="93" y="573"/>
                    </a:lnTo>
                    <a:lnTo>
                      <a:pt x="86" y="598"/>
                    </a:lnTo>
                    <a:lnTo>
                      <a:pt x="84" y="626"/>
                    </a:lnTo>
                    <a:lnTo>
                      <a:pt x="86" y="636"/>
                    </a:lnTo>
                    <a:lnTo>
                      <a:pt x="88" y="638"/>
                    </a:lnTo>
                    <a:lnTo>
                      <a:pt x="94" y="644"/>
                    </a:lnTo>
                    <a:lnTo>
                      <a:pt x="130" y="639"/>
                    </a:lnTo>
                    <a:lnTo>
                      <a:pt x="156" y="635"/>
                    </a:lnTo>
                    <a:lnTo>
                      <a:pt x="175" y="639"/>
                    </a:lnTo>
                    <a:lnTo>
                      <a:pt x="193" y="648"/>
                    </a:lnTo>
                    <a:lnTo>
                      <a:pt x="204" y="644"/>
                    </a:lnTo>
                    <a:lnTo>
                      <a:pt x="212" y="644"/>
                    </a:lnTo>
                    <a:lnTo>
                      <a:pt x="221" y="646"/>
                    </a:lnTo>
                    <a:lnTo>
                      <a:pt x="227" y="654"/>
                    </a:lnTo>
                    <a:lnTo>
                      <a:pt x="237" y="659"/>
                    </a:lnTo>
                    <a:lnTo>
                      <a:pt x="242" y="657"/>
                    </a:lnTo>
                    <a:lnTo>
                      <a:pt x="244" y="649"/>
                    </a:lnTo>
                    <a:lnTo>
                      <a:pt x="252" y="643"/>
                    </a:lnTo>
                    <a:lnTo>
                      <a:pt x="263" y="644"/>
                    </a:lnTo>
                    <a:lnTo>
                      <a:pt x="276" y="652"/>
                    </a:lnTo>
                    <a:lnTo>
                      <a:pt x="290" y="652"/>
                    </a:lnTo>
                    <a:lnTo>
                      <a:pt x="309" y="639"/>
                    </a:lnTo>
                    <a:lnTo>
                      <a:pt x="342" y="636"/>
                    </a:lnTo>
                    <a:lnTo>
                      <a:pt x="346" y="631"/>
                    </a:lnTo>
                    <a:lnTo>
                      <a:pt x="357" y="635"/>
                    </a:lnTo>
                    <a:lnTo>
                      <a:pt x="372" y="635"/>
                    </a:lnTo>
                    <a:lnTo>
                      <a:pt x="377" y="642"/>
                    </a:lnTo>
                    <a:lnTo>
                      <a:pt x="384" y="638"/>
                    </a:lnTo>
                    <a:lnTo>
                      <a:pt x="384" y="631"/>
                    </a:lnTo>
                    <a:lnTo>
                      <a:pt x="377" y="615"/>
                    </a:lnTo>
                    <a:lnTo>
                      <a:pt x="376" y="599"/>
                    </a:lnTo>
                    <a:lnTo>
                      <a:pt x="381" y="587"/>
                    </a:lnTo>
                    <a:lnTo>
                      <a:pt x="403" y="578"/>
                    </a:lnTo>
                    <a:lnTo>
                      <a:pt x="406" y="568"/>
                    </a:lnTo>
                    <a:lnTo>
                      <a:pt x="410" y="560"/>
                    </a:lnTo>
                    <a:lnTo>
                      <a:pt x="427" y="552"/>
                    </a:lnTo>
                    <a:lnTo>
                      <a:pt x="428" y="545"/>
                    </a:lnTo>
                    <a:lnTo>
                      <a:pt x="425" y="539"/>
                    </a:lnTo>
                    <a:lnTo>
                      <a:pt x="399" y="519"/>
                    </a:lnTo>
                    <a:lnTo>
                      <a:pt x="389" y="506"/>
                    </a:lnTo>
                    <a:lnTo>
                      <a:pt x="361" y="483"/>
                    </a:lnTo>
                    <a:lnTo>
                      <a:pt x="351" y="470"/>
                    </a:lnTo>
                    <a:lnTo>
                      <a:pt x="351" y="453"/>
                    </a:lnTo>
                    <a:lnTo>
                      <a:pt x="349" y="440"/>
                    </a:lnTo>
                    <a:lnTo>
                      <a:pt x="336" y="434"/>
                    </a:lnTo>
                    <a:lnTo>
                      <a:pt x="328" y="425"/>
                    </a:lnTo>
                    <a:lnTo>
                      <a:pt x="328" y="416"/>
                    </a:lnTo>
                    <a:lnTo>
                      <a:pt x="329" y="411"/>
                    </a:lnTo>
                    <a:lnTo>
                      <a:pt x="345" y="426"/>
                    </a:lnTo>
                    <a:lnTo>
                      <a:pt x="347" y="426"/>
                    </a:lnTo>
                    <a:lnTo>
                      <a:pt x="352" y="412"/>
                    </a:lnTo>
                    <a:lnTo>
                      <a:pt x="368" y="405"/>
                    </a:lnTo>
                    <a:lnTo>
                      <a:pt x="385" y="399"/>
                    </a:lnTo>
                    <a:lnTo>
                      <a:pt x="403" y="391"/>
                    </a:lnTo>
                    <a:lnTo>
                      <a:pt x="409" y="379"/>
                    </a:lnTo>
                    <a:lnTo>
                      <a:pt x="447" y="366"/>
                    </a:lnTo>
                    <a:lnTo>
                      <a:pt x="451" y="343"/>
                    </a:lnTo>
                    <a:lnTo>
                      <a:pt x="460" y="346"/>
                    </a:lnTo>
                    <a:lnTo>
                      <a:pt x="468" y="358"/>
                    </a:lnTo>
                    <a:lnTo>
                      <a:pt x="474" y="367"/>
                    </a:lnTo>
                    <a:lnTo>
                      <a:pt x="481" y="367"/>
                    </a:lnTo>
                    <a:lnTo>
                      <a:pt x="485" y="358"/>
                    </a:lnTo>
                    <a:lnTo>
                      <a:pt x="489" y="341"/>
                    </a:lnTo>
                    <a:lnTo>
                      <a:pt x="490" y="320"/>
                    </a:lnTo>
                    <a:lnTo>
                      <a:pt x="489" y="316"/>
                    </a:lnTo>
                    <a:lnTo>
                      <a:pt x="473" y="297"/>
                    </a:lnTo>
                    <a:lnTo>
                      <a:pt x="470" y="273"/>
                    </a:lnTo>
                    <a:lnTo>
                      <a:pt x="470" y="262"/>
                    </a:lnTo>
                    <a:lnTo>
                      <a:pt x="469" y="246"/>
                    </a:lnTo>
                    <a:lnTo>
                      <a:pt x="467" y="237"/>
                    </a:lnTo>
                    <a:lnTo>
                      <a:pt x="464" y="213"/>
                    </a:lnTo>
                    <a:lnTo>
                      <a:pt x="463" y="205"/>
                    </a:lnTo>
                    <a:lnTo>
                      <a:pt x="448" y="194"/>
                    </a:lnTo>
                    <a:lnTo>
                      <a:pt x="447" y="186"/>
                    </a:lnTo>
                    <a:lnTo>
                      <a:pt x="452" y="174"/>
                    </a:lnTo>
                    <a:lnTo>
                      <a:pt x="458" y="162"/>
                    </a:lnTo>
                    <a:lnTo>
                      <a:pt x="459" y="149"/>
                    </a:lnTo>
                    <a:lnTo>
                      <a:pt x="459" y="132"/>
                    </a:lnTo>
                    <a:lnTo>
                      <a:pt x="451" y="115"/>
                    </a:lnTo>
                    <a:lnTo>
                      <a:pt x="448" y="106"/>
                    </a:lnTo>
                    <a:lnTo>
                      <a:pt x="426" y="99"/>
                    </a:lnTo>
                    <a:lnTo>
                      <a:pt x="424" y="85"/>
                    </a:lnTo>
                    <a:lnTo>
                      <a:pt x="415" y="72"/>
                    </a:lnTo>
                    <a:lnTo>
                      <a:pt x="405" y="73"/>
                    </a:lnTo>
                    <a:lnTo>
                      <a:pt x="399" y="68"/>
                    </a:lnTo>
                    <a:lnTo>
                      <a:pt x="397" y="67"/>
                    </a:lnTo>
                    <a:lnTo>
                      <a:pt x="394" y="60"/>
                    </a:lnTo>
                    <a:lnTo>
                      <a:pt x="387" y="55"/>
                    </a:lnTo>
                    <a:lnTo>
                      <a:pt x="381" y="49"/>
                    </a:lnTo>
                    <a:lnTo>
                      <a:pt x="365" y="51"/>
                    </a:lnTo>
                    <a:lnTo>
                      <a:pt x="357" y="55"/>
                    </a:lnTo>
                    <a:lnTo>
                      <a:pt x="351" y="60"/>
                    </a:lnTo>
                    <a:lnTo>
                      <a:pt x="352" y="54"/>
                    </a:lnTo>
                    <a:lnTo>
                      <a:pt x="358" y="49"/>
                    </a:lnTo>
                    <a:lnTo>
                      <a:pt x="368" y="42"/>
                    </a:lnTo>
                    <a:lnTo>
                      <a:pt x="361" y="41"/>
                    </a:lnTo>
                    <a:lnTo>
                      <a:pt x="352" y="42"/>
                    </a:lnTo>
                    <a:lnTo>
                      <a:pt x="339" y="60"/>
                    </a:lnTo>
                    <a:lnTo>
                      <a:pt x="335" y="70"/>
                    </a:lnTo>
                    <a:lnTo>
                      <a:pt x="330" y="72"/>
                    </a:lnTo>
                    <a:lnTo>
                      <a:pt x="330" y="66"/>
                    </a:lnTo>
                    <a:lnTo>
                      <a:pt x="312" y="71"/>
                    </a:lnTo>
                    <a:lnTo>
                      <a:pt x="296" y="83"/>
                    </a:lnTo>
                    <a:lnTo>
                      <a:pt x="299" y="88"/>
                    </a:lnTo>
                    <a:lnTo>
                      <a:pt x="290" y="88"/>
                    </a:lnTo>
                    <a:lnTo>
                      <a:pt x="277" y="84"/>
                    </a:lnTo>
                    <a:lnTo>
                      <a:pt x="264" y="94"/>
                    </a:lnTo>
                    <a:lnTo>
                      <a:pt x="261" y="8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46" name="Group 189"/>
              <p:cNvGrpSpPr>
                <a:grpSpLocks noChangeAspect="1"/>
              </p:cNvGrpSpPr>
              <p:nvPr/>
            </p:nvGrpSpPr>
            <p:grpSpPr bwMode="gray">
              <a:xfrm>
                <a:off x="4317926" y="3110678"/>
                <a:ext cx="365134" cy="360452"/>
                <a:chOff x="2465" y="1836"/>
                <a:chExt cx="156" cy="154"/>
              </a:xfrm>
              <a:grpFill/>
            </p:grpSpPr>
            <p:sp>
              <p:nvSpPr>
                <p:cNvPr id="277" name="France"/>
                <p:cNvSpPr>
                  <a:spLocks noChangeAspect="1"/>
                </p:cNvSpPr>
                <p:nvPr>
                  <p:custDataLst>
                    <p:tags r:id="rId259"/>
                  </p:custDataLst>
                </p:nvPr>
              </p:nvSpPr>
              <p:spPr bwMode="gray">
                <a:xfrm>
                  <a:off x="2610" y="1966"/>
                  <a:ext cx="11" cy="24"/>
                </a:xfrm>
                <a:custGeom>
                  <a:avLst/>
                  <a:gdLst/>
                  <a:ahLst/>
                  <a:cxnLst>
                    <a:cxn ang="0">
                      <a:pos x="41" y="0"/>
                    </a:cxn>
                    <a:cxn ang="0">
                      <a:pos x="46" y="2"/>
                    </a:cxn>
                    <a:cxn ang="0">
                      <a:pos x="47" y="32"/>
                    </a:cxn>
                    <a:cxn ang="0">
                      <a:pos x="52" y="59"/>
                    </a:cxn>
                    <a:cxn ang="0">
                      <a:pos x="51" y="70"/>
                    </a:cxn>
                    <a:cxn ang="0">
                      <a:pos x="47" y="79"/>
                    </a:cxn>
                    <a:cxn ang="0">
                      <a:pos x="44" y="89"/>
                    </a:cxn>
                    <a:cxn ang="0">
                      <a:pos x="41" y="103"/>
                    </a:cxn>
                    <a:cxn ang="0">
                      <a:pos x="33" y="115"/>
                    </a:cxn>
                    <a:cxn ang="0">
                      <a:pos x="33" y="121"/>
                    </a:cxn>
                    <a:cxn ang="0">
                      <a:pos x="28" y="114"/>
                    </a:cxn>
                    <a:cxn ang="0">
                      <a:pos x="22" y="113"/>
                    </a:cxn>
                    <a:cxn ang="0">
                      <a:pos x="16" y="109"/>
                    </a:cxn>
                    <a:cxn ang="0">
                      <a:pos x="14" y="103"/>
                    </a:cxn>
                    <a:cxn ang="0">
                      <a:pos x="14" y="95"/>
                    </a:cxn>
                    <a:cxn ang="0">
                      <a:pos x="8" y="93"/>
                    </a:cxn>
                    <a:cxn ang="0">
                      <a:pos x="5" y="87"/>
                    </a:cxn>
                    <a:cxn ang="0">
                      <a:pos x="4" y="65"/>
                    </a:cxn>
                    <a:cxn ang="0">
                      <a:pos x="0" y="60"/>
                    </a:cxn>
                    <a:cxn ang="0">
                      <a:pos x="0" y="44"/>
                    </a:cxn>
                    <a:cxn ang="0">
                      <a:pos x="5" y="30"/>
                    </a:cxn>
                    <a:cxn ang="0">
                      <a:pos x="10" y="32"/>
                    </a:cxn>
                    <a:cxn ang="0">
                      <a:pos x="16" y="29"/>
                    </a:cxn>
                    <a:cxn ang="0">
                      <a:pos x="27" y="22"/>
                    </a:cxn>
                    <a:cxn ang="0">
                      <a:pos x="36" y="18"/>
                    </a:cxn>
                    <a:cxn ang="0">
                      <a:pos x="38" y="14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52" h="121">
                      <a:moveTo>
                        <a:pt x="41" y="0"/>
                      </a:moveTo>
                      <a:lnTo>
                        <a:pt x="46" y="2"/>
                      </a:lnTo>
                      <a:lnTo>
                        <a:pt x="47" y="32"/>
                      </a:lnTo>
                      <a:lnTo>
                        <a:pt x="52" y="59"/>
                      </a:lnTo>
                      <a:lnTo>
                        <a:pt x="51" y="70"/>
                      </a:lnTo>
                      <a:lnTo>
                        <a:pt x="47" y="79"/>
                      </a:lnTo>
                      <a:lnTo>
                        <a:pt x="44" y="89"/>
                      </a:lnTo>
                      <a:lnTo>
                        <a:pt x="41" y="103"/>
                      </a:lnTo>
                      <a:lnTo>
                        <a:pt x="33" y="115"/>
                      </a:lnTo>
                      <a:lnTo>
                        <a:pt x="33" y="121"/>
                      </a:lnTo>
                      <a:lnTo>
                        <a:pt x="28" y="114"/>
                      </a:lnTo>
                      <a:lnTo>
                        <a:pt x="22" y="113"/>
                      </a:lnTo>
                      <a:lnTo>
                        <a:pt x="16" y="109"/>
                      </a:lnTo>
                      <a:lnTo>
                        <a:pt x="14" y="103"/>
                      </a:lnTo>
                      <a:lnTo>
                        <a:pt x="14" y="95"/>
                      </a:lnTo>
                      <a:lnTo>
                        <a:pt x="8" y="93"/>
                      </a:lnTo>
                      <a:lnTo>
                        <a:pt x="5" y="87"/>
                      </a:lnTo>
                      <a:lnTo>
                        <a:pt x="4" y="65"/>
                      </a:lnTo>
                      <a:lnTo>
                        <a:pt x="0" y="60"/>
                      </a:lnTo>
                      <a:lnTo>
                        <a:pt x="0" y="44"/>
                      </a:lnTo>
                      <a:lnTo>
                        <a:pt x="5" y="30"/>
                      </a:lnTo>
                      <a:lnTo>
                        <a:pt x="10" y="32"/>
                      </a:lnTo>
                      <a:lnTo>
                        <a:pt x="16" y="29"/>
                      </a:lnTo>
                      <a:lnTo>
                        <a:pt x="27" y="22"/>
                      </a:lnTo>
                      <a:lnTo>
                        <a:pt x="36" y="18"/>
                      </a:lnTo>
                      <a:lnTo>
                        <a:pt x="38" y="14"/>
                      </a:lnTo>
                      <a:lnTo>
                        <a:pt x="41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78" name="France"/>
                <p:cNvSpPr>
                  <a:spLocks noChangeAspect="1"/>
                </p:cNvSpPr>
                <p:nvPr>
                  <p:custDataLst>
                    <p:tags r:id="rId260"/>
                  </p:custDataLst>
                </p:nvPr>
              </p:nvSpPr>
              <p:spPr bwMode="gray">
                <a:xfrm>
                  <a:off x="2465" y="1836"/>
                  <a:ext cx="139" cy="140"/>
                </a:xfrm>
                <a:custGeom>
                  <a:avLst/>
                  <a:gdLst/>
                  <a:ahLst/>
                  <a:cxnLst>
                    <a:cxn ang="0">
                      <a:pos x="349" y="36"/>
                    </a:cxn>
                    <a:cxn ang="0">
                      <a:pos x="322" y="100"/>
                    </a:cxn>
                    <a:cxn ang="0">
                      <a:pos x="284" y="138"/>
                    </a:cxn>
                    <a:cxn ang="0">
                      <a:pos x="248" y="154"/>
                    </a:cxn>
                    <a:cxn ang="0">
                      <a:pos x="191" y="133"/>
                    </a:cxn>
                    <a:cxn ang="0">
                      <a:pos x="159" y="140"/>
                    </a:cxn>
                    <a:cxn ang="0">
                      <a:pos x="177" y="202"/>
                    </a:cxn>
                    <a:cxn ang="0">
                      <a:pos x="160" y="205"/>
                    </a:cxn>
                    <a:cxn ang="0">
                      <a:pos x="93" y="194"/>
                    </a:cxn>
                    <a:cxn ang="0">
                      <a:pos x="51" y="206"/>
                    </a:cxn>
                    <a:cxn ang="0">
                      <a:pos x="0" y="235"/>
                    </a:cxn>
                    <a:cxn ang="0">
                      <a:pos x="11" y="248"/>
                    </a:cxn>
                    <a:cxn ang="0">
                      <a:pos x="10" y="263"/>
                    </a:cxn>
                    <a:cxn ang="0">
                      <a:pos x="43" y="273"/>
                    </a:cxn>
                    <a:cxn ang="0">
                      <a:pos x="103" y="294"/>
                    </a:cxn>
                    <a:cxn ang="0">
                      <a:pos x="128" y="302"/>
                    </a:cxn>
                    <a:cxn ang="0">
                      <a:pos x="148" y="328"/>
                    </a:cxn>
                    <a:cxn ang="0">
                      <a:pos x="144" y="351"/>
                    </a:cxn>
                    <a:cxn ang="0">
                      <a:pos x="188" y="397"/>
                    </a:cxn>
                    <a:cxn ang="0">
                      <a:pos x="199" y="440"/>
                    </a:cxn>
                    <a:cxn ang="0">
                      <a:pos x="220" y="475"/>
                    </a:cxn>
                    <a:cxn ang="0">
                      <a:pos x="197" y="527"/>
                    </a:cxn>
                    <a:cxn ang="0">
                      <a:pos x="197" y="547"/>
                    </a:cxn>
                    <a:cxn ang="0">
                      <a:pos x="162" y="628"/>
                    </a:cxn>
                    <a:cxn ang="0">
                      <a:pos x="222" y="666"/>
                    </a:cxn>
                    <a:cxn ang="0">
                      <a:pos x="308" y="670"/>
                    </a:cxn>
                    <a:cxn ang="0">
                      <a:pos x="361" y="698"/>
                    </a:cxn>
                    <a:cxn ang="0">
                      <a:pos x="431" y="697"/>
                    </a:cxn>
                    <a:cxn ang="0">
                      <a:pos x="452" y="629"/>
                    </a:cxn>
                    <a:cxn ang="0">
                      <a:pos x="487" y="615"/>
                    </a:cxn>
                    <a:cxn ang="0">
                      <a:pos x="525" y="625"/>
                    </a:cxn>
                    <a:cxn ang="0">
                      <a:pos x="552" y="628"/>
                    </a:cxn>
                    <a:cxn ang="0">
                      <a:pos x="593" y="645"/>
                    </a:cxn>
                    <a:cxn ang="0">
                      <a:pos x="640" y="608"/>
                    </a:cxn>
                    <a:cxn ang="0">
                      <a:pos x="667" y="585"/>
                    </a:cxn>
                    <a:cxn ang="0">
                      <a:pos x="635" y="550"/>
                    </a:cxn>
                    <a:cxn ang="0">
                      <a:pos x="624" y="509"/>
                    </a:cxn>
                    <a:cxn ang="0">
                      <a:pos x="640" y="477"/>
                    </a:cxn>
                    <a:cxn ang="0">
                      <a:pos x="636" y="430"/>
                    </a:cxn>
                    <a:cxn ang="0">
                      <a:pos x="620" y="388"/>
                    </a:cxn>
                    <a:cxn ang="0">
                      <a:pos x="584" y="385"/>
                    </a:cxn>
                    <a:cxn ang="0">
                      <a:pos x="603" y="355"/>
                    </a:cxn>
                    <a:cxn ang="0">
                      <a:pos x="635" y="299"/>
                    </a:cxn>
                    <a:cxn ang="0">
                      <a:pos x="663" y="279"/>
                    </a:cxn>
                    <a:cxn ang="0">
                      <a:pos x="694" y="179"/>
                    </a:cxn>
                    <a:cxn ang="0">
                      <a:pos x="608" y="143"/>
                    </a:cxn>
                    <a:cxn ang="0">
                      <a:pos x="548" y="127"/>
                    </a:cxn>
                    <a:cxn ang="0">
                      <a:pos x="526" y="82"/>
                    </a:cxn>
                    <a:cxn ang="0">
                      <a:pos x="489" y="93"/>
                    </a:cxn>
                    <a:cxn ang="0">
                      <a:pos x="452" y="52"/>
                    </a:cxn>
                    <a:cxn ang="0">
                      <a:pos x="408" y="16"/>
                    </a:cxn>
                  </a:cxnLst>
                  <a:rect l="0" t="0" r="r" b="b"/>
                  <a:pathLst>
                    <a:path w="694" h="700">
                      <a:moveTo>
                        <a:pt x="408" y="0"/>
                      </a:moveTo>
                      <a:lnTo>
                        <a:pt x="403" y="4"/>
                      </a:lnTo>
                      <a:lnTo>
                        <a:pt x="381" y="7"/>
                      </a:lnTo>
                      <a:lnTo>
                        <a:pt x="355" y="17"/>
                      </a:lnTo>
                      <a:lnTo>
                        <a:pt x="349" y="36"/>
                      </a:lnTo>
                      <a:lnTo>
                        <a:pt x="345" y="66"/>
                      </a:lnTo>
                      <a:lnTo>
                        <a:pt x="349" y="70"/>
                      </a:lnTo>
                      <a:lnTo>
                        <a:pt x="348" y="76"/>
                      </a:lnTo>
                      <a:lnTo>
                        <a:pt x="336" y="90"/>
                      </a:lnTo>
                      <a:lnTo>
                        <a:pt x="322" y="100"/>
                      </a:lnTo>
                      <a:lnTo>
                        <a:pt x="290" y="109"/>
                      </a:lnTo>
                      <a:lnTo>
                        <a:pt x="275" y="119"/>
                      </a:lnTo>
                      <a:lnTo>
                        <a:pt x="268" y="132"/>
                      </a:lnTo>
                      <a:lnTo>
                        <a:pt x="269" y="138"/>
                      </a:lnTo>
                      <a:lnTo>
                        <a:pt x="284" y="138"/>
                      </a:lnTo>
                      <a:lnTo>
                        <a:pt x="289" y="139"/>
                      </a:lnTo>
                      <a:lnTo>
                        <a:pt x="288" y="143"/>
                      </a:lnTo>
                      <a:lnTo>
                        <a:pt x="267" y="145"/>
                      </a:lnTo>
                      <a:lnTo>
                        <a:pt x="257" y="152"/>
                      </a:lnTo>
                      <a:lnTo>
                        <a:pt x="248" y="154"/>
                      </a:lnTo>
                      <a:lnTo>
                        <a:pt x="237" y="154"/>
                      </a:lnTo>
                      <a:lnTo>
                        <a:pt x="224" y="150"/>
                      </a:lnTo>
                      <a:lnTo>
                        <a:pt x="208" y="148"/>
                      </a:lnTo>
                      <a:lnTo>
                        <a:pt x="203" y="149"/>
                      </a:lnTo>
                      <a:lnTo>
                        <a:pt x="191" y="133"/>
                      </a:lnTo>
                      <a:lnTo>
                        <a:pt x="192" y="124"/>
                      </a:lnTo>
                      <a:lnTo>
                        <a:pt x="188" y="122"/>
                      </a:lnTo>
                      <a:lnTo>
                        <a:pt x="167" y="123"/>
                      </a:lnTo>
                      <a:lnTo>
                        <a:pt x="157" y="120"/>
                      </a:lnTo>
                      <a:lnTo>
                        <a:pt x="159" y="140"/>
                      </a:lnTo>
                      <a:lnTo>
                        <a:pt x="162" y="149"/>
                      </a:lnTo>
                      <a:lnTo>
                        <a:pt x="168" y="154"/>
                      </a:lnTo>
                      <a:lnTo>
                        <a:pt x="175" y="177"/>
                      </a:lnTo>
                      <a:lnTo>
                        <a:pt x="175" y="189"/>
                      </a:lnTo>
                      <a:lnTo>
                        <a:pt x="177" y="202"/>
                      </a:lnTo>
                      <a:lnTo>
                        <a:pt x="183" y="206"/>
                      </a:lnTo>
                      <a:lnTo>
                        <a:pt x="179" y="210"/>
                      </a:lnTo>
                      <a:lnTo>
                        <a:pt x="168" y="211"/>
                      </a:lnTo>
                      <a:lnTo>
                        <a:pt x="165" y="208"/>
                      </a:lnTo>
                      <a:lnTo>
                        <a:pt x="160" y="205"/>
                      </a:lnTo>
                      <a:lnTo>
                        <a:pt x="152" y="208"/>
                      </a:lnTo>
                      <a:lnTo>
                        <a:pt x="145" y="210"/>
                      </a:lnTo>
                      <a:lnTo>
                        <a:pt x="136" y="209"/>
                      </a:lnTo>
                      <a:lnTo>
                        <a:pt x="118" y="215"/>
                      </a:lnTo>
                      <a:lnTo>
                        <a:pt x="93" y="194"/>
                      </a:lnTo>
                      <a:lnTo>
                        <a:pt x="76" y="195"/>
                      </a:lnTo>
                      <a:lnTo>
                        <a:pt x="71" y="193"/>
                      </a:lnTo>
                      <a:lnTo>
                        <a:pt x="66" y="197"/>
                      </a:lnTo>
                      <a:lnTo>
                        <a:pt x="65" y="202"/>
                      </a:lnTo>
                      <a:lnTo>
                        <a:pt x="51" y="206"/>
                      </a:lnTo>
                      <a:lnTo>
                        <a:pt x="42" y="206"/>
                      </a:lnTo>
                      <a:lnTo>
                        <a:pt x="26" y="209"/>
                      </a:lnTo>
                      <a:lnTo>
                        <a:pt x="4" y="219"/>
                      </a:lnTo>
                      <a:lnTo>
                        <a:pt x="0" y="229"/>
                      </a:lnTo>
                      <a:lnTo>
                        <a:pt x="0" y="235"/>
                      </a:lnTo>
                      <a:lnTo>
                        <a:pt x="20" y="232"/>
                      </a:lnTo>
                      <a:lnTo>
                        <a:pt x="19" y="237"/>
                      </a:lnTo>
                      <a:lnTo>
                        <a:pt x="14" y="237"/>
                      </a:lnTo>
                      <a:lnTo>
                        <a:pt x="9" y="243"/>
                      </a:lnTo>
                      <a:lnTo>
                        <a:pt x="11" y="248"/>
                      </a:lnTo>
                      <a:lnTo>
                        <a:pt x="19" y="247"/>
                      </a:lnTo>
                      <a:lnTo>
                        <a:pt x="28" y="247"/>
                      </a:lnTo>
                      <a:lnTo>
                        <a:pt x="26" y="254"/>
                      </a:lnTo>
                      <a:lnTo>
                        <a:pt x="5" y="258"/>
                      </a:lnTo>
                      <a:lnTo>
                        <a:pt x="10" y="263"/>
                      </a:lnTo>
                      <a:lnTo>
                        <a:pt x="23" y="268"/>
                      </a:lnTo>
                      <a:lnTo>
                        <a:pt x="23" y="279"/>
                      </a:lnTo>
                      <a:lnTo>
                        <a:pt x="35" y="280"/>
                      </a:lnTo>
                      <a:lnTo>
                        <a:pt x="35" y="274"/>
                      </a:lnTo>
                      <a:lnTo>
                        <a:pt x="43" y="273"/>
                      </a:lnTo>
                      <a:lnTo>
                        <a:pt x="74" y="284"/>
                      </a:lnTo>
                      <a:lnTo>
                        <a:pt x="84" y="291"/>
                      </a:lnTo>
                      <a:lnTo>
                        <a:pt x="86" y="296"/>
                      </a:lnTo>
                      <a:lnTo>
                        <a:pt x="91" y="299"/>
                      </a:lnTo>
                      <a:lnTo>
                        <a:pt x="103" y="294"/>
                      </a:lnTo>
                      <a:lnTo>
                        <a:pt x="111" y="296"/>
                      </a:lnTo>
                      <a:lnTo>
                        <a:pt x="106" y="300"/>
                      </a:lnTo>
                      <a:lnTo>
                        <a:pt x="118" y="305"/>
                      </a:lnTo>
                      <a:lnTo>
                        <a:pt x="124" y="300"/>
                      </a:lnTo>
                      <a:lnTo>
                        <a:pt x="128" y="302"/>
                      </a:lnTo>
                      <a:lnTo>
                        <a:pt x="125" y="318"/>
                      </a:lnTo>
                      <a:lnTo>
                        <a:pt x="140" y="322"/>
                      </a:lnTo>
                      <a:lnTo>
                        <a:pt x="155" y="318"/>
                      </a:lnTo>
                      <a:lnTo>
                        <a:pt x="165" y="323"/>
                      </a:lnTo>
                      <a:lnTo>
                        <a:pt x="148" y="328"/>
                      </a:lnTo>
                      <a:lnTo>
                        <a:pt x="148" y="334"/>
                      </a:lnTo>
                      <a:lnTo>
                        <a:pt x="155" y="342"/>
                      </a:lnTo>
                      <a:lnTo>
                        <a:pt x="150" y="349"/>
                      </a:lnTo>
                      <a:lnTo>
                        <a:pt x="144" y="344"/>
                      </a:lnTo>
                      <a:lnTo>
                        <a:pt x="144" y="351"/>
                      </a:lnTo>
                      <a:lnTo>
                        <a:pt x="155" y="364"/>
                      </a:lnTo>
                      <a:lnTo>
                        <a:pt x="161" y="374"/>
                      </a:lnTo>
                      <a:lnTo>
                        <a:pt x="164" y="381"/>
                      </a:lnTo>
                      <a:lnTo>
                        <a:pt x="176" y="389"/>
                      </a:lnTo>
                      <a:lnTo>
                        <a:pt x="188" y="397"/>
                      </a:lnTo>
                      <a:lnTo>
                        <a:pt x="203" y="401"/>
                      </a:lnTo>
                      <a:lnTo>
                        <a:pt x="200" y="408"/>
                      </a:lnTo>
                      <a:lnTo>
                        <a:pt x="204" y="417"/>
                      </a:lnTo>
                      <a:lnTo>
                        <a:pt x="204" y="429"/>
                      </a:lnTo>
                      <a:lnTo>
                        <a:pt x="199" y="440"/>
                      </a:lnTo>
                      <a:lnTo>
                        <a:pt x="203" y="450"/>
                      </a:lnTo>
                      <a:lnTo>
                        <a:pt x="213" y="457"/>
                      </a:lnTo>
                      <a:lnTo>
                        <a:pt x="220" y="467"/>
                      </a:lnTo>
                      <a:lnTo>
                        <a:pt x="224" y="480"/>
                      </a:lnTo>
                      <a:lnTo>
                        <a:pt x="220" y="475"/>
                      </a:lnTo>
                      <a:lnTo>
                        <a:pt x="207" y="460"/>
                      </a:lnTo>
                      <a:lnTo>
                        <a:pt x="203" y="467"/>
                      </a:lnTo>
                      <a:lnTo>
                        <a:pt x="203" y="484"/>
                      </a:lnTo>
                      <a:lnTo>
                        <a:pt x="198" y="517"/>
                      </a:lnTo>
                      <a:lnTo>
                        <a:pt x="197" y="527"/>
                      </a:lnTo>
                      <a:lnTo>
                        <a:pt x="203" y="518"/>
                      </a:lnTo>
                      <a:lnTo>
                        <a:pt x="207" y="526"/>
                      </a:lnTo>
                      <a:lnTo>
                        <a:pt x="204" y="530"/>
                      </a:lnTo>
                      <a:lnTo>
                        <a:pt x="197" y="534"/>
                      </a:lnTo>
                      <a:lnTo>
                        <a:pt x="197" y="547"/>
                      </a:lnTo>
                      <a:lnTo>
                        <a:pt x="186" y="607"/>
                      </a:lnTo>
                      <a:lnTo>
                        <a:pt x="181" y="618"/>
                      </a:lnTo>
                      <a:lnTo>
                        <a:pt x="171" y="624"/>
                      </a:lnTo>
                      <a:lnTo>
                        <a:pt x="161" y="624"/>
                      </a:lnTo>
                      <a:lnTo>
                        <a:pt x="162" y="628"/>
                      </a:lnTo>
                      <a:lnTo>
                        <a:pt x="184" y="646"/>
                      </a:lnTo>
                      <a:lnTo>
                        <a:pt x="193" y="650"/>
                      </a:lnTo>
                      <a:lnTo>
                        <a:pt x="204" y="652"/>
                      </a:lnTo>
                      <a:lnTo>
                        <a:pt x="215" y="660"/>
                      </a:lnTo>
                      <a:lnTo>
                        <a:pt x="222" y="666"/>
                      </a:lnTo>
                      <a:lnTo>
                        <a:pt x="268" y="678"/>
                      </a:lnTo>
                      <a:lnTo>
                        <a:pt x="284" y="679"/>
                      </a:lnTo>
                      <a:lnTo>
                        <a:pt x="290" y="678"/>
                      </a:lnTo>
                      <a:lnTo>
                        <a:pt x="300" y="671"/>
                      </a:lnTo>
                      <a:lnTo>
                        <a:pt x="308" y="670"/>
                      </a:lnTo>
                      <a:lnTo>
                        <a:pt x="317" y="672"/>
                      </a:lnTo>
                      <a:lnTo>
                        <a:pt x="332" y="682"/>
                      </a:lnTo>
                      <a:lnTo>
                        <a:pt x="345" y="683"/>
                      </a:lnTo>
                      <a:lnTo>
                        <a:pt x="350" y="689"/>
                      </a:lnTo>
                      <a:lnTo>
                        <a:pt x="361" y="698"/>
                      </a:lnTo>
                      <a:lnTo>
                        <a:pt x="369" y="700"/>
                      </a:lnTo>
                      <a:lnTo>
                        <a:pt x="397" y="698"/>
                      </a:lnTo>
                      <a:lnTo>
                        <a:pt x="410" y="695"/>
                      </a:lnTo>
                      <a:lnTo>
                        <a:pt x="424" y="695"/>
                      </a:lnTo>
                      <a:lnTo>
                        <a:pt x="431" y="697"/>
                      </a:lnTo>
                      <a:lnTo>
                        <a:pt x="429" y="667"/>
                      </a:lnTo>
                      <a:lnTo>
                        <a:pt x="425" y="663"/>
                      </a:lnTo>
                      <a:lnTo>
                        <a:pt x="428" y="649"/>
                      </a:lnTo>
                      <a:lnTo>
                        <a:pt x="434" y="638"/>
                      </a:lnTo>
                      <a:lnTo>
                        <a:pt x="452" y="629"/>
                      </a:lnTo>
                      <a:lnTo>
                        <a:pt x="463" y="622"/>
                      </a:lnTo>
                      <a:lnTo>
                        <a:pt x="469" y="617"/>
                      </a:lnTo>
                      <a:lnTo>
                        <a:pt x="478" y="612"/>
                      </a:lnTo>
                      <a:lnTo>
                        <a:pt x="483" y="612"/>
                      </a:lnTo>
                      <a:lnTo>
                        <a:pt x="487" y="615"/>
                      </a:lnTo>
                      <a:lnTo>
                        <a:pt x="503" y="618"/>
                      </a:lnTo>
                      <a:lnTo>
                        <a:pt x="505" y="619"/>
                      </a:lnTo>
                      <a:lnTo>
                        <a:pt x="507" y="623"/>
                      </a:lnTo>
                      <a:lnTo>
                        <a:pt x="512" y="624"/>
                      </a:lnTo>
                      <a:lnTo>
                        <a:pt x="525" y="625"/>
                      </a:lnTo>
                      <a:lnTo>
                        <a:pt x="526" y="622"/>
                      </a:lnTo>
                      <a:lnTo>
                        <a:pt x="536" y="623"/>
                      </a:lnTo>
                      <a:lnTo>
                        <a:pt x="538" y="625"/>
                      </a:lnTo>
                      <a:lnTo>
                        <a:pt x="546" y="625"/>
                      </a:lnTo>
                      <a:lnTo>
                        <a:pt x="552" y="628"/>
                      </a:lnTo>
                      <a:lnTo>
                        <a:pt x="553" y="633"/>
                      </a:lnTo>
                      <a:lnTo>
                        <a:pt x="557" y="634"/>
                      </a:lnTo>
                      <a:lnTo>
                        <a:pt x="569" y="635"/>
                      </a:lnTo>
                      <a:lnTo>
                        <a:pt x="578" y="644"/>
                      </a:lnTo>
                      <a:lnTo>
                        <a:pt x="593" y="645"/>
                      </a:lnTo>
                      <a:lnTo>
                        <a:pt x="617" y="634"/>
                      </a:lnTo>
                      <a:lnTo>
                        <a:pt x="619" y="631"/>
                      </a:lnTo>
                      <a:lnTo>
                        <a:pt x="620" y="625"/>
                      </a:lnTo>
                      <a:lnTo>
                        <a:pt x="629" y="619"/>
                      </a:lnTo>
                      <a:lnTo>
                        <a:pt x="640" y="608"/>
                      </a:lnTo>
                      <a:lnTo>
                        <a:pt x="646" y="604"/>
                      </a:lnTo>
                      <a:lnTo>
                        <a:pt x="648" y="600"/>
                      </a:lnTo>
                      <a:lnTo>
                        <a:pt x="667" y="590"/>
                      </a:lnTo>
                      <a:lnTo>
                        <a:pt x="668" y="588"/>
                      </a:lnTo>
                      <a:lnTo>
                        <a:pt x="667" y="585"/>
                      </a:lnTo>
                      <a:lnTo>
                        <a:pt x="670" y="579"/>
                      </a:lnTo>
                      <a:lnTo>
                        <a:pt x="670" y="570"/>
                      </a:lnTo>
                      <a:lnTo>
                        <a:pt x="666" y="561"/>
                      </a:lnTo>
                      <a:lnTo>
                        <a:pt x="641" y="559"/>
                      </a:lnTo>
                      <a:lnTo>
                        <a:pt x="635" y="550"/>
                      </a:lnTo>
                      <a:lnTo>
                        <a:pt x="633" y="539"/>
                      </a:lnTo>
                      <a:lnTo>
                        <a:pt x="632" y="528"/>
                      </a:lnTo>
                      <a:lnTo>
                        <a:pt x="634" y="520"/>
                      </a:lnTo>
                      <a:lnTo>
                        <a:pt x="633" y="511"/>
                      </a:lnTo>
                      <a:lnTo>
                        <a:pt x="624" y="509"/>
                      </a:lnTo>
                      <a:lnTo>
                        <a:pt x="623" y="504"/>
                      </a:lnTo>
                      <a:lnTo>
                        <a:pt x="622" y="499"/>
                      </a:lnTo>
                      <a:lnTo>
                        <a:pt x="624" y="490"/>
                      </a:lnTo>
                      <a:lnTo>
                        <a:pt x="629" y="484"/>
                      </a:lnTo>
                      <a:lnTo>
                        <a:pt x="640" y="477"/>
                      </a:lnTo>
                      <a:lnTo>
                        <a:pt x="638" y="467"/>
                      </a:lnTo>
                      <a:lnTo>
                        <a:pt x="627" y="441"/>
                      </a:lnTo>
                      <a:lnTo>
                        <a:pt x="625" y="436"/>
                      </a:lnTo>
                      <a:lnTo>
                        <a:pt x="627" y="431"/>
                      </a:lnTo>
                      <a:lnTo>
                        <a:pt x="636" y="430"/>
                      </a:lnTo>
                      <a:lnTo>
                        <a:pt x="634" y="419"/>
                      </a:lnTo>
                      <a:lnTo>
                        <a:pt x="627" y="418"/>
                      </a:lnTo>
                      <a:lnTo>
                        <a:pt x="624" y="407"/>
                      </a:lnTo>
                      <a:lnTo>
                        <a:pt x="624" y="389"/>
                      </a:lnTo>
                      <a:lnTo>
                        <a:pt x="620" y="388"/>
                      </a:lnTo>
                      <a:lnTo>
                        <a:pt x="603" y="388"/>
                      </a:lnTo>
                      <a:lnTo>
                        <a:pt x="592" y="404"/>
                      </a:lnTo>
                      <a:lnTo>
                        <a:pt x="586" y="409"/>
                      </a:lnTo>
                      <a:lnTo>
                        <a:pt x="582" y="407"/>
                      </a:lnTo>
                      <a:lnTo>
                        <a:pt x="584" y="385"/>
                      </a:lnTo>
                      <a:lnTo>
                        <a:pt x="587" y="372"/>
                      </a:lnTo>
                      <a:lnTo>
                        <a:pt x="591" y="369"/>
                      </a:lnTo>
                      <a:lnTo>
                        <a:pt x="595" y="362"/>
                      </a:lnTo>
                      <a:lnTo>
                        <a:pt x="602" y="358"/>
                      </a:lnTo>
                      <a:lnTo>
                        <a:pt x="603" y="355"/>
                      </a:lnTo>
                      <a:lnTo>
                        <a:pt x="606" y="345"/>
                      </a:lnTo>
                      <a:lnTo>
                        <a:pt x="612" y="337"/>
                      </a:lnTo>
                      <a:lnTo>
                        <a:pt x="635" y="311"/>
                      </a:lnTo>
                      <a:lnTo>
                        <a:pt x="632" y="306"/>
                      </a:lnTo>
                      <a:lnTo>
                        <a:pt x="635" y="299"/>
                      </a:lnTo>
                      <a:lnTo>
                        <a:pt x="652" y="300"/>
                      </a:lnTo>
                      <a:lnTo>
                        <a:pt x="660" y="297"/>
                      </a:lnTo>
                      <a:lnTo>
                        <a:pt x="667" y="291"/>
                      </a:lnTo>
                      <a:lnTo>
                        <a:pt x="665" y="289"/>
                      </a:lnTo>
                      <a:lnTo>
                        <a:pt x="663" y="279"/>
                      </a:lnTo>
                      <a:lnTo>
                        <a:pt x="665" y="251"/>
                      </a:lnTo>
                      <a:lnTo>
                        <a:pt x="672" y="226"/>
                      </a:lnTo>
                      <a:lnTo>
                        <a:pt x="675" y="214"/>
                      </a:lnTo>
                      <a:lnTo>
                        <a:pt x="692" y="191"/>
                      </a:lnTo>
                      <a:lnTo>
                        <a:pt x="694" y="179"/>
                      </a:lnTo>
                      <a:lnTo>
                        <a:pt x="681" y="173"/>
                      </a:lnTo>
                      <a:lnTo>
                        <a:pt x="640" y="161"/>
                      </a:lnTo>
                      <a:lnTo>
                        <a:pt x="622" y="160"/>
                      </a:lnTo>
                      <a:lnTo>
                        <a:pt x="616" y="149"/>
                      </a:lnTo>
                      <a:lnTo>
                        <a:pt x="608" y="143"/>
                      </a:lnTo>
                      <a:lnTo>
                        <a:pt x="596" y="132"/>
                      </a:lnTo>
                      <a:lnTo>
                        <a:pt x="584" y="133"/>
                      </a:lnTo>
                      <a:lnTo>
                        <a:pt x="566" y="128"/>
                      </a:lnTo>
                      <a:lnTo>
                        <a:pt x="558" y="129"/>
                      </a:lnTo>
                      <a:lnTo>
                        <a:pt x="548" y="127"/>
                      </a:lnTo>
                      <a:lnTo>
                        <a:pt x="539" y="119"/>
                      </a:lnTo>
                      <a:lnTo>
                        <a:pt x="528" y="114"/>
                      </a:lnTo>
                      <a:lnTo>
                        <a:pt x="531" y="108"/>
                      </a:lnTo>
                      <a:lnTo>
                        <a:pt x="526" y="106"/>
                      </a:lnTo>
                      <a:lnTo>
                        <a:pt x="526" y="82"/>
                      </a:lnTo>
                      <a:lnTo>
                        <a:pt x="520" y="82"/>
                      </a:lnTo>
                      <a:lnTo>
                        <a:pt x="514" y="90"/>
                      </a:lnTo>
                      <a:lnTo>
                        <a:pt x="509" y="97"/>
                      </a:lnTo>
                      <a:lnTo>
                        <a:pt x="499" y="97"/>
                      </a:lnTo>
                      <a:lnTo>
                        <a:pt x="489" y="93"/>
                      </a:lnTo>
                      <a:lnTo>
                        <a:pt x="487" y="78"/>
                      </a:lnTo>
                      <a:lnTo>
                        <a:pt x="484" y="69"/>
                      </a:lnTo>
                      <a:lnTo>
                        <a:pt x="478" y="64"/>
                      </a:lnTo>
                      <a:lnTo>
                        <a:pt x="466" y="60"/>
                      </a:lnTo>
                      <a:lnTo>
                        <a:pt x="452" y="52"/>
                      </a:lnTo>
                      <a:lnTo>
                        <a:pt x="442" y="48"/>
                      </a:lnTo>
                      <a:lnTo>
                        <a:pt x="433" y="30"/>
                      </a:lnTo>
                      <a:lnTo>
                        <a:pt x="421" y="31"/>
                      </a:lnTo>
                      <a:lnTo>
                        <a:pt x="410" y="26"/>
                      </a:lnTo>
                      <a:lnTo>
                        <a:pt x="408" y="16"/>
                      </a:lnTo>
                      <a:lnTo>
                        <a:pt x="408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47" name="Group 192"/>
              <p:cNvGrpSpPr>
                <a:grpSpLocks noChangeAspect="1"/>
              </p:cNvGrpSpPr>
              <p:nvPr/>
            </p:nvGrpSpPr>
            <p:grpSpPr bwMode="gray">
              <a:xfrm>
                <a:off x="4231324" y="2773631"/>
                <a:ext cx="252785" cy="381518"/>
                <a:chOff x="2428" y="1692"/>
                <a:chExt cx="108" cy="163"/>
              </a:xfrm>
              <a:grpFill/>
            </p:grpSpPr>
            <p:sp>
              <p:nvSpPr>
                <p:cNvPr id="275" name="UK"/>
                <p:cNvSpPr>
                  <a:spLocks noChangeAspect="1"/>
                </p:cNvSpPr>
                <p:nvPr>
                  <p:custDataLst>
                    <p:tags r:id="rId257"/>
                  </p:custDataLst>
                </p:nvPr>
              </p:nvSpPr>
              <p:spPr bwMode="gray">
                <a:xfrm>
                  <a:off x="2450" y="1692"/>
                  <a:ext cx="86" cy="163"/>
                </a:xfrm>
                <a:custGeom>
                  <a:avLst/>
                  <a:gdLst/>
                  <a:ahLst/>
                  <a:cxnLst>
                    <a:cxn ang="0">
                      <a:pos x="227" y="761"/>
                    </a:cxn>
                    <a:cxn ang="0">
                      <a:pos x="260" y="737"/>
                    </a:cxn>
                    <a:cxn ang="0">
                      <a:pos x="328" y="744"/>
                    </a:cxn>
                    <a:cxn ang="0">
                      <a:pos x="410" y="698"/>
                    </a:cxn>
                    <a:cxn ang="0">
                      <a:pos x="381" y="674"/>
                    </a:cxn>
                    <a:cxn ang="0">
                      <a:pos x="394" y="659"/>
                    </a:cxn>
                    <a:cxn ang="0">
                      <a:pos x="423" y="628"/>
                    </a:cxn>
                    <a:cxn ang="0">
                      <a:pos x="399" y="554"/>
                    </a:cxn>
                    <a:cxn ang="0">
                      <a:pos x="337" y="565"/>
                    </a:cxn>
                    <a:cxn ang="0">
                      <a:pos x="339" y="507"/>
                    </a:cxn>
                    <a:cxn ang="0">
                      <a:pos x="344" y="495"/>
                    </a:cxn>
                    <a:cxn ang="0">
                      <a:pos x="316" y="433"/>
                    </a:cxn>
                    <a:cxn ang="0">
                      <a:pos x="268" y="385"/>
                    </a:cxn>
                    <a:cxn ang="0">
                      <a:pos x="228" y="293"/>
                    </a:cxn>
                    <a:cxn ang="0">
                      <a:pos x="155" y="265"/>
                    </a:cxn>
                    <a:cxn ang="0">
                      <a:pos x="181" y="229"/>
                    </a:cxn>
                    <a:cxn ang="0">
                      <a:pos x="198" y="202"/>
                    </a:cxn>
                    <a:cxn ang="0">
                      <a:pos x="233" y="109"/>
                    </a:cxn>
                    <a:cxn ang="0">
                      <a:pos x="154" y="97"/>
                    </a:cxn>
                    <a:cxn ang="0">
                      <a:pos x="99" y="104"/>
                    </a:cxn>
                    <a:cxn ang="0">
                      <a:pos x="109" y="78"/>
                    </a:cxn>
                    <a:cxn ang="0">
                      <a:pos x="151" y="0"/>
                    </a:cxn>
                    <a:cxn ang="0">
                      <a:pos x="75" y="6"/>
                    </a:cxn>
                    <a:cxn ang="0">
                      <a:pos x="37" y="60"/>
                    </a:cxn>
                    <a:cxn ang="0">
                      <a:pos x="25" y="115"/>
                    </a:cxn>
                    <a:cxn ang="0">
                      <a:pos x="33" y="133"/>
                    </a:cxn>
                    <a:cxn ang="0">
                      <a:pos x="26" y="158"/>
                    </a:cxn>
                    <a:cxn ang="0">
                      <a:pos x="5" y="195"/>
                    </a:cxn>
                    <a:cxn ang="0">
                      <a:pos x="33" y="215"/>
                    </a:cxn>
                    <a:cxn ang="0">
                      <a:pos x="31" y="254"/>
                    </a:cxn>
                    <a:cxn ang="0">
                      <a:pos x="34" y="286"/>
                    </a:cxn>
                    <a:cxn ang="0">
                      <a:pos x="28" y="330"/>
                    </a:cxn>
                    <a:cxn ang="0">
                      <a:pos x="54" y="248"/>
                    </a:cxn>
                    <a:cxn ang="0">
                      <a:pos x="53" y="273"/>
                    </a:cxn>
                    <a:cxn ang="0">
                      <a:pos x="79" y="272"/>
                    </a:cxn>
                    <a:cxn ang="0">
                      <a:pos x="77" y="308"/>
                    </a:cxn>
                    <a:cxn ang="0">
                      <a:pos x="60" y="372"/>
                    </a:cxn>
                    <a:cxn ang="0">
                      <a:pos x="65" y="384"/>
                    </a:cxn>
                    <a:cxn ang="0">
                      <a:pos x="95" y="380"/>
                    </a:cxn>
                    <a:cxn ang="0">
                      <a:pos x="162" y="373"/>
                    </a:cxn>
                    <a:cxn ang="0">
                      <a:pos x="145" y="431"/>
                    </a:cxn>
                    <a:cxn ang="0">
                      <a:pos x="181" y="437"/>
                    </a:cxn>
                    <a:cxn ang="0">
                      <a:pos x="179" y="481"/>
                    </a:cxn>
                    <a:cxn ang="0">
                      <a:pos x="168" y="523"/>
                    </a:cxn>
                    <a:cxn ang="0">
                      <a:pos x="98" y="558"/>
                    </a:cxn>
                    <a:cxn ang="0">
                      <a:pos x="108" y="615"/>
                    </a:cxn>
                    <a:cxn ang="0">
                      <a:pos x="59" y="674"/>
                    </a:cxn>
                    <a:cxn ang="0">
                      <a:pos x="97" y="674"/>
                    </a:cxn>
                    <a:cxn ang="0">
                      <a:pos x="141" y="692"/>
                    </a:cxn>
                    <a:cxn ang="0">
                      <a:pos x="194" y="663"/>
                    </a:cxn>
                    <a:cxn ang="0">
                      <a:pos x="156" y="711"/>
                    </a:cxn>
                    <a:cxn ang="0">
                      <a:pos x="47" y="791"/>
                    </a:cxn>
                    <a:cxn ang="0">
                      <a:pos x="45" y="810"/>
                    </a:cxn>
                    <a:cxn ang="0">
                      <a:pos x="77" y="784"/>
                    </a:cxn>
                    <a:cxn ang="0">
                      <a:pos x="149" y="759"/>
                    </a:cxn>
                  </a:cxnLst>
                  <a:rect l="0" t="0" r="r" b="b"/>
                  <a:pathLst>
                    <a:path w="430" h="814">
                      <a:moveTo>
                        <a:pt x="199" y="767"/>
                      </a:moveTo>
                      <a:lnTo>
                        <a:pt x="200" y="768"/>
                      </a:lnTo>
                      <a:lnTo>
                        <a:pt x="203" y="762"/>
                      </a:lnTo>
                      <a:lnTo>
                        <a:pt x="212" y="760"/>
                      </a:lnTo>
                      <a:lnTo>
                        <a:pt x="222" y="764"/>
                      </a:lnTo>
                      <a:lnTo>
                        <a:pt x="227" y="761"/>
                      </a:lnTo>
                      <a:lnTo>
                        <a:pt x="225" y="754"/>
                      </a:lnTo>
                      <a:lnTo>
                        <a:pt x="251" y="754"/>
                      </a:lnTo>
                      <a:lnTo>
                        <a:pt x="253" y="750"/>
                      </a:lnTo>
                      <a:lnTo>
                        <a:pt x="259" y="748"/>
                      </a:lnTo>
                      <a:lnTo>
                        <a:pt x="260" y="743"/>
                      </a:lnTo>
                      <a:lnTo>
                        <a:pt x="260" y="737"/>
                      </a:lnTo>
                      <a:lnTo>
                        <a:pt x="267" y="741"/>
                      </a:lnTo>
                      <a:lnTo>
                        <a:pt x="274" y="744"/>
                      </a:lnTo>
                      <a:lnTo>
                        <a:pt x="283" y="741"/>
                      </a:lnTo>
                      <a:lnTo>
                        <a:pt x="285" y="745"/>
                      </a:lnTo>
                      <a:lnTo>
                        <a:pt x="290" y="750"/>
                      </a:lnTo>
                      <a:lnTo>
                        <a:pt x="328" y="744"/>
                      </a:lnTo>
                      <a:lnTo>
                        <a:pt x="339" y="746"/>
                      </a:lnTo>
                      <a:lnTo>
                        <a:pt x="388" y="733"/>
                      </a:lnTo>
                      <a:lnTo>
                        <a:pt x="389" y="729"/>
                      </a:lnTo>
                      <a:lnTo>
                        <a:pt x="410" y="713"/>
                      </a:lnTo>
                      <a:lnTo>
                        <a:pt x="413" y="702"/>
                      </a:lnTo>
                      <a:lnTo>
                        <a:pt x="410" y="698"/>
                      </a:lnTo>
                      <a:lnTo>
                        <a:pt x="386" y="698"/>
                      </a:lnTo>
                      <a:lnTo>
                        <a:pt x="373" y="697"/>
                      </a:lnTo>
                      <a:lnTo>
                        <a:pt x="373" y="689"/>
                      </a:lnTo>
                      <a:lnTo>
                        <a:pt x="369" y="682"/>
                      </a:lnTo>
                      <a:lnTo>
                        <a:pt x="378" y="679"/>
                      </a:lnTo>
                      <a:lnTo>
                        <a:pt x="381" y="674"/>
                      </a:lnTo>
                      <a:lnTo>
                        <a:pt x="386" y="668"/>
                      </a:lnTo>
                      <a:lnTo>
                        <a:pt x="383" y="665"/>
                      </a:lnTo>
                      <a:lnTo>
                        <a:pt x="377" y="663"/>
                      </a:lnTo>
                      <a:lnTo>
                        <a:pt x="383" y="658"/>
                      </a:lnTo>
                      <a:lnTo>
                        <a:pt x="391" y="655"/>
                      </a:lnTo>
                      <a:lnTo>
                        <a:pt x="394" y="659"/>
                      </a:lnTo>
                      <a:lnTo>
                        <a:pt x="403" y="657"/>
                      </a:lnTo>
                      <a:lnTo>
                        <a:pt x="404" y="651"/>
                      </a:lnTo>
                      <a:lnTo>
                        <a:pt x="403" y="642"/>
                      </a:lnTo>
                      <a:lnTo>
                        <a:pt x="408" y="642"/>
                      </a:lnTo>
                      <a:lnTo>
                        <a:pt x="415" y="638"/>
                      </a:lnTo>
                      <a:lnTo>
                        <a:pt x="423" y="628"/>
                      </a:lnTo>
                      <a:lnTo>
                        <a:pt x="429" y="608"/>
                      </a:lnTo>
                      <a:lnTo>
                        <a:pt x="430" y="593"/>
                      </a:lnTo>
                      <a:lnTo>
                        <a:pt x="426" y="577"/>
                      </a:lnTo>
                      <a:lnTo>
                        <a:pt x="418" y="563"/>
                      </a:lnTo>
                      <a:lnTo>
                        <a:pt x="408" y="557"/>
                      </a:lnTo>
                      <a:lnTo>
                        <a:pt x="399" y="554"/>
                      </a:lnTo>
                      <a:lnTo>
                        <a:pt x="387" y="554"/>
                      </a:lnTo>
                      <a:lnTo>
                        <a:pt x="365" y="557"/>
                      </a:lnTo>
                      <a:lnTo>
                        <a:pt x="355" y="572"/>
                      </a:lnTo>
                      <a:lnTo>
                        <a:pt x="350" y="567"/>
                      </a:lnTo>
                      <a:lnTo>
                        <a:pt x="340" y="566"/>
                      </a:lnTo>
                      <a:lnTo>
                        <a:pt x="337" y="565"/>
                      </a:lnTo>
                      <a:lnTo>
                        <a:pt x="340" y="555"/>
                      </a:lnTo>
                      <a:lnTo>
                        <a:pt x="353" y="540"/>
                      </a:lnTo>
                      <a:lnTo>
                        <a:pt x="355" y="534"/>
                      </a:lnTo>
                      <a:lnTo>
                        <a:pt x="355" y="525"/>
                      </a:lnTo>
                      <a:lnTo>
                        <a:pt x="345" y="512"/>
                      </a:lnTo>
                      <a:lnTo>
                        <a:pt x="339" y="507"/>
                      </a:lnTo>
                      <a:lnTo>
                        <a:pt x="335" y="501"/>
                      </a:lnTo>
                      <a:lnTo>
                        <a:pt x="330" y="498"/>
                      </a:lnTo>
                      <a:lnTo>
                        <a:pt x="317" y="485"/>
                      </a:lnTo>
                      <a:lnTo>
                        <a:pt x="321" y="482"/>
                      </a:lnTo>
                      <a:lnTo>
                        <a:pt x="332" y="492"/>
                      </a:lnTo>
                      <a:lnTo>
                        <a:pt x="344" y="495"/>
                      </a:lnTo>
                      <a:lnTo>
                        <a:pt x="345" y="493"/>
                      </a:lnTo>
                      <a:lnTo>
                        <a:pt x="343" y="477"/>
                      </a:lnTo>
                      <a:lnTo>
                        <a:pt x="335" y="471"/>
                      </a:lnTo>
                      <a:lnTo>
                        <a:pt x="326" y="459"/>
                      </a:lnTo>
                      <a:lnTo>
                        <a:pt x="323" y="444"/>
                      </a:lnTo>
                      <a:lnTo>
                        <a:pt x="316" y="433"/>
                      </a:lnTo>
                      <a:lnTo>
                        <a:pt x="311" y="423"/>
                      </a:lnTo>
                      <a:lnTo>
                        <a:pt x="301" y="410"/>
                      </a:lnTo>
                      <a:lnTo>
                        <a:pt x="290" y="405"/>
                      </a:lnTo>
                      <a:lnTo>
                        <a:pt x="276" y="402"/>
                      </a:lnTo>
                      <a:lnTo>
                        <a:pt x="273" y="399"/>
                      </a:lnTo>
                      <a:lnTo>
                        <a:pt x="268" y="385"/>
                      </a:lnTo>
                      <a:lnTo>
                        <a:pt x="260" y="374"/>
                      </a:lnTo>
                      <a:lnTo>
                        <a:pt x="254" y="361"/>
                      </a:lnTo>
                      <a:lnTo>
                        <a:pt x="252" y="350"/>
                      </a:lnTo>
                      <a:lnTo>
                        <a:pt x="248" y="312"/>
                      </a:lnTo>
                      <a:lnTo>
                        <a:pt x="240" y="305"/>
                      </a:lnTo>
                      <a:lnTo>
                        <a:pt x="228" y="293"/>
                      </a:lnTo>
                      <a:lnTo>
                        <a:pt x="221" y="282"/>
                      </a:lnTo>
                      <a:lnTo>
                        <a:pt x="193" y="266"/>
                      </a:lnTo>
                      <a:lnTo>
                        <a:pt x="188" y="265"/>
                      </a:lnTo>
                      <a:lnTo>
                        <a:pt x="171" y="271"/>
                      </a:lnTo>
                      <a:lnTo>
                        <a:pt x="156" y="267"/>
                      </a:lnTo>
                      <a:lnTo>
                        <a:pt x="155" y="265"/>
                      </a:lnTo>
                      <a:lnTo>
                        <a:pt x="157" y="258"/>
                      </a:lnTo>
                      <a:lnTo>
                        <a:pt x="163" y="251"/>
                      </a:lnTo>
                      <a:lnTo>
                        <a:pt x="172" y="249"/>
                      </a:lnTo>
                      <a:lnTo>
                        <a:pt x="182" y="249"/>
                      </a:lnTo>
                      <a:lnTo>
                        <a:pt x="192" y="244"/>
                      </a:lnTo>
                      <a:lnTo>
                        <a:pt x="181" y="229"/>
                      </a:lnTo>
                      <a:lnTo>
                        <a:pt x="176" y="228"/>
                      </a:lnTo>
                      <a:lnTo>
                        <a:pt x="174" y="222"/>
                      </a:lnTo>
                      <a:lnTo>
                        <a:pt x="183" y="223"/>
                      </a:lnTo>
                      <a:lnTo>
                        <a:pt x="189" y="218"/>
                      </a:lnTo>
                      <a:lnTo>
                        <a:pt x="195" y="210"/>
                      </a:lnTo>
                      <a:lnTo>
                        <a:pt x="198" y="202"/>
                      </a:lnTo>
                      <a:lnTo>
                        <a:pt x="211" y="183"/>
                      </a:lnTo>
                      <a:lnTo>
                        <a:pt x="212" y="173"/>
                      </a:lnTo>
                      <a:lnTo>
                        <a:pt x="216" y="160"/>
                      </a:lnTo>
                      <a:lnTo>
                        <a:pt x="220" y="145"/>
                      </a:lnTo>
                      <a:lnTo>
                        <a:pt x="233" y="129"/>
                      </a:lnTo>
                      <a:lnTo>
                        <a:pt x="233" y="109"/>
                      </a:lnTo>
                      <a:lnTo>
                        <a:pt x="230" y="100"/>
                      </a:lnTo>
                      <a:lnTo>
                        <a:pt x="214" y="99"/>
                      </a:lnTo>
                      <a:lnTo>
                        <a:pt x="200" y="102"/>
                      </a:lnTo>
                      <a:lnTo>
                        <a:pt x="178" y="98"/>
                      </a:lnTo>
                      <a:lnTo>
                        <a:pt x="166" y="100"/>
                      </a:lnTo>
                      <a:lnTo>
                        <a:pt x="154" y="97"/>
                      </a:lnTo>
                      <a:lnTo>
                        <a:pt x="118" y="109"/>
                      </a:lnTo>
                      <a:lnTo>
                        <a:pt x="111" y="116"/>
                      </a:lnTo>
                      <a:lnTo>
                        <a:pt x="106" y="113"/>
                      </a:lnTo>
                      <a:lnTo>
                        <a:pt x="108" y="105"/>
                      </a:lnTo>
                      <a:lnTo>
                        <a:pt x="108" y="102"/>
                      </a:lnTo>
                      <a:lnTo>
                        <a:pt x="99" y="104"/>
                      </a:lnTo>
                      <a:lnTo>
                        <a:pt x="99" y="99"/>
                      </a:lnTo>
                      <a:lnTo>
                        <a:pt x="114" y="95"/>
                      </a:lnTo>
                      <a:lnTo>
                        <a:pt x="124" y="86"/>
                      </a:lnTo>
                      <a:lnTo>
                        <a:pt x="107" y="84"/>
                      </a:lnTo>
                      <a:lnTo>
                        <a:pt x="108" y="77"/>
                      </a:lnTo>
                      <a:lnTo>
                        <a:pt x="109" y="78"/>
                      </a:lnTo>
                      <a:lnTo>
                        <a:pt x="119" y="66"/>
                      </a:lnTo>
                      <a:lnTo>
                        <a:pt x="139" y="54"/>
                      </a:lnTo>
                      <a:lnTo>
                        <a:pt x="147" y="39"/>
                      </a:lnTo>
                      <a:lnTo>
                        <a:pt x="161" y="30"/>
                      </a:lnTo>
                      <a:lnTo>
                        <a:pt x="163" y="4"/>
                      </a:lnTo>
                      <a:lnTo>
                        <a:pt x="151" y="0"/>
                      </a:lnTo>
                      <a:lnTo>
                        <a:pt x="138" y="4"/>
                      </a:lnTo>
                      <a:lnTo>
                        <a:pt x="124" y="8"/>
                      </a:lnTo>
                      <a:lnTo>
                        <a:pt x="112" y="8"/>
                      </a:lnTo>
                      <a:lnTo>
                        <a:pt x="96" y="12"/>
                      </a:lnTo>
                      <a:lnTo>
                        <a:pt x="95" y="11"/>
                      </a:lnTo>
                      <a:lnTo>
                        <a:pt x="75" y="6"/>
                      </a:lnTo>
                      <a:lnTo>
                        <a:pt x="64" y="9"/>
                      </a:lnTo>
                      <a:lnTo>
                        <a:pt x="54" y="27"/>
                      </a:lnTo>
                      <a:lnTo>
                        <a:pt x="54" y="41"/>
                      </a:lnTo>
                      <a:lnTo>
                        <a:pt x="42" y="43"/>
                      </a:lnTo>
                      <a:lnTo>
                        <a:pt x="43" y="57"/>
                      </a:lnTo>
                      <a:lnTo>
                        <a:pt x="37" y="60"/>
                      </a:lnTo>
                      <a:lnTo>
                        <a:pt x="39" y="65"/>
                      </a:lnTo>
                      <a:lnTo>
                        <a:pt x="47" y="73"/>
                      </a:lnTo>
                      <a:lnTo>
                        <a:pt x="20" y="88"/>
                      </a:lnTo>
                      <a:lnTo>
                        <a:pt x="20" y="109"/>
                      </a:lnTo>
                      <a:lnTo>
                        <a:pt x="27" y="113"/>
                      </a:lnTo>
                      <a:lnTo>
                        <a:pt x="25" y="115"/>
                      </a:lnTo>
                      <a:lnTo>
                        <a:pt x="18" y="114"/>
                      </a:lnTo>
                      <a:lnTo>
                        <a:pt x="16" y="115"/>
                      </a:lnTo>
                      <a:lnTo>
                        <a:pt x="16" y="130"/>
                      </a:lnTo>
                      <a:lnTo>
                        <a:pt x="22" y="131"/>
                      </a:lnTo>
                      <a:lnTo>
                        <a:pt x="34" y="129"/>
                      </a:lnTo>
                      <a:lnTo>
                        <a:pt x="33" y="133"/>
                      </a:lnTo>
                      <a:lnTo>
                        <a:pt x="27" y="136"/>
                      </a:lnTo>
                      <a:lnTo>
                        <a:pt x="33" y="138"/>
                      </a:lnTo>
                      <a:lnTo>
                        <a:pt x="28" y="147"/>
                      </a:lnTo>
                      <a:lnTo>
                        <a:pt x="27" y="151"/>
                      </a:lnTo>
                      <a:lnTo>
                        <a:pt x="28" y="157"/>
                      </a:lnTo>
                      <a:lnTo>
                        <a:pt x="26" y="158"/>
                      </a:lnTo>
                      <a:lnTo>
                        <a:pt x="22" y="163"/>
                      </a:lnTo>
                      <a:lnTo>
                        <a:pt x="22" y="167"/>
                      </a:lnTo>
                      <a:lnTo>
                        <a:pt x="18" y="170"/>
                      </a:lnTo>
                      <a:lnTo>
                        <a:pt x="16" y="178"/>
                      </a:lnTo>
                      <a:lnTo>
                        <a:pt x="16" y="192"/>
                      </a:lnTo>
                      <a:lnTo>
                        <a:pt x="5" y="195"/>
                      </a:lnTo>
                      <a:lnTo>
                        <a:pt x="0" y="197"/>
                      </a:lnTo>
                      <a:lnTo>
                        <a:pt x="0" y="201"/>
                      </a:lnTo>
                      <a:lnTo>
                        <a:pt x="10" y="202"/>
                      </a:lnTo>
                      <a:lnTo>
                        <a:pt x="11" y="211"/>
                      </a:lnTo>
                      <a:lnTo>
                        <a:pt x="23" y="222"/>
                      </a:lnTo>
                      <a:lnTo>
                        <a:pt x="33" y="215"/>
                      </a:lnTo>
                      <a:lnTo>
                        <a:pt x="43" y="206"/>
                      </a:lnTo>
                      <a:lnTo>
                        <a:pt x="44" y="205"/>
                      </a:lnTo>
                      <a:lnTo>
                        <a:pt x="45" y="206"/>
                      </a:lnTo>
                      <a:lnTo>
                        <a:pt x="45" y="212"/>
                      </a:lnTo>
                      <a:lnTo>
                        <a:pt x="33" y="243"/>
                      </a:lnTo>
                      <a:lnTo>
                        <a:pt x="31" y="254"/>
                      </a:lnTo>
                      <a:lnTo>
                        <a:pt x="31" y="259"/>
                      </a:lnTo>
                      <a:lnTo>
                        <a:pt x="28" y="264"/>
                      </a:lnTo>
                      <a:lnTo>
                        <a:pt x="26" y="275"/>
                      </a:lnTo>
                      <a:lnTo>
                        <a:pt x="26" y="283"/>
                      </a:lnTo>
                      <a:lnTo>
                        <a:pt x="32" y="282"/>
                      </a:lnTo>
                      <a:lnTo>
                        <a:pt x="34" y="286"/>
                      </a:lnTo>
                      <a:lnTo>
                        <a:pt x="33" y="292"/>
                      </a:lnTo>
                      <a:lnTo>
                        <a:pt x="25" y="307"/>
                      </a:lnTo>
                      <a:lnTo>
                        <a:pt x="20" y="331"/>
                      </a:lnTo>
                      <a:lnTo>
                        <a:pt x="20" y="334"/>
                      </a:lnTo>
                      <a:lnTo>
                        <a:pt x="26" y="334"/>
                      </a:lnTo>
                      <a:lnTo>
                        <a:pt x="28" y="330"/>
                      </a:lnTo>
                      <a:lnTo>
                        <a:pt x="32" y="318"/>
                      </a:lnTo>
                      <a:lnTo>
                        <a:pt x="43" y="291"/>
                      </a:lnTo>
                      <a:lnTo>
                        <a:pt x="42" y="277"/>
                      </a:lnTo>
                      <a:lnTo>
                        <a:pt x="39" y="270"/>
                      </a:lnTo>
                      <a:lnTo>
                        <a:pt x="38" y="266"/>
                      </a:lnTo>
                      <a:lnTo>
                        <a:pt x="54" y="248"/>
                      </a:lnTo>
                      <a:lnTo>
                        <a:pt x="54" y="254"/>
                      </a:lnTo>
                      <a:lnTo>
                        <a:pt x="47" y="271"/>
                      </a:lnTo>
                      <a:lnTo>
                        <a:pt x="47" y="282"/>
                      </a:lnTo>
                      <a:lnTo>
                        <a:pt x="49" y="278"/>
                      </a:lnTo>
                      <a:lnTo>
                        <a:pt x="52" y="277"/>
                      </a:lnTo>
                      <a:lnTo>
                        <a:pt x="53" y="273"/>
                      </a:lnTo>
                      <a:lnTo>
                        <a:pt x="55" y="271"/>
                      </a:lnTo>
                      <a:lnTo>
                        <a:pt x="61" y="276"/>
                      </a:lnTo>
                      <a:lnTo>
                        <a:pt x="64" y="275"/>
                      </a:lnTo>
                      <a:lnTo>
                        <a:pt x="64" y="261"/>
                      </a:lnTo>
                      <a:lnTo>
                        <a:pt x="72" y="266"/>
                      </a:lnTo>
                      <a:lnTo>
                        <a:pt x="79" y="272"/>
                      </a:lnTo>
                      <a:lnTo>
                        <a:pt x="74" y="273"/>
                      </a:lnTo>
                      <a:lnTo>
                        <a:pt x="71" y="278"/>
                      </a:lnTo>
                      <a:lnTo>
                        <a:pt x="69" y="283"/>
                      </a:lnTo>
                      <a:lnTo>
                        <a:pt x="68" y="298"/>
                      </a:lnTo>
                      <a:lnTo>
                        <a:pt x="71" y="303"/>
                      </a:lnTo>
                      <a:lnTo>
                        <a:pt x="77" y="308"/>
                      </a:lnTo>
                      <a:lnTo>
                        <a:pt x="79" y="319"/>
                      </a:lnTo>
                      <a:lnTo>
                        <a:pt x="74" y="328"/>
                      </a:lnTo>
                      <a:lnTo>
                        <a:pt x="69" y="341"/>
                      </a:lnTo>
                      <a:lnTo>
                        <a:pt x="61" y="355"/>
                      </a:lnTo>
                      <a:lnTo>
                        <a:pt x="59" y="363"/>
                      </a:lnTo>
                      <a:lnTo>
                        <a:pt x="60" y="372"/>
                      </a:lnTo>
                      <a:lnTo>
                        <a:pt x="54" y="367"/>
                      </a:lnTo>
                      <a:lnTo>
                        <a:pt x="52" y="372"/>
                      </a:lnTo>
                      <a:lnTo>
                        <a:pt x="59" y="395"/>
                      </a:lnTo>
                      <a:lnTo>
                        <a:pt x="64" y="399"/>
                      </a:lnTo>
                      <a:lnTo>
                        <a:pt x="66" y="398"/>
                      </a:lnTo>
                      <a:lnTo>
                        <a:pt x="65" y="384"/>
                      </a:lnTo>
                      <a:lnTo>
                        <a:pt x="66" y="380"/>
                      </a:lnTo>
                      <a:lnTo>
                        <a:pt x="70" y="379"/>
                      </a:lnTo>
                      <a:lnTo>
                        <a:pt x="87" y="391"/>
                      </a:lnTo>
                      <a:lnTo>
                        <a:pt x="92" y="394"/>
                      </a:lnTo>
                      <a:lnTo>
                        <a:pt x="95" y="388"/>
                      </a:lnTo>
                      <a:lnTo>
                        <a:pt x="95" y="380"/>
                      </a:lnTo>
                      <a:lnTo>
                        <a:pt x="119" y="383"/>
                      </a:lnTo>
                      <a:lnTo>
                        <a:pt x="135" y="374"/>
                      </a:lnTo>
                      <a:lnTo>
                        <a:pt x="136" y="372"/>
                      </a:lnTo>
                      <a:lnTo>
                        <a:pt x="144" y="368"/>
                      </a:lnTo>
                      <a:lnTo>
                        <a:pt x="165" y="371"/>
                      </a:lnTo>
                      <a:lnTo>
                        <a:pt x="162" y="373"/>
                      </a:lnTo>
                      <a:lnTo>
                        <a:pt x="158" y="373"/>
                      </a:lnTo>
                      <a:lnTo>
                        <a:pt x="150" y="380"/>
                      </a:lnTo>
                      <a:lnTo>
                        <a:pt x="138" y="406"/>
                      </a:lnTo>
                      <a:lnTo>
                        <a:pt x="135" y="413"/>
                      </a:lnTo>
                      <a:lnTo>
                        <a:pt x="138" y="421"/>
                      </a:lnTo>
                      <a:lnTo>
                        <a:pt x="145" y="431"/>
                      </a:lnTo>
                      <a:lnTo>
                        <a:pt x="149" y="438"/>
                      </a:lnTo>
                      <a:lnTo>
                        <a:pt x="150" y="439"/>
                      </a:lnTo>
                      <a:lnTo>
                        <a:pt x="151" y="437"/>
                      </a:lnTo>
                      <a:lnTo>
                        <a:pt x="158" y="449"/>
                      </a:lnTo>
                      <a:lnTo>
                        <a:pt x="172" y="444"/>
                      </a:lnTo>
                      <a:lnTo>
                        <a:pt x="181" y="437"/>
                      </a:lnTo>
                      <a:lnTo>
                        <a:pt x="184" y="438"/>
                      </a:lnTo>
                      <a:lnTo>
                        <a:pt x="181" y="444"/>
                      </a:lnTo>
                      <a:lnTo>
                        <a:pt x="179" y="461"/>
                      </a:lnTo>
                      <a:lnTo>
                        <a:pt x="174" y="468"/>
                      </a:lnTo>
                      <a:lnTo>
                        <a:pt x="169" y="479"/>
                      </a:lnTo>
                      <a:lnTo>
                        <a:pt x="179" y="481"/>
                      </a:lnTo>
                      <a:lnTo>
                        <a:pt x="174" y="490"/>
                      </a:lnTo>
                      <a:lnTo>
                        <a:pt x="168" y="506"/>
                      </a:lnTo>
                      <a:lnTo>
                        <a:pt x="172" y="509"/>
                      </a:lnTo>
                      <a:lnTo>
                        <a:pt x="177" y="513"/>
                      </a:lnTo>
                      <a:lnTo>
                        <a:pt x="173" y="514"/>
                      </a:lnTo>
                      <a:lnTo>
                        <a:pt x="168" y="523"/>
                      </a:lnTo>
                      <a:lnTo>
                        <a:pt x="128" y="522"/>
                      </a:lnTo>
                      <a:lnTo>
                        <a:pt x="115" y="529"/>
                      </a:lnTo>
                      <a:lnTo>
                        <a:pt x="102" y="540"/>
                      </a:lnTo>
                      <a:lnTo>
                        <a:pt x="79" y="565"/>
                      </a:lnTo>
                      <a:lnTo>
                        <a:pt x="84" y="568"/>
                      </a:lnTo>
                      <a:lnTo>
                        <a:pt x="98" y="558"/>
                      </a:lnTo>
                      <a:lnTo>
                        <a:pt x="109" y="556"/>
                      </a:lnTo>
                      <a:lnTo>
                        <a:pt x="111" y="565"/>
                      </a:lnTo>
                      <a:lnTo>
                        <a:pt x="112" y="585"/>
                      </a:lnTo>
                      <a:lnTo>
                        <a:pt x="113" y="589"/>
                      </a:lnTo>
                      <a:lnTo>
                        <a:pt x="119" y="593"/>
                      </a:lnTo>
                      <a:lnTo>
                        <a:pt x="108" y="615"/>
                      </a:lnTo>
                      <a:lnTo>
                        <a:pt x="79" y="636"/>
                      </a:lnTo>
                      <a:lnTo>
                        <a:pt x="48" y="652"/>
                      </a:lnTo>
                      <a:lnTo>
                        <a:pt x="50" y="654"/>
                      </a:lnTo>
                      <a:lnTo>
                        <a:pt x="52" y="660"/>
                      </a:lnTo>
                      <a:lnTo>
                        <a:pt x="56" y="671"/>
                      </a:lnTo>
                      <a:lnTo>
                        <a:pt x="59" y="674"/>
                      </a:lnTo>
                      <a:lnTo>
                        <a:pt x="65" y="675"/>
                      </a:lnTo>
                      <a:lnTo>
                        <a:pt x="72" y="671"/>
                      </a:lnTo>
                      <a:lnTo>
                        <a:pt x="82" y="663"/>
                      </a:lnTo>
                      <a:lnTo>
                        <a:pt x="91" y="659"/>
                      </a:lnTo>
                      <a:lnTo>
                        <a:pt x="95" y="660"/>
                      </a:lnTo>
                      <a:lnTo>
                        <a:pt x="97" y="674"/>
                      </a:lnTo>
                      <a:lnTo>
                        <a:pt x="101" y="678"/>
                      </a:lnTo>
                      <a:lnTo>
                        <a:pt x="113" y="678"/>
                      </a:lnTo>
                      <a:lnTo>
                        <a:pt x="120" y="671"/>
                      </a:lnTo>
                      <a:lnTo>
                        <a:pt x="123" y="670"/>
                      </a:lnTo>
                      <a:lnTo>
                        <a:pt x="127" y="673"/>
                      </a:lnTo>
                      <a:lnTo>
                        <a:pt x="141" y="692"/>
                      </a:lnTo>
                      <a:lnTo>
                        <a:pt x="147" y="694"/>
                      </a:lnTo>
                      <a:lnTo>
                        <a:pt x="156" y="694"/>
                      </a:lnTo>
                      <a:lnTo>
                        <a:pt x="162" y="689"/>
                      </a:lnTo>
                      <a:lnTo>
                        <a:pt x="166" y="682"/>
                      </a:lnTo>
                      <a:lnTo>
                        <a:pt x="179" y="675"/>
                      </a:lnTo>
                      <a:lnTo>
                        <a:pt x="194" y="663"/>
                      </a:lnTo>
                      <a:lnTo>
                        <a:pt x="195" y="670"/>
                      </a:lnTo>
                      <a:lnTo>
                        <a:pt x="190" y="678"/>
                      </a:lnTo>
                      <a:lnTo>
                        <a:pt x="174" y="697"/>
                      </a:lnTo>
                      <a:lnTo>
                        <a:pt x="172" y="705"/>
                      </a:lnTo>
                      <a:lnTo>
                        <a:pt x="168" y="708"/>
                      </a:lnTo>
                      <a:lnTo>
                        <a:pt x="156" y="711"/>
                      </a:lnTo>
                      <a:lnTo>
                        <a:pt x="124" y="711"/>
                      </a:lnTo>
                      <a:lnTo>
                        <a:pt x="109" y="713"/>
                      </a:lnTo>
                      <a:lnTo>
                        <a:pt x="104" y="724"/>
                      </a:lnTo>
                      <a:lnTo>
                        <a:pt x="95" y="730"/>
                      </a:lnTo>
                      <a:lnTo>
                        <a:pt x="88" y="745"/>
                      </a:lnTo>
                      <a:lnTo>
                        <a:pt x="47" y="791"/>
                      </a:lnTo>
                      <a:lnTo>
                        <a:pt x="31" y="800"/>
                      </a:lnTo>
                      <a:lnTo>
                        <a:pt x="28" y="809"/>
                      </a:lnTo>
                      <a:lnTo>
                        <a:pt x="28" y="813"/>
                      </a:lnTo>
                      <a:lnTo>
                        <a:pt x="31" y="807"/>
                      </a:lnTo>
                      <a:lnTo>
                        <a:pt x="34" y="804"/>
                      </a:lnTo>
                      <a:lnTo>
                        <a:pt x="45" y="810"/>
                      </a:lnTo>
                      <a:lnTo>
                        <a:pt x="50" y="809"/>
                      </a:lnTo>
                      <a:lnTo>
                        <a:pt x="54" y="814"/>
                      </a:lnTo>
                      <a:lnTo>
                        <a:pt x="58" y="809"/>
                      </a:lnTo>
                      <a:lnTo>
                        <a:pt x="60" y="800"/>
                      </a:lnTo>
                      <a:lnTo>
                        <a:pt x="71" y="796"/>
                      </a:lnTo>
                      <a:lnTo>
                        <a:pt x="77" y="784"/>
                      </a:lnTo>
                      <a:lnTo>
                        <a:pt x="107" y="783"/>
                      </a:lnTo>
                      <a:lnTo>
                        <a:pt x="127" y="791"/>
                      </a:lnTo>
                      <a:lnTo>
                        <a:pt x="134" y="791"/>
                      </a:lnTo>
                      <a:lnTo>
                        <a:pt x="141" y="782"/>
                      </a:lnTo>
                      <a:lnTo>
                        <a:pt x="145" y="760"/>
                      </a:lnTo>
                      <a:lnTo>
                        <a:pt x="149" y="759"/>
                      </a:lnTo>
                      <a:lnTo>
                        <a:pt x="156" y="759"/>
                      </a:lnTo>
                      <a:lnTo>
                        <a:pt x="166" y="754"/>
                      </a:lnTo>
                      <a:lnTo>
                        <a:pt x="182" y="750"/>
                      </a:lnTo>
                      <a:lnTo>
                        <a:pt x="199" y="76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76" name="UK"/>
                <p:cNvSpPr>
                  <a:spLocks noChangeAspect="1"/>
                </p:cNvSpPr>
                <p:nvPr>
                  <p:custDataLst>
                    <p:tags r:id="rId258"/>
                  </p:custDataLst>
                </p:nvPr>
              </p:nvSpPr>
              <p:spPr bwMode="gray">
                <a:xfrm>
                  <a:off x="2428" y="1759"/>
                  <a:ext cx="28" cy="25"/>
                </a:xfrm>
                <a:custGeom>
                  <a:avLst/>
                  <a:gdLst/>
                  <a:ahLst/>
                  <a:cxnLst>
                    <a:cxn ang="0">
                      <a:pos x="28" y="36"/>
                    </a:cxn>
                    <a:cxn ang="0">
                      <a:pos x="27" y="48"/>
                    </a:cxn>
                    <a:cxn ang="0">
                      <a:pos x="21" y="58"/>
                    </a:cxn>
                    <a:cxn ang="0">
                      <a:pos x="11" y="59"/>
                    </a:cxn>
                    <a:cxn ang="0">
                      <a:pos x="11" y="72"/>
                    </a:cxn>
                    <a:cxn ang="0">
                      <a:pos x="0" y="80"/>
                    </a:cxn>
                    <a:cxn ang="0">
                      <a:pos x="16" y="91"/>
                    </a:cxn>
                    <a:cxn ang="0">
                      <a:pos x="23" y="110"/>
                    </a:cxn>
                    <a:cxn ang="0">
                      <a:pos x="34" y="115"/>
                    </a:cxn>
                    <a:cxn ang="0">
                      <a:pos x="47" y="104"/>
                    </a:cxn>
                    <a:cxn ang="0">
                      <a:pos x="53" y="93"/>
                    </a:cxn>
                    <a:cxn ang="0">
                      <a:pos x="82" y="85"/>
                    </a:cxn>
                    <a:cxn ang="0">
                      <a:pos x="97" y="99"/>
                    </a:cxn>
                    <a:cxn ang="0">
                      <a:pos x="98" y="106"/>
                    </a:cxn>
                    <a:cxn ang="0">
                      <a:pos x="98" y="121"/>
                    </a:cxn>
                    <a:cxn ang="0">
                      <a:pos x="101" y="126"/>
                    </a:cxn>
                    <a:cxn ang="0">
                      <a:pos x="103" y="126"/>
                    </a:cxn>
                    <a:cxn ang="0">
                      <a:pos x="117" y="117"/>
                    </a:cxn>
                    <a:cxn ang="0">
                      <a:pos x="119" y="107"/>
                    </a:cxn>
                    <a:cxn ang="0">
                      <a:pos x="132" y="105"/>
                    </a:cxn>
                    <a:cxn ang="0">
                      <a:pos x="138" y="97"/>
                    </a:cxn>
                    <a:cxn ang="0">
                      <a:pos x="132" y="85"/>
                    </a:cxn>
                    <a:cxn ang="0">
                      <a:pos x="130" y="78"/>
                    </a:cxn>
                    <a:cxn ang="0">
                      <a:pos x="138" y="90"/>
                    </a:cxn>
                    <a:cxn ang="0">
                      <a:pos x="140" y="79"/>
                    </a:cxn>
                    <a:cxn ang="0">
                      <a:pos x="135" y="68"/>
                    </a:cxn>
                    <a:cxn ang="0">
                      <a:pos x="130" y="66"/>
                    </a:cxn>
                    <a:cxn ang="0">
                      <a:pos x="116" y="68"/>
                    </a:cxn>
                    <a:cxn ang="0">
                      <a:pos x="122" y="57"/>
                    </a:cxn>
                    <a:cxn ang="0">
                      <a:pos x="120" y="39"/>
                    </a:cxn>
                    <a:cxn ang="0">
                      <a:pos x="112" y="27"/>
                    </a:cxn>
                    <a:cxn ang="0">
                      <a:pos x="106" y="16"/>
                    </a:cxn>
                    <a:cxn ang="0">
                      <a:pos x="89" y="10"/>
                    </a:cxn>
                    <a:cxn ang="0">
                      <a:pos x="64" y="18"/>
                    </a:cxn>
                    <a:cxn ang="0">
                      <a:pos x="58" y="24"/>
                    </a:cxn>
                    <a:cxn ang="0">
                      <a:pos x="50" y="27"/>
                    </a:cxn>
                    <a:cxn ang="0">
                      <a:pos x="48" y="24"/>
                    </a:cxn>
                    <a:cxn ang="0">
                      <a:pos x="59" y="10"/>
                    </a:cxn>
                    <a:cxn ang="0">
                      <a:pos x="57" y="7"/>
                    </a:cxn>
                    <a:cxn ang="0">
                      <a:pos x="48" y="2"/>
                    </a:cxn>
                    <a:cxn ang="0">
                      <a:pos x="39" y="0"/>
                    </a:cxn>
                    <a:cxn ang="0">
                      <a:pos x="38" y="5"/>
                    </a:cxn>
                    <a:cxn ang="0">
                      <a:pos x="36" y="8"/>
                    </a:cxn>
                    <a:cxn ang="0">
                      <a:pos x="33" y="14"/>
                    </a:cxn>
                    <a:cxn ang="0">
                      <a:pos x="34" y="20"/>
                    </a:cxn>
                    <a:cxn ang="0">
                      <a:pos x="34" y="27"/>
                    </a:cxn>
                    <a:cxn ang="0">
                      <a:pos x="33" y="34"/>
                    </a:cxn>
                    <a:cxn ang="0">
                      <a:pos x="28" y="36"/>
                    </a:cxn>
                  </a:cxnLst>
                  <a:rect l="0" t="0" r="r" b="b"/>
                  <a:pathLst>
                    <a:path w="140" h="126">
                      <a:moveTo>
                        <a:pt x="28" y="36"/>
                      </a:moveTo>
                      <a:lnTo>
                        <a:pt x="27" y="48"/>
                      </a:lnTo>
                      <a:lnTo>
                        <a:pt x="21" y="58"/>
                      </a:lnTo>
                      <a:lnTo>
                        <a:pt x="11" y="59"/>
                      </a:lnTo>
                      <a:lnTo>
                        <a:pt x="11" y="72"/>
                      </a:lnTo>
                      <a:lnTo>
                        <a:pt x="0" y="80"/>
                      </a:lnTo>
                      <a:lnTo>
                        <a:pt x="16" y="91"/>
                      </a:lnTo>
                      <a:lnTo>
                        <a:pt x="23" y="110"/>
                      </a:lnTo>
                      <a:lnTo>
                        <a:pt x="34" y="115"/>
                      </a:lnTo>
                      <a:lnTo>
                        <a:pt x="47" y="104"/>
                      </a:lnTo>
                      <a:lnTo>
                        <a:pt x="53" y="93"/>
                      </a:lnTo>
                      <a:lnTo>
                        <a:pt x="82" y="85"/>
                      </a:lnTo>
                      <a:lnTo>
                        <a:pt x="97" y="99"/>
                      </a:lnTo>
                      <a:lnTo>
                        <a:pt x="98" y="106"/>
                      </a:lnTo>
                      <a:lnTo>
                        <a:pt x="98" y="121"/>
                      </a:lnTo>
                      <a:lnTo>
                        <a:pt x="101" y="126"/>
                      </a:lnTo>
                      <a:lnTo>
                        <a:pt x="103" y="126"/>
                      </a:lnTo>
                      <a:lnTo>
                        <a:pt x="117" y="117"/>
                      </a:lnTo>
                      <a:lnTo>
                        <a:pt x="119" y="107"/>
                      </a:lnTo>
                      <a:lnTo>
                        <a:pt x="132" y="105"/>
                      </a:lnTo>
                      <a:lnTo>
                        <a:pt x="138" y="97"/>
                      </a:lnTo>
                      <a:lnTo>
                        <a:pt x="132" y="85"/>
                      </a:lnTo>
                      <a:lnTo>
                        <a:pt x="130" y="78"/>
                      </a:lnTo>
                      <a:lnTo>
                        <a:pt x="138" y="90"/>
                      </a:lnTo>
                      <a:lnTo>
                        <a:pt x="140" y="79"/>
                      </a:lnTo>
                      <a:lnTo>
                        <a:pt x="135" y="68"/>
                      </a:lnTo>
                      <a:lnTo>
                        <a:pt x="130" y="66"/>
                      </a:lnTo>
                      <a:lnTo>
                        <a:pt x="116" y="68"/>
                      </a:lnTo>
                      <a:lnTo>
                        <a:pt x="122" y="57"/>
                      </a:lnTo>
                      <a:lnTo>
                        <a:pt x="120" y="39"/>
                      </a:lnTo>
                      <a:lnTo>
                        <a:pt x="112" y="27"/>
                      </a:lnTo>
                      <a:lnTo>
                        <a:pt x="106" y="16"/>
                      </a:lnTo>
                      <a:lnTo>
                        <a:pt x="89" y="10"/>
                      </a:lnTo>
                      <a:lnTo>
                        <a:pt x="64" y="18"/>
                      </a:lnTo>
                      <a:lnTo>
                        <a:pt x="58" y="24"/>
                      </a:lnTo>
                      <a:lnTo>
                        <a:pt x="50" y="27"/>
                      </a:lnTo>
                      <a:lnTo>
                        <a:pt x="48" y="24"/>
                      </a:lnTo>
                      <a:lnTo>
                        <a:pt x="59" y="10"/>
                      </a:lnTo>
                      <a:lnTo>
                        <a:pt x="57" y="7"/>
                      </a:lnTo>
                      <a:lnTo>
                        <a:pt x="48" y="2"/>
                      </a:lnTo>
                      <a:lnTo>
                        <a:pt x="39" y="0"/>
                      </a:lnTo>
                      <a:lnTo>
                        <a:pt x="38" y="5"/>
                      </a:lnTo>
                      <a:lnTo>
                        <a:pt x="36" y="8"/>
                      </a:lnTo>
                      <a:lnTo>
                        <a:pt x="33" y="14"/>
                      </a:lnTo>
                      <a:lnTo>
                        <a:pt x="34" y="20"/>
                      </a:lnTo>
                      <a:lnTo>
                        <a:pt x="34" y="27"/>
                      </a:lnTo>
                      <a:lnTo>
                        <a:pt x="33" y="34"/>
                      </a:lnTo>
                      <a:lnTo>
                        <a:pt x="28" y="3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48" name="Ireland"/>
              <p:cNvSpPr>
                <a:spLocks noChangeAspect="1"/>
              </p:cNvSpPr>
              <p:nvPr>
                <p:custDataLst>
                  <p:tags r:id="rId231"/>
                </p:custDataLst>
              </p:nvPr>
            </p:nvSpPr>
            <p:spPr bwMode="gray">
              <a:xfrm>
                <a:off x="4172809" y="2935131"/>
                <a:ext cx="110008" cy="161501"/>
              </a:xfrm>
              <a:custGeom>
                <a:avLst/>
                <a:gdLst/>
                <a:ahLst/>
                <a:cxnLst>
                  <a:cxn ang="0">
                    <a:pos x="223" y="97"/>
                  </a:cxn>
                  <a:cxn ang="0">
                    <a:pos x="178" y="84"/>
                  </a:cxn>
                  <a:cxn ang="0">
                    <a:pos x="148" y="100"/>
                  </a:cxn>
                  <a:cxn ang="0">
                    <a:pos x="136" y="63"/>
                  </a:cxn>
                  <a:cxn ang="0">
                    <a:pos x="152" y="39"/>
                  </a:cxn>
                  <a:cxn ang="0">
                    <a:pos x="152" y="2"/>
                  </a:cxn>
                  <a:cxn ang="0">
                    <a:pos x="135" y="6"/>
                  </a:cxn>
                  <a:cxn ang="0">
                    <a:pos x="113" y="18"/>
                  </a:cxn>
                  <a:cxn ang="0">
                    <a:pos x="108" y="34"/>
                  </a:cxn>
                  <a:cxn ang="0">
                    <a:pos x="88" y="53"/>
                  </a:cxn>
                  <a:cxn ang="0">
                    <a:pos x="104" y="60"/>
                  </a:cxn>
                  <a:cxn ang="0">
                    <a:pos x="120" y="63"/>
                  </a:cxn>
                  <a:cxn ang="0">
                    <a:pos x="99" y="87"/>
                  </a:cxn>
                  <a:cxn ang="0">
                    <a:pos x="65" y="97"/>
                  </a:cxn>
                  <a:cxn ang="0">
                    <a:pos x="31" y="96"/>
                  </a:cxn>
                  <a:cxn ang="0">
                    <a:pos x="23" y="118"/>
                  </a:cxn>
                  <a:cxn ang="0">
                    <a:pos x="43" y="130"/>
                  </a:cxn>
                  <a:cxn ang="0">
                    <a:pos x="24" y="154"/>
                  </a:cxn>
                  <a:cxn ang="0">
                    <a:pos x="23" y="173"/>
                  </a:cxn>
                  <a:cxn ang="0">
                    <a:pos x="40" y="179"/>
                  </a:cxn>
                  <a:cxn ang="0">
                    <a:pos x="78" y="192"/>
                  </a:cxn>
                  <a:cxn ang="0">
                    <a:pos x="54" y="209"/>
                  </a:cxn>
                  <a:cxn ang="0">
                    <a:pos x="32" y="248"/>
                  </a:cxn>
                  <a:cxn ang="0">
                    <a:pos x="81" y="238"/>
                  </a:cxn>
                  <a:cxn ang="0">
                    <a:pos x="56" y="249"/>
                  </a:cxn>
                  <a:cxn ang="0">
                    <a:pos x="29" y="274"/>
                  </a:cxn>
                  <a:cxn ang="0">
                    <a:pos x="15" y="279"/>
                  </a:cxn>
                  <a:cxn ang="0">
                    <a:pos x="0" y="291"/>
                  </a:cxn>
                  <a:cxn ang="0">
                    <a:pos x="13" y="299"/>
                  </a:cxn>
                  <a:cxn ang="0">
                    <a:pos x="11" y="314"/>
                  </a:cxn>
                  <a:cxn ang="0">
                    <a:pos x="38" y="312"/>
                  </a:cxn>
                  <a:cxn ang="0">
                    <a:pos x="16" y="334"/>
                  </a:cxn>
                  <a:cxn ang="0">
                    <a:pos x="48" y="328"/>
                  </a:cxn>
                  <a:cxn ang="0">
                    <a:pos x="33" y="338"/>
                  </a:cxn>
                  <a:cxn ang="0">
                    <a:pos x="44" y="340"/>
                  </a:cxn>
                  <a:cxn ang="0">
                    <a:pos x="60" y="343"/>
                  </a:cxn>
                  <a:cxn ang="0">
                    <a:pos x="102" y="329"/>
                  </a:cxn>
                  <a:cxn ang="0">
                    <a:pos x="109" y="308"/>
                  </a:cxn>
                  <a:cxn ang="0">
                    <a:pos x="119" y="317"/>
                  </a:cxn>
                  <a:cxn ang="0">
                    <a:pos x="145" y="306"/>
                  </a:cxn>
                  <a:cxn ang="0">
                    <a:pos x="153" y="291"/>
                  </a:cxn>
                  <a:cxn ang="0">
                    <a:pos x="201" y="281"/>
                  </a:cxn>
                  <a:cxn ang="0">
                    <a:pos x="218" y="278"/>
                  </a:cxn>
                  <a:cxn ang="0">
                    <a:pos x="225" y="236"/>
                  </a:cxn>
                  <a:cxn ang="0">
                    <a:pos x="231" y="197"/>
                  </a:cxn>
                  <a:cxn ang="0">
                    <a:pos x="233" y="160"/>
                  </a:cxn>
                  <a:cxn ang="0">
                    <a:pos x="226" y="117"/>
                  </a:cxn>
                </a:cxnLst>
                <a:rect l="0" t="0" r="r" b="b"/>
                <a:pathLst>
                  <a:path w="233" h="345">
                    <a:moveTo>
                      <a:pt x="226" y="117"/>
                    </a:moveTo>
                    <a:lnTo>
                      <a:pt x="223" y="112"/>
                    </a:lnTo>
                    <a:lnTo>
                      <a:pt x="223" y="97"/>
                    </a:lnTo>
                    <a:lnTo>
                      <a:pt x="222" y="90"/>
                    </a:lnTo>
                    <a:lnTo>
                      <a:pt x="207" y="76"/>
                    </a:lnTo>
                    <a:lnTo>
                      <a:pt x="178" y="84"/>
                    </a:lnTo>
                    <a:lnTo>
                      <a:pt x="172" y="95"/>
                    </a:lnTo>
                    <a:lnTo>
                      <a:pt x="159" y="106"/>
                    </a:lnTo>
                    <a:lnTo>
                      <a:pt x="148" y="100"/>
                    </a:lnTo>
                    <a:lnTo>
                      <a:pt x="141" y="82"/>
                    </a:lnTo>
                    <a:lnTo>
                      <a:pt x="125" y="71"/>
                    </a:lnTo>
                    <a:lnTo>
                      <a:pt x="136" y="63"/>
                    </a:lnTo>
                    <a:lnTo>
                      <a:pt x="136" y="50"/>
                    </a:lnTo>
                    <a:lnTo>
                      <a:pt x="146" y="49"/>
                    </a:lnTo>
                    <a:lnTo>
                      <a:pt x="152" y="39"/>
                    </a:lnTo>
                    <a:lnTo>
                      <a:pt x="153" y="27"/>
                    </a:lnTo>
                    <a:lnTo>
                      <a:pt x="155" y="22"/>
                    </a:lnTo>
                    <a:lnTo>
                      <a:pt x="152" y="2"/>
                    </a:lnTo>
                    <a:lnTo>
                      <a:pt x="151" y="0"/>
                    </a:lnTo>
                    <a:lnTo>
                      <a:pt x="145" y="1"/>
                    </a:lnTo>
                    <a:lnTo>
                      <a:pt x="135" y="6"/>
                    </a:lnTo>
                    <a:lnTo>
                      <a:pt x="131" y="4"/>
                    </a:lnTo>
                    <a:lnTo>
                      <a:pt x="121" y="11"/>
                    </a:lnTo>
                    <a:lnTo>
                      <a:pt x="113" y="18"/>
                    </a:lnTo>
                    <a:lnTo>
                      <a:pt x="108" y="20"/>
                    </a:lnTo>
                    <a:lnTo>
                      <a:pt x="105" y="30"/>
                    </a:lnTo>
                    <a:lnTo>
                      <a:pt x="108" y="34"/>
                    </a:lnTo>
                    <a:lnTo>
                      <a:pt x="107" y="37"/>
                    </a:lnTo>
                    <a:lnTo>
                      <a:pt x="99" y="45"/>
                    </a:lnTo>
                    <a:lnTo>
                      <a:pt x="88" y="53"/>
                    </a:lnTo>
                    <a:lnTo>
                      <a:pt x="91" y="59"/>
                    </a:lnTo>
                    <a:lnTo>
                      <a:pt x="99" y="59"/>
                    </a:lnTo>
                    <a:lnTo>
                      <a:pt x="104" y="60"/>
                    </a:lnTo>
                    <a:lnTo>
                      <a:pt x="110" y="59"/>
                    </a:lnTo>
                    <a:lnTo>
                      <a:pt x="119" y="59"/>
                    </a:lnTo>
                    <a:lnTo>
                      <a:pt x="120" y="63"/>
                    </a:lnTo>
                    <a:lnTo>
                      <a:pt x="117" y="71"/>
                    </a:lnTo>
                    <a:lnTo>
                      <a:pt x="98" y="84"/>
                    </a:lnTo>
                    <a:lnTo>
                      <a:pt x="99" y="87"/>
                    </a:lnTo>
                    <a:lnTo>
                      <a:pt x="98" y="95"/>
                    </a:lnTo>
                    <a:lnTo>
                      <a:pt x="83" y="93"/>
                    </a:lnTo>
                    <a:lnTo>
                      <a:pt x="65" y="97"/>
                    </a:lnTo>
                    <a:lnTo>
                      <a:pt x="61" y="90"/>
                    </a:lnTo>
                    <a:lnTo>
                      <a:pt x="37" y="87"/>
                    </a:lnTo>
                    <a:lnTo>
                      <a:pt x="31" y="96"/>
                    </a:lnTo>
                    <a:lnTo>
                      <a:pt x="26" y="104"/>
                    </a:lnTo>
                    <a:lnTo>
                      <a:pt x="29" y="120"/>
                    </a:lnTo>
                    <a:lnTo>
                      <a:pt x="23" y="118"/>
                    </a:lnTo>
                    <a:lnTo>
                      <a:pt x="15" y="119"/>
                    </a:lnTo>
                    <a:lnTo>
                      <a:pt x="21" y="128"/>
                    </a:lnTo>
                    <a:lnTo>
                      <a:pt x="43" y="130"/>
                    </a:lnTo>
                    <a:lnTo>
                      <a:pt x="44" y="136"/>
                    </a:lnTo>
                    <a:lnTo>
                      <a:pt x="28" y="146"/>
                    </a:lnTo>
                    <a:lnTo>
                      <a:pt x="24" y="154"/>
                    </a:lnTo>
                    <a:lnTo>
                      <a:pt x="17" y="158"/>
                    </a:lnTo>
                    <a:lnTo>
                      <a:pt x="17" y="166"/>
                    </a:lnTo>
                    <a:lnTo>
                      <a:pt x="23" y="173"/>
                    </a:lnTo>
                    <a:lnTo>
                      <a:pt x="28" y="174"/>
                    </a:lnTo>
                    <a:lnTo>
                      <a:pt x="28" y="179"/>
                    </a:lnTo>
                    <a:lnTo>
                      <a:pt x="40" y="179"/>
                    </a:lnTo>
                    <a:lnTo>
                      <a:pt x="43" y="186"/>
                    </a:lnTo>
                    <a:lnTo>
                      <a:pt x="75" y="187"/>
                    </a:lnTo>
                    <a:lnTo>
                      <a:pt x="78" y="192"/>
                    </a:lnTo>
                    <a:lnTo>
                      <a:pt x="74" y="197"/>
                    </a:lnTo>
                    <a:lnTo>
                      <a:pt x="61" y="201"/>
                    </a:lnTo>
                    <a:lnTo>
                      <a:pt x="54" y="209"/>
                    </a:lnTo>
                    <a:lnTo>
                      <a:pt x="53" y="224"/>
                    </a:lnTo>
                    <a:lnTo>
                      <a:pt x="48" y="233"/>
                    </a:lnTo>
                    <a:lnTo>
                      <a:pt x="32" y="248"/>
                    </a:lnTo>
                    <a:lnTo>
                      <a:pt x="65" y="243"/>
                    </a:lnTo>
                    <a:lnTo>
                      <a:pt x="81" y="227"/>
                    </a:lnTo>
                    <a:lnTo>
                      <a:pt x="81" y="238"/>
                    </a:lnTo>
                    <a:lnTo>
                      <a:pt x="89" y="240"/>
                    </a:lnTo>
                    <a:lnTo>
                      <a:pt x="91" y="241"/>
                    </a:lnTo>
                    <a:lnTo>
                      <a:pt x="56" y="249"/>
                    </a:lnTo>
                    <a:lnTo>
                      <a:pt x="42" y="251"/>
                    </a:lnTo>
                    <a:lnTo>
                      <a:pt x="31" y="268"/>
                    </a:lnTo>
                    <a:lnTo>
                      <a:pt x="29" y="274"/>
                    </a:lnTo>
                    <a:lnTo>
                      <a:pt x="27" y="278"/>
                    </a:lnTo>
                    <a:lnTo>
                      <a:pt x="21" y="276"/>
                    </a:lnTo>
                    <a:lnTo>
                      <a:pt x="15" y="279"/>
                    </a:lnTo>
                    <a:lnTo>
                      <a:pt x="8" y="278"/>
                    </a:lnTo>
                    <a:lnTo>
                      <a:pt x="2" y="283"/>
                    </a:lnTo>
                    <a:lnTo>
                      <a:pt x="0" y="291"/>
                    </a:lnTo>
                    <a:lnTo>
                      <a:pt x="24" y="289"/>
                    </a:lnTo>
                    <a:lnTo>
                      <a:pt x="26" y="294"/>
                    </a:lnTo>
                    <a:lnTo>
                      <a:pt x="13" y="299"/>
                    </a:lnTo>
                    <a:lnTo>
                      <a:pt x="5" y="308"/>
                    </a:lnTo>
                    <a:lnTo>
                      <a:pt x="3" y="314"/>
                    </a:lnTo>
                    <a:lnTo>
                      <a:pt x="11" y="314"/>
                    </a:lnTo>
                    <a:lnTo>
                      <a:pt x="13" y="319"/>
                    </a:lnTo>
                    <a:lnTo>
                      <a:pt x="16" y="319"/>
                    </a:lnTo>
                    <a:lnTo>
                      <a:pt x="38" y="312"/>
                    </a:lnTo>
                    <a:lnTo>
                      <a:pt x="38" y="318"/>
                    </a:lnTo>
                    <a:lnTo>
                      <a:pt x="29" y="323"/>
                    </a:lnTo>
                    <a:lnTo>
                      <a:pt x="16" y="334"/>
                    </a:lnTo>
                    <a:lnTo>
                      <a:pt x="19" y="334"/>
                    </a:lnTo>
                    <a:lnTo>
                      <a:pt x="45" y="326"/>
                    </a:lnTo>
                    <a:lnTo>
                      <a:pt x="48" y="328"/>
                    </a:lnTo>
                    <a:lnTo>
                      <a:pt x="45" y="334"/>
                    </a:lnTo>
                    <a:lnTo>
                      <a:pt x="39" y="334"/>
                    </a:lnTo>
                    <a:lnTo>
                      <a:pt x="33" y="338"/>
                    </a:lnTo>
                    <a:lnTo>
                      <a:pt x="34" y="340"/>
                    </a:lnTo>
                    <a:lnTo>
                      <a:pt x="34" y="345"/>
                    </a:lnTo>
                    <a:lnTo>
                      <a:pt x="44" y="340"/>
                    </a:lnTo>
                    <a:lnTo>
                      <a:pt x="51" y="339"/>
                    </a:lnTo>
                    <a:lnTo>
                      <a:pt x="55" y="341"/>
                    </a:lnTo>
                    <a:lnTo>
                      <a:pt x="60" y="343"/>
                    </a:lnTo>
                    <a:lnTo>
                      <a:pt x="67" y="338"/>
                    </a:lnTo>
                    <a:lnTo>
                      <a:pt x="74" y="338"/>
                    </a:lnTo>
                    <a:lnTo>
                      <a:pt x="102" y="329"/>
                    </a:lnTo>
                    <a:lnTo>
                      <a:pt x="109" y="323"/>
                    </a:lnTo>
                    <a:lnTo>
                      <a:pt x="110" y="316"/>
                    </a:lnTo>
                    <a:lnTo>
                      <a:pt x="109" y="308"/>
                    </a:lnTo>
                    <a:lnTo>
                      <a:pt x="113" y="310"/>
                    </a:lnTo>
                    <a:lnTo>
                      <a:pt x="115" y="316"/>
                    </a:lnTo>
                    <a:lnTo>
                      <a:pt x="119" y="317"/>
                    </a:lnTo>
                    <a:lnTo>
                      <a:pt x="131" y="311"/>
                    </a:lnTo>
                    <a:lnTo>
                      <a:pt x="135" y="305"/>
                    </a:lnTo>
                    <a:lnTo>
                      <a:pt x="145" y="306"/>
                    </a:lnTo>
                    <a:lnTo>
                      <a:pt x="148" y="301"/>
                    </a:lnTo>
                    <a:lnTo>
                      <a:pt x="151" y="295"/>
                    </a:lnTo>
                    <a:lnTo>
                      <a:pt x="153" y="291"/>
                    </a:lnTo>
                    <a:lnTo>
                      <a:pt x="177" y="286"/>
                    </a:lnTo>
                    <a:lnTo>
                      <a:pt x="189" y="281"/>
                    </a:lnTo>
                    <a:lnTo>
                      <a:pt x="201" y="281"/>
                    </a:lnTo>
                    <a:lnTo>
                      <a:pt x="209" y="285"/>
                    </a:lnTo>
                    <a:lnTo>
                      <a:pt x="216" y="285"/>
                    </a:lnTo>
                    <a:lnTo>
                      <a:pt x="218" y="278"/>
                    </a:lnTo>
                    <a:lnTo>
                      <a:pt x="215" y="269"/>
                    </a:lnTo>
                    <a:lnTo>
                      <a:pt x="222" y="251"/>
                    </a:lnTo>
                    <a:lnTo>
                      <a:pt x="225" y="236"/>
                    </a:lnTo>
                    <a:lnTo>
                      <a:pt x="231" y="225"/>
                    </a:lnTo>
                    <a:lnTo>
                      <a:pt x="233" y="216"/>
                    </a:lnTo>
                    <a:lnTo>
                      <a:pt x="231" y="197"/>
                    </a:lnTo>
                    <a:lnTo>
                      <a:pt x="227" y="178"/>
                    </a:lnTo>
                    <a:lnTo>
                      <a:pt x="231" y="176"/>
                    </a:lnTo>
                    <a:lnTo>
                      <a:pt x="233" y="160"/>
                    </a:lnTo>
                    <a:lnTo>
                      <a:pt x="220" y="128"/>
                    </a:lnTo>
                    <a:lnTo>
                      <a:pt x="220" y="119"/>
                    </a:lnTo>
                    <a:lnTo>
                      <a:pt x="226" y="1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9" name="Ukraine"/>
              <p:cNvSpPr>
                <a:spLocks noChangeAspect="1"/>
              </p:cNvSpPr>
              <p:nvPr>
                <p:custDataLst>
                  <p:tags r:id="rId232"/>
                </p:custDataLst>
              </p:nvPr>
            </p:nvSpPr>
            <p:spPr bwMode="gray">
              <a:xfrm>
                <a:off x="5003722" y="3056843"/>
                <a:ext cx="465780" cy="308959"/>
              </a:xfrm>
              <a:custGeom>
                <a:avLst/>
                <a:gdLst/>
                <a:ahLst/>
                <a:cxnLst>
                  <a:cxn ang="0">
                    <a:pos x="148" y="384"/>
                  </a:cxn>
                  <a:cxn ang="0">
                    <a:pos x="40" y="377"/>
                  </a:cxn>
                  <a:cxn ang="0">
                    <a:pos x="19" y="282"/>
                  </a:cxn>
                  <a:cxn ang="0">
                    <a:pos x="85" y="184"/>
                  </a:cxn>
                  <a:cxn ang="0">
                    <a:pos x="84" y="95"/>
                  </a:cxn>
                  <a:cxn ang="0">
                    <a:pos x="121" y="51"/>
                  </a:cxn>
                  <a:cxn ang="0">
                    <a:pos x="219" y="44"/>
                  </a:cxn>
                  <a:cxn ang="0">
                    <a:pos x="275" y="67"/>
                  </a:cxn>
                  <a:cxn ang="0">
                    <a:pos x="328" y="77"/>
                  </a:cxn>
                  <a:cxn ang="0">
                    <a:pos x="386" y="70"/>
                  </a:cxn>
                  <a:cxn ang="0">
                    <a:pos x="449" y="86"/>
                  </a:cxn>
                  <a:cxn ang="0">
                    <a:pos x="473" y="52"/>
                  </a:cxn>
                  <a:cxn ang="0">
                    <a:pos x="537" y="18"/>
                  </a:cxn>
                  <a:cxn ang="0">
                    <a:pos x="589" y="6"/>
                  </a:cxn>
                  <a:cxn ang="0">
                    <a:pos x="662" y="25"/>
                  </a:cxn>
                  <a:cxn ang="0">
                    <a:pos x="667" y="72"/>
                  </a:cxn>
                  <a:cxn ang="0">
                    <a:pos x="720" y="105"/>
                  </a:cxn>
                  <a:cxn ang="0">
                    <a:pos x="759" y="165"/>
                  </a:cxn>
                  <a:cxn ang="0">
                    <a:pos x="842" y="163"/>
                  </a:cxn>
                  <a:cxn ang="0">
                    <a:pos x="896" y="199"/>
                  </a:cxn>
                  <a:cxn ang="0">
                    <a:pos x="958" y="223"/>
                  </a:cxn>
                  <a:cxn ang="0">
                    <a:pos x="987" y="282"/>
                  </a:cxn>
                  <a:cxn ang="0">
                    <a:pos x="968" y="320"/>
                  </a:cxn>
                  <a:cxn ang="0">
                    <a:pos x="963" y="389"/>
                  </a:cxn>
                  <a:cxn ang="0">
                    <a:pos x="888" y="419"/>
                  </a:cxn>
                  <a:cxn ang="0">
                    <a:pos x="817" y="465"/>
                  </a:cxn>
                  <a:cxn ang="0">
                    <a:pos x="757" y="485"/>
                  </a:cxn>
                  <a:cxn ang="0">
                    <a:pos x="725" y="517"/>
                  </a:cxn>
                  <a:cxn ang="0">
                    <a:pos x="709" y="545"/>
                  </a:cxn>
                  <a:cxn ang="0">
                    <a:pos x="687" y="534"/>
                  </a:cxn>
                  <a:cxn ang="0">
                    <a:pos x="666" y="507"/>
                  </a:cxn>
                  <a:cxn ang="0">
                    <a:pos x="660" y="527"/>
                  </a:cxn>
                  <a:cxn ang="0">
                    <a:pos x="684" y="539"/>
                  </a:cxn>
                  <a:cxn ang="0">
                    <a:pos x="708" y="559"/>
                  </a:cxn>
                  <a:cxn ang="0">
                    <a:pos x="750" y="590"/>
                  </a:cxn>
                  <a:cxn ang="0">
                    <a:pos x="799" y="584"/>
                  </a:cxn>
                  <a:cxn ang="0">
                    <a:pos x="723" y="619"/>
                  </a:cxn>
                  <a:cxn ang="0">
                    <a:pos x="680" y="646"/>
                  </a:cxn>
                  <a:cxn ang="0">
                    <a:pos x="632" y="638"/>
                  </a:cxn>
                  <a:cxn ang="0">
                    <a:pos x="607" y="590"/>
                  </a:cxn>
                  <a:cxn ang="0">
                    <a:pos x="613" y="550"/>
                  </a:cxn>
                  <a:cxn ang="0">
                    <a:pos x="618" y="524"/>
                  </a:cxn>
                  <a:cxn ang="0">
                    <a:pos x="557" y="518"/>
                  </a:cxn>
                  <a:cxn ang="0">
                    <a:pos x="528" y="496"/>
                  </a:cxn>
                  <a:cxn ang="0">
                    <a:pos x="543" y="471"/>
                  </a:cxn>
                  <a:cxn ang="0">
                    <a:pos x="492" y="489"/>
                  </a:cxn>
                  <a:cxn ang="0">
                    <a:pos x="450" y="509"/>
                  </a:cxn>
                  <a:cxn ang="0">
                    <a:pos x="434" y="547"/>
                  </a:cxn>
                  <a:cxn ang="0">
                    <a:pos x="418" y="566"/>
                  </a:cxn>
                  <a:cxn ang="0">
                    <a:pos x="368" y="592"/>
                  </a:cxn>
                  <a:cxn ang="0">
                    <a:pos x="352" y="560"/>
                  </a:cxn>
                  <a:cxn ang="0">
                    <a:pos x="382" y="498"/>
                  </a:cxn>
                  <a:cxn ang="0">
                    <a:pos x="431" y="484"/>
                  </a:cxn>
                  <a:cxn ang="0">
                    <a:pos x="406" y="423"/>
                  </a:cxn>
                  <a:cxn ang="0">
                    <a:pos x="387" y="369"/>
                  </a:cxn>
                  <a:cxn ang="0">
                    <a:pos x="310" y="339"/>
                  </a:cxn>
                </a:cxnLst>
                <a:rect l="0" t="0" r="r" b="b"/>
                <a:pathLst>
                  <a:path w="995" h="658">
                    <a:moveTo>
                      <a:pt x="248" y="353"/>
                    </a:moveTo>
                    <a:lnTo>
                      <a:pt x="242" y="352"/>
                    </a:lnTo>
                    <a:lnTo>
                      <a:pt x="208" y="373"/>
                    </a:lnTo>
                    <a:lnTo>
                      <a:pt x="189" y="374"/>
                    </a:lnTo>
                    <a:lnTo>
                      <a:pt x="173" y="378"/>
                    </a:lnTo>
                    <a:lnTo>
                      <a:pt x="157" y="389"/>
                    </a:lnTo>
                    <a:lnTo>
                      <a:pt x="148" y="384"/>
                    </a:lnTo>
                    <a:lnTo>
                      <a:pt x="137" y="374"/>
                    </a:lnTo>
                    <a:lnTo>
                      <a:pt x="121" y="376"/>
                    </a:lnTo>
                    <a:lnTo>
                      <a:pt x="106" y="379"/>
                    </a:lnTo>
                    <a:lnTo>
                      <a:pt x="83" y="377"/>
                    </a:lnTo>
                    <a:lnTo>
                      <a:pt x="64" y="374"/>
                    </a:lnTo>
                    <a:lnTo>
                      <a:pt x="47" y="374"/>
                    </a:lnTo>
                    <a:lnTo>
                      <a:pt x="40" y="377"/>
                    </a:lnTo>
                    <a:lnTo>
                      <a:pt x="36" y="367"/>
                    </a:lnTo>
                    <a:lnTo>
                      <a:pt x="27" y="358"/>
                    </a:lnTo>
                    <a:lnTo>
                      <a:pt x="15" y="348"/>
                    </a:lnTo>
                    <a:lnTo>
                      <a:pt x="0" y="341"/>
                    </a:lnTo>
                    <a:lnTo>
                      <a:pt x="6" y="318"/>
                    </a:lnTo>
                    <a:lnTo>
                      <a:pt x="17" y="288"/>
                    </a:lnTo>
                    <a:lnTo>
                      <a:pt x="19" y="282"/>
                    </a:lnTo>
                    <a:lnTo>
                      <a:pt x="24" y="283"/>
                    </a:lnTo>
                    <a:lnTo>
                      <a:pt x="33" y="281"/>
                    </a:lnTo>
                    <a:lnTo>
                      <a:pt x="31" y="269"/>
                    </a:lnTo>
                    <a:lnTo>
                      <a:pt x="33" y="254"/>
                    </a:lnTo>
                    <a:lnTo>
                      <a:pt x="51" y="216"/>
                    </a:lnTo>
                    <a:lnTo>
                      <a:pt x="65" y="197"/>
                    </a:lnTo>
                    <a:lnTo>
                      <a:pt x="85" y="184"/>
                    </a:lnTo>
                    <a:lnTo>
                      <a:pt x="103" y="169"/>
                    </a:lnTo>
                    <a:lnTo>
                      <a:pt x="108" y="156"/>
                    </a:lnTo>
                    <a:lnTo>
                      <a:pt x="102" y="140"/>
                    </a:lnTo>
                    <a:lnTo>
                      <a:pt x="103" y="129"/>
                    </a:lnTo>
                    <a:lnTo>
                      <a:pt x="92" y="118"/>
                    </a:lnTo>
                    <a:lnTo>
                      <a:pt x="91" y="114"/>
                    </a:lnTo>
                    <a:lnTo>
                      <a:pt x="84" y="95"/>
                    </a:lnTo>
                    <a:lnTo>
                      <a:pt x="83" y="83"/>
                    </a:lnTo>
                    <a:lnTo>
                      <a:pt x="76" y="71"/>
                    </a:lnTo>
                    <a:lnTo>
                      <a:pt x="83" y="65"/>
                    </a:lnTo>
                    <a:lnTo>
                      <a:pt x="91" y="64"/>
                    </a:lnTo>
                    <a:lnTo>
                      <a:pt x="100" y="65"/>
                    </a:lnTo>
                    <a:lnTo>
                      <a:pt x="114" y="57"/>
                    </a:lnTo>
                    <a:lnTo>
                      <a:pt x="121" y="51"/>
                    </a:lnTo>
                    <a:lnTo>
                      <a:pt x="123" y="44"/>
                    </a:lnTo>
                    <a:lnTo>
                      <a:pt x="130" y="40"/>
                    </a:lnTo>
                    <a:lnTo>
                      <a:pt x="172" y="34"/>
                    </a:lnTo>
                    <a:lnTo>
                      <a:pt x="180" y="37"/>
                    </a:lnTo>
                    <a:lnTo>
                      <a:pt x="197" y="38"/>
                    </a:lnTo>
                    <a:lnTo>
                      <a:pt x="205" y="35"/>
                    </a:lnTo>
                    <a:lnTo>
                      <a:pt x="219" y="44"/>
                    </a:lnTo>
                    <a:lnTo>
                      <a:pt x="235" y="49"/>
                    </a:lnTo>
                    <a:lnTo>
                      <a:pt x="243" y="50"/>
                    </a:lnTo>
                    <a:lnTo>
                      <a:pt x="252" y="49"/>
                    </a:lnTo>
                    <a:lnTo>
                      <a:pt x="258" y="52"/>
                    </a:lnTo>
                    <a:lnTo>
                      <a:pt x="267" y="55"/>
                    </a:lnTo>
                    <a:lnTo>
                      <a:pt x="274" y="59"/>
                    </a:lnTo>
                    <a:lnTo>
                      <a:pt x="275" y="67"/>
                    </a:lnTo>
                    <a:lnTo>
                      <a:pt x="282" y="72"/>
                    </a:lnTo>
                    <a:lnTo>
                      <a:pt x="297" y="71"/>
                    </a:lnTo>
                    <a:lnTo>
                      <a:pt x="299" y="79"/>
                    </a:lnTo>
                    <a:lnTo>
                      <a:pt x="306" y="86"/>
                    </a:lnTo>
                    <a:lnTo>
                      <a:pt x="312" y="79"/>
                    </a:lnTo>
                    <a:lnTo>
                      <a:pt x="320" y="77"/>
                    </a:lnTo>
                    <a:lnTo>
                      <a:pt x="328" y="77"/>
                    </a:lnTo>
                    <a:lnTo>
                      <a:pt x="334" y="71"/>
                    </a:lnTo>
                    <a:lnTo>
                      <a:pt x="340" y="76"/>
                    </a:lnTo>
                    <a:lnTo>
                      <a:pt x="349" y="78"/>
                    </a:lnTo>
                    <a:lnTo>
                      <a:pt x="356" y="76"/>
                    </a:lnTo>
                    <a:lnTo>
                      <a:pt x="361" y="83"/>
                    </a:lnTo>
                    <a:lnTo>
                      <a:pt x="369" y="88"/>
                    </a:lnTo>
                    <a:lnTo>
                      <a:pt x="386" y="70"/>
                    </a:lnTo>
                    <a:lnTo>
                      <a:pt x="398" y="79"/>
                    </a:lnTo>
                    <a:lnTo>
                      <a:pt x="402" y="87"/>
                    </a:lnTo>
                    <a:lnTo>
                      <a:pt x="408" y="93"/>
                    </a:lnTo>
                    <a:lnTo>
                      <a:pt x="415" y="88"/>
                    </a:lnTo>
                    <a:lnTo>
                      <a:pt x="424" y="88"/>
                    </a:lnTo>
                    <a:lnTo>
                      <a:pt x="440" y="86"/>
                    </a:lnTo>
                    <a:lnTo>
                      <a:pt x="449" y="86"/>
                    </a:lnTo>
                    <a:lnTo>
                      <a:pt x="456" y="89"/>
                    </a:lnTo>
                    <a:lnTo>
                      <a:pt x="461" y="95"/>
                    </a:lnTo>
                    <a:lnTo>
                      <a:pt x="469" y="93"/>
                    </a:lnTo>
                    <a:lnTo>
                      <a:pt x="473" y="86"/>
                    </a:lnTo>
                    <a:lnTo>
                      <a:pt x="471" y="70"/>
                    </a:lnTo>
                    <a:lnTo>
                      <a:pt x="473" y="61"/>
                    </a:lnTo>
                    <a:lnTo>
                      <a:pt x="473" y="52"/>
                    </a:lnTo>
                    <a:lnTo>
                      <a:pt x="476" y="44"/>
                    </a:lnTo>
                    <a:lnTo>
                      <a:pt x="494" y="27"/>
                    </a:lnTo>
                    <a:lnTo>
                      <a:pt x="501" y="23"/>
                    </a:lnTo>
                    <a:lnTo>
                      <a:pt x="510" y="23"/>
                    </a:lnTo>
                    <a:lnTo>
                      <a:pt x="517" y="18"/>
                    </a:lnTo>
                    <a:lnTo>
                      <a:pt x="537" y="18"/>
                    </a:lnTo>
                    <a:lnTo>
                      <a:pt x="537" y="18"/>
                    </a:lnTo>
                    <a:lnTo>
                      <a:pt x="543" y="23"/>
                    </a:lnTo>
                    <a:lnTo>
                      <a:pt x="551" y="25"/>
                    </a:lnTo>
                    <a:lnTo>
                      <a:pt x="558" y="22"/>
                    </a:lnTo>
                    <a:lnTo>
                      <a:pt x="563" y="16"/>
                    </a:lnTo>
                    <a:lnTo>
                      <a:pt x="565" y="7"/>
                    </a:lnTo>
                    <a:lnTo>
                      <a:pt x="573" y="2"/>
                    </a:lnTo>
                    <a:lnTo>
                      <a:pt x="589" y="6"/>
                    </a:lnTo>
                    <a:lnTo>
                      <a:pt x="597" y="6"/>
                    </a:lnTo>
                    <a:lnTo>
                      <a:pt x="613" y="1"/>
                    </a:lnTo>
                    <a:lnTo>
                      <a:pt x="629" y="3"/>
                    </a:lnTo>
                    <a:lnTo>
                      <a:pt x="645" y="0"/>
                    </a:lnTo>
                    <a:lnTo>
                      <a:pt x="657" y="9"/>
                    </a:lnTo>
                    <a:lnTo>
                      <a:pt x="662" y="17"/>
                    </a:lnTo>
                    <a:lnTo>
                      <a:pt x="662" y="25"/>
                    </a:lnTo>
                    <a:lnTo>
                      <a:pt x="675" y="37"/>
                    </a:lnTo>
                    <a:lnTo>
                      <a:pt x="680" y="43"/>
                    </a:lnTo>
                    <a:lnTo>
                      <a:pt x="680" y="52"/>
                    </a:lnTo>
                    <a:lnTo>
                      <a:pt x="671" y="56"/>
                    </a:lnTo>
                    <a:lnTo>
                      <a:pt x="664" y="57"/>
                    </a:lnTo>
                    <a:lnTo>
                      <a:pt x="667" y="65"/>
                    </a:lnTo>
                    <a:lnTo>
                      <a:pt x="667" y="72"/>
                    </a:lnTo>
                    <a:lnTo>
                      <a:pt x="671" y="88"/>
                    </a:lnTo>
                    <a:lnTo>
                      <a:pt x="678" y="93"/>
                    </a:lnTo>
                    <a:lnTo>
                      <a:pt x="686" y="97"/>
                    </a:lnTo>
                    <a:lnTo>
                      <a:pt x="702" y="100"/>
                    </a:lnTo>
                    <a:lnTo>
                      <a:pt x="709" y="97"/>
                    </a:lnTo>
                    <a:lnTo>
                      <a:pt x="718" y="97"/>
                    </a:lnTo>
                    <a:lnTo>
                      <a:pt x="720" y="105"/>
                    </a:lnTo>
                    <a:lnTo>
                      <a:pt x="731" y="116"/>
                    </a:lnTo>
                    <a:lnTo>
                      <a:pt x="738" y="145"/>
                    </a:lnTo>
                    <a:lnTo>
                      <a:pt x="736" y="152"/>
                    </a:lnTo>
                    <a:lnTo>
                      <a:pt x="738" y="159"/>
                    </a:lnTo>
                    <a:lnTo>
                      <a:pt x="745" y="165"/>
                    </a:lnTo>
                    <a:lnTo>
                      <a:pt x="752" y="169"/>
                    </a:lnTo>
                    <a:lnTo>
                      <a:pt x="759" y="165"/>
                    </a:lnTo>
                    <a:lnTo>
                      <a:pt x="767" y="164"/>
                    </a:lnTo>
                    <a:lnTo>
                      <a:pt x="775" y="165"/>
                    </a:lnTo>
                    <a:lnTo>
                      <a:pt x="786" y="177"/>
                    </a:lnTo>
                    <a:lnTo>
                      <a:pt x="795" y="174"/>
                    </a:lnTo>
                    <a:lnTo>
                      <a:pt x="801" y="178"/>
                    </a:lnTo>
                    <a:lnTo>
                      <a:pt x="827" y="170"/>
                    </a:lnTo>
                    <a:lnTo>
                      <a:pt x="842" y="163"/>
                    </a:lnTo>
                    <a:lnTo>
                      <a:pt x="849" y="165"/>
                    </a:lnTo>
                    <a:lnTo>
                      <a:pt x="854" y="173"/>
                    </a:lnTo>
                    <a:lnTo>
                      <a:pt x="865" y="195"/>
                    </a:lnTo>
                    <a:lnTo>
                      <a:pt x="876" y="206"/>
                    </a:lnTo>
                    <a:lnTo>
                      <a:pt x="883" y="206"/>
                    </a:lnTo>
                    <a:lnTo>
                      <a:pt x="887" y="199"/>
                    </a:lnTo>
                    <a:lnTo>
                      <a:pt x="896" y="199"/>
                    </a:lnTo>
                    <a:lnTo>
                      <a:pt x="901" y="205"/>
                    </a:lnTo>
                    <a:lnTo>
                      <a:pt x="908" y="206"/>
                    </a:lnTo>
                    <a:lnTo>
                      <a:pt x="915" y="210"/>
                    </a:lnTo>
                    <a:lnTo>
                      <a:pt x="922" y="216"/>
                    </a:lnTo>
                    <a:lnTo>
                      <a:pt x="938" y="215"/>
                    </a:lnTo>
                    <a:lnTo>
                      <a:pt x="951" y="224"/>
                    </a:lnTo>
                    <a:lnTo>
                      <a:pt x="958" y="223"/>
                    </a:lnTo>
                    <a:lnTo>
                      <a:pt x="971" y="234"/>
                    </a:lnTo>
                    <a:lnTo>
                      <a:pt x="979" y="235"/>
                    </a:lnTo>
                    <a:lnTo>
                      <a:pt x="988" y="235"/>
                    </a:lnTo>
                    <a:lnTo>
                      <a:pt x="994" y="240"/>
                    </a:lnTo>
                    <a:lnTo>
                      <a:pt x="987" y="244"/>
                    </a:lnTo>
                    <a:lnTo>
                      <a:pt x="995" y="267"/>
                    </a:lnTo>
                    <a:lnTo>
                      <a:pt x="987" y="282"/>
                    </a:lnTo>
                    <a:lnTo>
                      <a:pt x="971" y="286"/>
                    </a:lnTo>
                    <a:lnTo>
                      <a:pt x="976" y="292"/>
                    </a:lnTo>
                    <a:lnTo>
                      <a:pt x="984" y="294"/>
                    </a:lnTo>
                    <a:lnTo>
                      <a:pt x="988" y="301"/>
                    </a:lnTo>
                    <a:lnTo>
                      <a:pt x="972" y="306"/>
                    </a:lnTo>
                    <a:lnTo>
                      <a:pt x="969" y="313"/>
                    </a:lnTo>
                    <a:lnTo>
                      <a:pt x="968" y="320"/>
                    </a:lnTo>
                    <a:lnTo>
                      <a:pt x="973" y="326"/>
                    </a:lnTo>
                    <a:lnTo>
                      <a:pt x="976" y="335"/>
                    </a:lnTo>
                    <a:lnTo>
                      <a:pt x="974" y="342"/>
                    </a:lnTo>
                    <a:lnTo>
                      <a:pt x="980" y="346"/>
                    </a:lnTo>
                    <a:lnTo>
                      <a:pt x="978" y="362"/>
                    </a:lnTo>
                    <a:lnTo>
                      <a:pt x="971" y="385"/>
                    </a:lnTo>
                    <a:lnTo>
                      <a:pt x="963" y="389"/>
                    </a:lnTo>
                    <a:lnTo>
                      <a:pt x="947" y="385"/>
                    </a:lnTo>
                    <a:lnTo>
                      <a:pt x="940" y="387"/>
                    </a:lnTo>
                    <a:lnTo>
                      <a:pt x="925" y="379"/>
                    </a:lnTo>
                    <a:lnTo>
                      <a:pt x="919" y="384"/>
                    </a:lnTo>
                    <a:lnTo>
                      <a:pt x="910" y="398"/>
                    </a:lnTo>
                    <a:lnTo>
                      <a:pt x="896" y="404"/>
                    </a:lnTo>
                    <a:lnTo>
                      <a:pt x="888" y="419"/>
                    </a:lnTo>
                    <a:lnTo>
                      <a:pt x="890" y="427"/>
                    </a:lnTo>
                    <a:lnTo>
                      <a:pt x="890" y="442"/>
                    </a:lnTo>
                    <a:lnTo>
                      <a:pt x="866" y="446"/>
                    </a:lnTo>
                    <a:lnTo>
                      <a:pt x="853" y="448"/>
                    </a:lnTo>
                    <a:lnTo>
                      <a:pt x="843" y="459"/>
                    </a:lnTo>
                    <a:lnTo>
                      <a:pt x="836" y="458"/>
                    </a:lnTo>
                    <a:lnTo>
                      <a:pt x="817" y="465"/>
                    </a:lnTo>
                    <a:lnTo>
                      <a:pt x="813" y="477"/>
                    </a:lnTo>
                    <a:lnTo>
                      <a:pt x="801" y="470"/>
                    </a:lnTo>
                    <a:lnTo>
                      <a:pt x="779" y="481"/>
                    </a:lnTo>
                    <a:lnTo>
                      <a:pt x="777" y="486"/>
                    </a:lnTo>
                    <a:lnTo>
                      <a:pt x="775" y="481"/>
                    </a:lnTo>
                    <a:lnTo>
                      <a:pt x="764" y="485"/>
                    </a:lnTo>
                    <a:lnTo>
                      <a:pt x="757" y="485"/>
                    </a:lnTo>
                    <a:lnTo>
                      <a:pt x="741" y="500"/>
                    </a:lnTo>
                    <a:lnTo>
                      <a:pt x="737" y="501"/>
                    </a:lnTo>
                    <a:lnTo>
                      <a:pt x="731" y="511"/>
                    </a:lnTo>
                    <a:lnTo>
                      <a:pt x="724" y="522"/>
                    </a:lnTo>
                    <a:lnTo>
                      <a:pt x="716" y="525"/>
                    </a:lnTo>
                    <a:lnTo>
                      <a:pt x="719" y="520"/>
                    </a:lnTo>
                    <a:lnTo>
                      <a:pt x="725" y="517"/>
                    </a:lnTo>
                    <a:lnTo>
                      <a:pt x="730" y="512"/>
                    </a:lnTo>
                    <a:lnTo>
                      <a:pt x="725" y="497"/>
                    </a:lnTo>
                    <a:lnTo>
                      <a:pt x="721" y="497"/>
                    </a:lnTo>
                    <a:lnTo>
                      <a:pt x="716" y="512"/>
                    </a:lnTo>
                    <a:lnTo>
                      <a:pt x="707" y="522"/>
                    </a:lnTo>
                    <a:lnTo>
                      <a:pt x="709" y="536"/>
                    </a:lnTo>
                    <a:lnTo>
                      <a:pt x="709" y="545"/>
                    </a:lnTo>
                    <a:lnTo>
                      <a:pt x="704" y="545"/>
                    </a:lnTo>
                    <a:lnTo>
                      <a:pt x="704" y="541"/>
                    </a:lnTo>
                    <a:lnTo>
                      <a:pt x="698" y="530"/>
                    </a:lnTo>
                    <a:lnTo>
                      <a:pt x="699" y="527"/>
                    </a:lnTo>
                    <a:lnTo>
                      <a:pt x="697" y="523"/>
                    </a:lnTo>
                    <a:lnTo>
                      <a:pt x="691" y="528"/>
                    </a:lnTo>
                    <a:lnTo>
                      <a:pt x="687" y="534"/>
                    </a:lnTo>
                    <a:lnTo>
                      <a:pt x="684" y="533"/>
                    </a:lnTo>
                    <a:lnTo>
                      <a:pt x="687" y="525"/>
                    </a:lnTo>
                    <a:lnTo>
                      <a:pt x="684" y="523"/>
                    </a:lnTo>
                    <a:lnTo>
                      <a:pt x="671" y="523"/>
                    </a:lnTo>
                    <a:lnTo>
                      <a:pt x="670" y="520"/>
                    </a:lnTo>
                    <a:lnTo>
                      <a:pt x="670" y="512"/>
                    </a:lnTo>
                    <a:lnTo>
                      <a:pt x="666" y="507"/>
                    </a:lnTo>
                    <a:lnTo>
                      <a:pt x="664" y="520"/>
                    </a:lnTo>
                    <a:lnTo>
                      <a:pt x="661" y="522"/>
                    </a:lnTo>
                    <a:lnTo>
                      <a:pt x="644" y="517"/>
                    </a:lnTo>
                    <a:lnTo>
                      <a:pt x="649" y="520"/>
                    </a:lnTo>
                    <a:lnTo>
                      <a:pt x="653" y="525"/>
                    </a:lnTo>
                    <a:lnTo>
                      <a:pt x="657" y="525"/>
                    </a:lnTo>
                    <a:lnTo>
                      <a:pt x="660" y="527"/>
                    </a:lnTo>
                    <a:lnTo>
                      <a:pt x="662" y="533"/>
                    </a:lnTo>
                    <a:lnTo>
                      <a:pt x="664" y="538"/>
                    </a:lnTo>
                    <a:lnTo>
                      <a:pt x="667" y="543"/>
                    </a:lnTo>
                    <a:lnTo>
                      <a:pt x="670" y="540"/>
                    </a:lnTo>
                    <a:lnTo>
                      <a:pt x="670" y="533"/>
                    </a:lnTo>
                    <a:lnTo>
                      <a:pt x="680" y="535"/>
                    </a:lnTo>
                    <a:lnTo>
                      <a:pt x="684" y="539"/>
                    </a:lnTo>
                    <a:lnTo>
                      <a:pt x="689" y="539"/>
                    </a:lnTo>
                    <a:lnTo>
                      <a:pt x="686" y="551"/>
                    </a:lnTo>
                    <a:lnTo>
                      <a:pt x="688" y="552"/>
                    </a:lnTo>
                    <a:lnTo>
                      <a:pt x="694" y="550"/>
                    </a:lnTo>
                    <a:lnTo>
                      <a:pt x="697" y="551"/>
                    </a:lnTo>
                    <a:lnTo>
                      <a:pt x="694" y="560"/>
                    </a:lnTo>
                    <a:lnTo>
                      <a:pt x="708" y="559"/>
                    </a:lnTo>
                    <a:lnTo>
                      <a:pt x="714" y="567"/>
                    </a:lnTo>
                    <a:lnTo>
                      <a:pt x="714" y="578"/>
                    </a:lnTo>
                    <a:lnTo>
                      <a:pt x="716" y="588"/>
                    </a:lnTo>
                    <a:lnTo>
                      <a:pt x="720" y="583"/>
                    </a:lnTo>
                    <a:lnTo>
                      <a:pt x="737" y="588"/>
                    </a:lnTo>
                    <a:lnTo>
                      <a:pt x="738" y="582"/>
                    </a:lnTo>
                    <a:lnTo>
                      <a:pt x="750" y="590"/>
                    </a:lnTo>
                    <a:lnTo>
                      <a:pt x="762" y="577"/>
                    </a:lnTo>
                    <a:lnTo>
                      <a:pt x="766" y="577"/>
                    </a:lnTo>
                    <a:lnTo>
                      <a:pt x="768" y="582"/>
                    </a:lnTo>
                    <a:lnTo>
                      <a:pt x="775" y="578"/>
                    </a:lnTo>
                    <a:lnTo>
                      <a:pt x="789" y="575"/>
                    </a:lnTo>
                    <a:lnTo>
                      <a:pt x="800" y="576"/>
                    </a:lnTo>
                    <a:lnTo>
                      <a:pt x="799" y="584"/>
                    </a:lnTo>
                    <a:lnTo>
                      <a:pt x="795" y="588"/>
                    </a:lnTo>
                    <a:lnTo>
                      <a:pt x="794" y="597"/>
                    </a:lnTo>
                    <a:lnTo>
                      <a:pt x="794" y="608"/>
                    </a:lnTo>
                    <a:lnTo>
                      <a:pt x="775" y="608"/>
                    </a:lnTo>
                    <a:lnTo>
                      <a:pt x="772" y="611"/>
                    </a:lnTo>
                    <a:lnTo>
                      <a:pt x="740" y="602"/>
                    </a:lnTo>
                    <a:lnTo>
                      <a:pt x="723" y="619"/>
                    </a:lnTo>
                    <a:lnTo>
                      <a:pt x="714" y="629"/>
                    </a:lnTo>
                    <a:lnTo>
                      <a:pt x="702" y="626"/>
                    </a:lnTo>
                    <a:lnTo>
                      <a:pt x="687" y="630"/>
                    </a:lnTo>
                    <a:lnTo>
                      <a:pt x="692" y="633"/>
                    </a:lnTo>
                    <a:lnTo>
                      <a:pt x="686" y="635"/>
                    </a:lnTo>
                    <a:lnTo>
                      <a:pt x="681" y="641"/>
                    </a:lnTo>
                    <a:lnTo>
                      <a:pt x="680" y="646"/>
                    </a:lnTo>
                    <a:lnTo>
                      <a:pt x="677" y="649"/>
                    </a:lnTo>
                    <a:lnTo>
                      <a:pt x="670" y="651"/>
                    </a:lnTo>
                    <a:lnTo>
                      <a:pt x="659" y="658"/>
                    </a:lnTo>
                    <a:lnTo>
                      <a:pt x="643" y="657"/>
                    </a:lnTo>
                    <a:lnTo>
                      <a:pt x="639" y="656"/>
                    </a:lnTo>
                    <a:lnTo>
                      <a:pt x="628" y="646"/>
                    </a:lnTo>
                    <a:lnTo>
                      <a:pt x="632" y="638"/>
                    </a:lnTo>
                    <a:lnTo>
                      <a:pt x="632" y="629"/>
                    </a:lnTo>
                    <a:lnTo>
                      <a:pt x="634" y="620"/>
                    </a:lnTo>
                    <a:lnTo>
                      <a:pt x="633" y="610"/>
                    </a:lnTo>
                    <a:lnTo>
                      <a:pt x="628" y="599"/>
                    </a:lnTo>
                    <a:lnTo>
                      <a:pt x="621" y="598"/>
                    </a:lnTo>
                    <a:lnTo>
                      <a:pt x="614" y="598"/>
                    </a:lnTo>
                    <a:lnTo>
                      <a:pt x="607" y="590"/>
                    </a:lnTo>
                    <a:lnTo>
                      <a:pt x="595" y="583"/>
                    </a:lnTo>
                    <a:lnTo>
                      <a:pt x="579" y="583"/>
                    </a:lnTo>
                    <a:lnTo>
                      <a:pt x="579" y="581"/>
                    </a:lnTo>
                    <a:lnTo>
                      <a:pt x="581" y="575"/>
                    </a:lnTo>
                    <a:lnTo>
                      <a:pt x="591" y="570"/>
                    </a:lnTo>
                    <a:lnTo>
                      <a:pt x="605" y="556"/>
                    </a:lnTo>
                    <a:lnTo>
                      <a:pt x="613" y="550"/>
                    </a:lnTo>
                    <a:lnTo>
                      <a:pt x="641" y="541"/>
                    </a:lnTo>
                    <a:lnTo>
                      <a:pt x="645" y="539"/>
                    </a:lnTo>
                    <a:lnTo>
                      <a:pt x="641" y="536"/>
                    </a:lnTo>
                    <a:lnTo>
                      <a:pt x="640" y="529"/>
                    </a:lnTo>
                    <a:lnTo>
                      <a:pt x="634" y="523"/>
                    </a:lnTo>
                    <a:lnTo>
                      <a:pt x="628" y="529"/>
                    </a:lnTo>
                    <a:lnTo>
                      <a:pt x="618" y="524"/>
                    </a:lnTo>
                    <a:lnTo>
                      <a:pt x="618" y="519"/>
                    </a:lnTo>
                    <a:lnTo>
                      <a:pt x="610" y="522"/>
                    </a:lnTo>
                    <a:lnTo>
                      <a:pt x="608" y="525"/>
                    </a:lnTo>
                    <a:lnTo>
                      <a:pt x="601" y="525"/>
                    </a:lnTo>
                    <a:lnTo>
                      <a:pt x="579" y="530"/>
                    </a:lnTo>
                    <a:lnTo>
                      <a:pt x="563" y="524"/>
                    </a:lnTo>
                    <a:lnTo>
                      <a:pt x="557" y="518"/>
                    </a:lnTo>
                    <a:lnTo>
                      <a:pt x="551" y="516"/>
                    </a:lnTo>
                    <a:lnTo>
                      <a:pt x="539" y="517"/>
                    </a:lnTo>
                    <a:lnTo>
                      <a:pt x="538" y="513"/>
                    </a:lnTo>
                    <a:lnTo>
                      <a:pt x="551" y="503"/>
                    </a:lnTo>
                    <a:lnTo>
                      <a:pt x="549" y="501"/>
                    </a:lnTo>
                    <a:lnTo>
                      <a:pt x="533" y="498"/>
                    </a:lnTo>
                    <a:lnTo>
                      <a:pt x="528" y="496"/>
                    </a:lnTo>
                    <a:lnTo>
                      <a:pt x="536" y="492"/>
                    </a:lnTo>
                    <a:lnTo>
                      <a:pt x="560" y="496"/>
                    </a:lnTo>
                    <a:lnTo>
                      <a:pt x="563" y="495"/>
                    </a:lnTo>
                    <a:lnTo>
                      <a:pt x="560" y="491"/>
                    </a:lnTo>
                    <a:lnTo>
                      <a:pt x="554" y="490"/>
                    </a:lnTo>
                    <a:lnTo>
                      <a:pt x="548" y="481"/>
                    </a:lnTo>
                    <a:lnTo>
                      <a:pt x="543" y="471"/>
                    </a:lnTo>
                    <a:lnTo>
                      <a:pt x="541" y="479"/>
                    </a:lnTo>
                    <a:lnTo>
                      <a:pt x="533" y="482"/>
                    </a:lnTo>
                    <a:lnTo>
                      <a:pt x="524" y="485"/>
                    </a:lnTo>
                    <a:lnTo>
                      <a:pt x="526" y="475"/>
                    </a:lnTo>
                    <a:lnTo>
                      <a:pt x="520" y="480"/>
                    </a:lnTo>
                    <a:lnTo>
                      <a:pt x="508" y="486"/>
                    </a:lnTo>
                    <a:lnTo>
                      <a:pt x="492" y="489"/>
                    </a:lnTo>
                    <a:lnTo>
                      <a:pt x="485" y="492"/>
                    </a:lnTo>
                    <a:lnTo>
                      <a:pt x="478" y="495"/>
                    </a:lnTo>
                    <a:lnTo>
                      <a:pt x="477" y="502"/>
                    </a:lnTo>
                    <a:lnTo>
                      <a:pt x="466" y="520"/>
                    </a:lnTo>
                    <a:lnTo>
                      <a:pt x="461" y="519"/>
                    </a:lnTo>
                    <a:lnTo>
                      <a:pt x="457" y="511"/>
                    </a:lnTo>
                    <a:lnTo>
                      <a:pt x="450" y="509"/>
                    </a:lnTo>
                    <a:lnTo>
                      <a:pt x="446" y="504"/>
                    </a:lnTo>
                    <a:lnTo>
                      <a:pt x="449" y="512"/>
                    </a:lnTo>
                    <a:lnTo>
                      <a:pt x="457" y="519"/>
                    </a:lnTo>
                    <a:lnTo>
                      <a:pt x="458" y="530"/>
                    </a:lnTo>
                    <a:lnTo>
                      <a:pt x="453" y="541"/>
                    </a:lnTo>
                    <a:lnTo>
                      <a:pt x="449" y="546"/>
                    </a:lnTo>
                    <a:lnTo>
                      <a:pt x="434" y="547"/>
                    </a:lnTo>
                    <a:lnTo>
                      <a:pt x="431" y="552"/>
                    </a:lnTo>
                    <a:lnTo>
                      <a:pt x="426" y="555"/>
                    </a:lnTo>
                    <a:lnTo>
                      <a:pt x="425" y="562"/>
                    </a:lnTo>
                    <a:lnTo>
                      <a:pt x="420" y="560"/>
                    </a:lnTo>
                    <a:lnTo>
                      <a:pt x="419" y="550"/>
                    </a:lnTo>
                    <a:lnTo>
                      <a:pt x="418" y="546"/>
                    </a:lnTo>
                    <a:lnTo>
                      <a:pt x="418" y="566"/>
                    </a:lnTo>
                    <a:lnTo>
                      <a:pt x="419" y="581"/>
                    </a:lnTo>
                    <a:lnTo>
                      <a:pt x="417" y="582"/>
                    </a:lnTo>
                    <a:lnTo>
                      <a:pt x="411" y="578"/>
                    </a:lnTo>
                    <a:lnTo>
                      <a:pt x="402" y="578"/>
                    </a:lnTo>
                    <a:lnTo>
                      <a:pt x="393" y="582"/>
                    </a:lnTo>
                    <a:lnTo>
                      <a:pt x="379" y="584"/>
                    </a:lnTo>
                    <a:lnTo>
                      <a:pt x="368" y="592"/>
                    </a:lnTo>
                    <a:lnTo>
                      <a:pt x="356" y="593"/>
                    </a:lnTo>
                    <a:lnTo>
                      <a:pt x="344" y="576"/>
                    </a:lnTo>
                    <a:lnTo>
                      <a:pt x="336" y="577"/>
                    </a:lnTo>
                    <a:lnTo>
                      <a:pt x="336" y="573"/>
                    </a:lnTo>
                    <a:lnTo>
                      <a:pt x="345" y="573"/>
                    </a:lnTo>
                    <a:lnTo>
                      <a:pt x="350" y="567"/>
                    </a:lnTo>
                    <a:lnTo>
                      <a:pt x="352" y="560"/>
                    </a:lnTo>
                    <a:lnTo>
                      <a:pt x="354" y="552"/>
                    </a:lnTo>
                    <a:lnTo>
                      <a:pt x="363" y="547"/>
                    </a:lnTo>
                    <a:lnTo>
                      <a:pt x="364" y="539"/>
                    </a:lnTo>
                    <a:lnTo>
                      <a:pt x="369" y="534"/>
                    </a:lnTo>
                    <a:lnTo>
                      <a:pt x="376" y="530"/>
                    </a:lnTo>
                    <a:lnTo>
                      <a:pt x="379" y="506"/>
                    </a:lnTo>
                    <a:lnTo>
                      <a:pt x="382" y="498"/>
                    </a:lnTo>
                    <a:lnTo>
                      <a:pt x="391" y="495"/>
                    </a:lnTo>
                    <a:lnTo>
                      <a:pt x="395" y="501"/>
                    </a:lnTo>
                    <a:lnTo>
                      <a:pt x="402" y="497"/>
                    </a:lnTo>
                    <a:lnTo>
                      <a:pt x="425" y="503"/>
                    </a:lnTo>
                    <a:lnTo>
                      <a:pt x="431" y="498"/>
                    </a:lnTo>
                    <a:lnTo>
                      <a:pt x="435" y="491"/>
                    </a:lnTo>
                    <a:lnTo>
                      <a:pt x="431" y="484"/>
                    </a:lnTo>
                    <a:lnTo>
                      <a:pt x="434" y="476"/>
                    </a:lnTo>
                    <a:lnTo>
                      <a:pt x="433" y="468"/>
                    </a:lnTo>
                    <a:lnTo>
                      <a:pt x="428" y="460"/>
                    </a:lnTo>
                    <a:lnTo>
                      <a:pt x="413" y="453"/>
                    </a:lnTo>
                    <a:lnTo>
                      <a:pt x="407" y="439"/>
                    </a:lnTo>
                    <a:lnTo>
                      <a:pt x="408" y="431"/>
                    </a:lnTo>
                    <a:lnTo>
                      <a:pt x="406" y="423"/>
                    </a:lnTo>
                    <a:lnTo>
                      <a:pt x="398" y="422"/>
                    </a:lnTo>
                    <a:lnTo>
                      <a:pt x="395" y="415"/>
                    </a:lnTo>
                    <a:lnTo>
                      <a:pt x="387" y="409"/>
                    </a:lnTo>
                    <a:lnTo>
                      <a:pt x="391" y="393"/>
                    </a:lnTo>
                    <a:lnTo>
                      <a:pt x="391" y="385"/>
                    </a:lnTo>
                    <a:lnTo>
                      <a:pt x="391" y="377"/>
                    </a:lnTo>
                    <a:lnTo>
                      <a:pt x="387" y="369"/>
                    </a:lnTo>
                    <a:lnTo>
                      <a:pt x="379" y="372"/>
                    </a:lnTo>
                    <a:lnTo>
                      <a:pt x="368" y="360"/>
                    </a:lnTo>
                    <a:lnTo>
                      <a:pt x="359" y="358"/>
                    </a:lnTo>
                    <a:lnTo>
                      <a:pt x="343" y="361"/>
                    </a:lnTo>
                    <a:lnTo>
                      <a:pt x="336" y="358"/>
                    </a:lnTo>
                    <a:lnTo>
                      <a:pt x="317" y="342"/>
                    </a:lnTo>
                    <a:lnTo>
                      <a:pt x="310" y="339"/>
                    </a:lnTo>
                    <a:lnTo>
                      <a:pt x="294" y="334"/>
                    </a:lnTo>
                    <a:lnTo>
                      <a:pt x="278" y="339"/>
                    </a:lnTo>
                    <a:lnTo>
                      <a:pt x="269" y="340"/>
                    </a:lnTo>
                    <a:lnTo>
                      <a:pt x="261" y="339"/>
                    </a:lnTo>
                    <a:lnTo>
                      <a:pt x="254" y="342"/>
                    </a:lnTo>
                    <a:lnTo>
                      <a:pt x="248" y="35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0" name="Moldova"/>
              <p:cNvSpPr>
                <a:spLocks noChangeAspect="1"/>
              </p:cNvSpPr>
              <p:nvPr>
                <p:custDataLst>
                  <p:tags r:id="rId233"/>
                </p:custDataLst>
              </p:nvPr>
            </p:nvSpPr>
            <p:spPr bwMode="gray">
              <a:xfrm>
                <a:off x="5118412" y="3213663"/>
                <a:ext cx="88943" cy="112349"/>
              </a:xfrm>
              <a:custGeom>
                <a:avLst/>
                <a:gdLst/>
                <a:ahLst/>
                <a:cxnLst>
                  <a:cxn ang="0">
                    <a:pos x="88" y="239"/>
                  </a:cxn>
                  <a:cxn ang="0">
                    <a:pos x="88" y="225"/>
                  </a:cxn>
                  <a:cxn ang="0">
                    <a:pos x="86" y="212"/>
                  </a:cxn>
                  <a:cxn ang="0">
                    <a:pos x="84" y="200"/>
                  </a:cxn>
                  <a:cxn ang="0">
                    <a:pos x="86" y="184"/>
                  </a:cxn>
                  <a:cxn ang="0">
                    <a:pos x="86" y="164"/>
                  </a:cxn>
                  <a:cxn ang="0">
                    <a:pos x="81" y="135"/>
                  </a:cxn>
                  <a:cxn ang="0">
                    <a:pos x="70" y="115"/>
                  </a:cxn>
                  <a:cxn ang="0">
                    <a:pos x="57" y="94"/>
                  </a:cxn>
                  <a:cxn ang="0">
                    <a:pos x="45" y="73"/>
                  </a:cxn>
                  <a:cxn ang="0">
                    <a:pos x="42" y="56"/>
                  </a:cxn>
                  <a:cxn ang="0">
                    <a:pos x="34" y="43"/>
                  </a:cxn>
                  <a:cxn ang="0">
                    <a:pos x="20" y="29"/>
                  </a:cxn>
                  <a:cxn ang="0">
                    <a:pos x="8" y="19"/>
                  </a:cxn>
                  <a:cxn ang="0">
                    <a:pos x="0" y="19"/>
                  </a:cxn>
                  <a:cxn ang="0">
                    <a:pos x="6" y="8"/>
                  </a:cxn>
                  <a:cxn ang="0">
                    <a:pos x="13" y="3"/>
                  </a:cxn>
                  <a:cxn ang="0">
                    <a:pos x="21" y="6"/>
                  </a:cxn>
                  <a:cxn ang="0">
                    <a:pos x="30" y="5"/>
                  </a:cxn>
                  <a:cxn ang="0">
                    <a:pos x="46" y="0"/>
                  </a:cxn>
                  <a:cxn ang="0">
                    <a:pos x="62" y="5"/>
                  </a:cxn>
                  <a:cxn ang="0">
                    <a:pos x="69" y="8"/>
                  </a:cxn>
                  <a:cxn ang="0">
                    <a:pos x="88" y="24"/>
                  </a:cxn>
                  <a:cxn ang="0">
                    <a:pos x="95" y="27"/>
                  </a:cxn>
                  <a:cxn ang="0">
                    <a:pos x="111" y="24"/>
                  </a:cxn>
                  <a:cxn ang="0">
                    <a:pos x="120" y="26"/>
                  </a:cxn>
                  <a:cxn ang="0">
                    <a:pos x="131" y="38"/>
                  </a:cxn>
                  <a:cxn ang="0">
                    <a:pos x="139" y="35"/>
                  </a:cxn>
                  <a:cxn ang="0">
                    <a:pos x="143" y="43"/>
                  </a:cxn>
                  <a:cxn ang="0">
                    <a:pos x="143" y="51"/>
                  </a:cxn>
                  <a:cxn ang="0">
                    <a:pos x="143" y="59"/>
                  </a:cxn>
                  <a:cxn ang="0">
                    <a:pos x="139" y="75"/>
                  </a:cxn>
                  <a:cxn ang="0">
                    <a:pos x="147" y="81"/>
                  </a:cxn>
                  <a:cxn ang="0">
                    <a:pos x="150" y="87"/>
                  </a:cxn>
                  <a:cxn ang="0">
                    <a:pos x="158" y="89"/>
                  </a:cxn>
                  <a:cxn ang="0">
                    <a:pos x="160" y="97"/>
                  </a:cxn>
                  <a:cxn ang="0">
                    <a:pos x="159" y="104"/>
                  </a:cxn>
                  <a:cxn ang="0">
                    <a:pos x="165" y="119"/>
                  </a:cxn>
                  <a:cxn ang="0">
                    <a:pos x="180" y="126"/>
                  </a:cxn>
                  <a:cxn ang="0">
                    <a:pos x="185" y="134"/>
                  </a:cxn>
                  <a:cxn ang="0">
                    <a:pos x="186" y="141"/>
                  </a:cxn>
                  <a:cxn ang="0">
                    <a:pos x="183" y="150"/>
                  </a:cxn>
                  <a:cxn ang="0">
                    <a:pos x="187" y="157"/>
                  </a:cxn>
                  <a:cxn ang="0">
                    <a:pos x="183" y="164"/>
                  </a:cxn>
                  <a:cxn ang="0">
                    <a:pos x="177" y="169"/>
                  </a:cxn>
                  <a:cxn ang="0">
                    <a:pos x="154" y="163"/>
                  </a:cxn>
                  <a:cxn ang="0">
                    <a:pos x="147" y="167"/>
                  </a:cxn>
                  <a:cxn ang="0">
                    <a:pos x="143" y="161"/>
                  </a:cxn>
                  <a:cxn ang="0">
                    <a:pos x="134" y="164"/>
                  </a:cxn>
                  <a:cxn ang="0">
                    <a:pos x="131" y="172"/>
                  </a:cxn>
                  <a:cxn ang="0">
                    <a:pos x="128" y="196"/>
                  </a:cxn>
                  <a:cxn ang="0">
                    <a:pos x="121" y="200"/>
                  </a:cxn>
                  <a:cxn ang="0">
                    <a:pos x="116" y="205"/>
                  </a:cxn>
                  <a:cxn ang="0">
                    <a:pos x="115" y="213"/>
                  </a:cxn>
                  <a:cxn ang="0">
                    <a:pos x="107" y="218"/>
                  </a:cxn>
                  <a:cxn ang="0">
                    <a:pos x="104" y="226"/>
                  </a:cxn>
                  <a:cxn ang="0">
                    <a:pos x="104" y="233"/>
                  </a:cxn>
                  <a:cxn ang="0">
                    <a:pos x="97" y="239"/>
                  </a:cxn>
                  <a:cxn ang="0">
                    <a:pos x="88" y="239"/>
                  </a:cxn>
                </a:cxnLst>
                <a:rect l="0" t="0" r="r" b="b"/>
                <a:pathLst>
                  <a:path w="187" h="239">
                    <a:moveTo>
                      <a:pt x="88" y="239"/>
                    </a:moveTo>
                    <a:lnTo>
                      <a:pt x="88" y="225"/>
                    </a:lnTo>
                    <a:lnTo>
                      <a:pt x="86" y="212"/>
                    </a:lnTo>
                    <a:lnTo>
                      <a:pt x="84" y="200"/>
                    </a:lnTo>
                    <a:lnTo>
                      <a:pt x="86" y="184"/>
                    </a:lnTo>
                    <a:lnTo>
                      <a:pt x="86" y="164"/>
                    </a:lnTo>
                    <a:lnTo>
                      <a:pt x="81" y="135"/>
                    </a:lnTo>
                    <a:lnTo>
                      <a:pt x="70" y="115"/>
                    </a:lnTo>
                    <a:lnTo>
                      <a:pt x="57" y="94"/>
                    </a:lnTo>
                    <a:lnTo>
                      <a:pt x="45" y="73"/>
                    </a:lnTo>
                    <a:lnTo>
                      <a:pt x="42" y="56"/>
                    </a:lnTo>
                    <a:lnTo>
                      <a:pt x="34" y="43"/>
                    </a:lnTo>
                    <a:lnTo>
                      <a:pt x="20" y="29"/>
                    </a:lnTo>
                    <a:lnTo>
                      <a:pt x="8" y="19"/>
                    </a:lnTo>
                    <a:lnTo>
                      <a:pt x="0" y="19"/>
                    </a:lnTo>
                    <a:lnTo>
                      <a:pt x="6" y="8"/>
                    </a:lnTo>
                    <a:lnTo>
                      <a:pt x="13" y="3"/>
                    </a:lnTo>
                    <a:lnTo>
                      <a:pt x="21" y="6"/>
                    </a:lnTo>
                    <a:lnTo>
                      <a:pt x="30" y="5"/>
                    </a:lnTo>
                    <a:lnTo>
                      <a:pt x="46" y="0"/>
                    </a:lnTo>
                    <a:lnTo>
                      <a:pt x="62" y="5"/>
                    </a:lnTo>
                    <a:lnTo>
                      <a:pt x="69" y="8"/>
                    </a:lnTo>
                    <a:lnTo>
                      <a:pt x="88" y="24"/>
                    </a:lnTo>
                    <a:lnTo>
                      <a:pt x="95" y="27"/>
                    </a:lnTo>
                    <a:lnTo>
                      <a:pt x="111" y="24"/>
                    </a:lnTo>
                    <a:lnTo>
                      <a:pt x="120" y="26"/>
                    </a:lnTo>
                    <a:lnTo>
                      <a:pt x="131" y="38"/>
                    </a:lnTo>
                    <a:lnTo>
                      <a:pt x="139" y="35"/>
                    </a:lnTo>
                    <a:lnTo>
                      <a:pt x="143" y="43"/>
                    </a:lnTo>
                    <a:lnTo>
                      <a:pt x="143" y="51"/>
                    </a:lnTo>
                    <a:lnTo>
                      <a:pt x="143" y="59"/>
                    </a:lnTo>
                    <a:lnTo>
                      <a:pt x="139" y="75"/>
                    </a:lnTo>
                    <a:lnTo>
                      <a:pt x="147" y="81"/>
                    </a:lnTo>
                    <a:lnTo>
                      <a:pt x="150" y="87"/>
                    </a:lnTo>
                    <a:lnTo>
                      <a:pt x="158" y="89"/>
                    </a:lnTo>
                    <a:lnTo>
                      <a:pt x="160" y="97"/>
                    </a:lnTo>
                    <a:lnTo>
                      <a:pt x="159" y="104"/>
                    </a:lnTo>
                    <a:lnTo>
                      <a:pt x="165" y="119"/>
                    </a:lnTo>
                    <a:lnTo>
                      <a:pt x="180" y="126"/>
                    </a:lnTo>
                    <a:lnTo>
                      <a:pt x="185" y="134"/>
                    </a:lnTo>
                    <a:lnTo>
                      <a:pt x="186" y="141"/>
                    </a:lnTo>
                    <a:lnTo>
                      <a:pt x="183" y="150"/>
                    </a:lnTo>
                    <a:lnTo>
                      <a:pt x="187" y="157"/>
                    </a:lnTo>
                    <a:lnTo>
                      <a:pt x="183" y="164"/>
                    </a:lnTo>
                    <a:lnTo>
                      <a:pt x="177" y="169"/>
                    </a:lnTo>
                    <a:lnTo>
                      <a:pt x="154" y="163"/>
                    </a:lnTo>
                    <a:lnTo>
                      <a:pt x="147" y="167"/>
                    </a:lnTo>
                    <a:lnTo>
                      <a:pt x="143" y="161"/>
                    </a:lnTo>
                    <a:lnTo>
                      <a:pt x="134" y="164"/>
                    </a:lnTo>
                    <a:lnTo>
                      <a:pt x="131" y="172"/>
                    </a:lnTo>
                    <a:lnTo>
                      <a:pt x="128" y="196"/>
                    </a:lnTo>
                    <a:lnTo>
                      <a:pt x="121" y="200"/>
                    </a:lnTo>
                    <a:lnTo>
                      <a:pt x="116" y="205"/>
                    </a:lnTo>
                    <a:lnTo>
                      <a:pt x="115" y="213"/>
                    </a:lnTo>
                    <a:lnTo>
                      <a:pt x="107" y="218"/>
                    </a:lnTo>
                    <a:lnTo>
                      <a:pt x="104" y="226"/>
                    </a:lnTo>
                    <a:lnTo>
                      <a:pt x="104" y="233"/>
                    </a:lnTo>
                    <a:lnTo>
                      <a:pt x="97" y="239"/>
                    </a:lnTo>
                    <a:lnTo>
                      <a:pt x="88" y="23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1" name="Belarus"/>
              <p:cNvSpPr>
                <a:spLocks noChangeAspect="1"/>
              </p:cNvSpPr>
              <p:nvPr>
                <p:custDataLst>
                  <p:tags r:id="rId234"/>
                </p:custDataLst>
              </p:nvPr>
            </p:nvSpPr>
            <p:spPr bwMode="gray">
              <a:xfrm>
                <a:off x="5029469" y="2890660"/>
                <a:ext cx="250444" cy="210654"/>
              </a:xfrm>
              <a:custGeom>
                <a:avLst/>
                <a:gdLst/>
                <a:ahLst/>
                <a:cxnLst>
                  <a:cxn ang="0">
                    <a:pos x="6" y="374"/>
                  </a:cxn>
                  <a:cxn ang="0">
                    <a:pos x="26" y="342"/>
                  </a:cxn>
                  <a:cxn ang="0">
                    <a:pos x="38" y="292"/>
                  </a:cxn>
                  <a:cxn ang="0">
                    <a:pos x="33" y="214"/>
                  </a:cxn>
                  <a:cxn ang="0">
                    <a:pos x="73" y="210"/>
                  </a:cxn>
                  <a:cxn ang="0">
                    <a:pos x="94" y="207"/>
                  </a:cxn>
                  <a:cxn ang="0">
                    <a:pos x="106" y="190"/>
                  </a:cxn>
                  <a:cxn ang="0">
                    <a:pos x="125" y="182"/>
                  </a:cxn>
                  <a:cxn ang="0">
                    <a:pos x="145" y="190"/>
                  </a:cxn>
                  <a:cxn ang="0">
                    <a:pos x="135" y="167"/>
                  </a:cxn>
                  <a:cxn ang="0">
                    <a:pos x="145" y="138"/>
                  </a:cxn>
                  <a:cxn ang="0">
                    <a:pos x="149" y="113"/>
                  </a:cxn>
                  <a:cxn ang="0">
                    <a:pos x="170" y="102"/>
                  </a:cxn>
                  <a:cxn ang="0">
                    <a:pos x="199" y="80"/>
                  </a:cxn>
                  <a:cxn ang="0">
                    <a:pos x="183" y="69"/>
                  </a:cxn>
                  <a:cxn ang="0">
                    <a:pos x="197" y="51"/>
                  </a:cxn>
                  <a:cxn ang="0">
                    <a:pos x="204" y="50"/>
                  </a:cxn>
                  <a:cxn ang="0">
                    <a:pos x="219" y="32"/>
                  </a:cxn>
                  <a:cxn ang="0">
                    <a:pos x="253" y="25"/>
                  </a:cxn>
                  <a:cxn ang="0">
                    <a:pos x="273" y="0"/>
                  </a:cxn>
                  <a:cxn ang="0">
                    <a:pos x="302" y="5"/>
                  </a:cxn>
                  <a:cxn ang="0">
                    <a:pos x="329" y="13"/>
                  </a:cxn>
                  <a:cxn ang="0">
                    <a:pos x="348" y="43"/>
                  </a:cxn>
                  <a:cxn ang="0">
                    <a:pos x="376" y="29"/>
                  </a:cxn>
                  <a:cxn ang="0">
                    <a:pos x="407" y="34"/>
                  </a:cxn>
                  <a:cxn ang="0">
                    <a:pos x="430" y="53"/>
                  </a:cxn>
                  <a:cxn ang="0">
                    <a:pos x="429" y="80"/>
                  </a:cxn>
                  <a:cxn ang="0">
                    <a:pos x="435" y="102"/>
                  </a:cxn>
                  <a:cxn ang="0">
                    <a:pos x="424" y="123"/>
                  </a:cxn>
                  <a:cxn ang="0">
                    <a:pos x="442" y="158"/>
                  </a:cxn>
                  <a:cxn ang="0">
                    <a:pos x="473" y="195"/>
                  </a:cxn>
                  <a:cxn ang="0">
                    <a:pos x="478" y="217"/>
                  </a:cxn>
                  <a:cxn ang="0">
                    <a:pos x="511" y="226"/>
                  </a:cxn>
                  <a:cxn ang="0">
                    <a:pos x="521" y="242"/>
                  </a:cxn>
                  <a:cxn ang="0">
                    <a:pos x="525" y="263"/>
                  </a:cxn>
                  <a:cxn ang="0">
                    <a:pos x="501" y="284"/>
                  </a:cxn>
                  <a:cxn ang="0">
                    <a:pos x="465" y="271"/>
                  </a:cxn>
                  <a:cxn ang="0">
                    <a:pos x="449" y="285"/>
                  </a:cxn>
                  <a:cxn ang="0">
                    <a:pos x="463" y="311"/>
                  </a:cxn>
                  <a:cxn ang="0">
                    <a:pos x="465" y="333"/>
                  </a:cxn>
                  <a:cxn ang="0">
                    <a:pos x="473" y="353"/>
                  </a:cxn>
                  <a:cxn ang="0">
                    <a:pos x="451" y="380"/>
                  </a:cxn>
                  <a:cxn ang="0">
                    <a:pos x="417" y="401"/>
                  </a:cxn>
                  <a:cxn ang="0">
                    <a:pos x="412" y="427"/>
                  </a:cxn>
                  <a:cxn ang="0">
                    <a:pos x="402" y="452"/>
                  </a:cxn>
                  <a:cxn ang="0">
                    <a:pos x="381" y="443"/>
                  </a:cxn>
                  <a:cxn ang="0">
                    <a:pos x="349" y="450"/>
                  </a:cxn>
                  <a:cxn ang="0">
                    <a:pos x="327" y="427"/>
                  </a:cxn>
                  <a:cxn ang="0">
                    <a:pos x="297" y="433"/>
                  </a:cxn>
                  <a:cxn ang="0">
                    <a:pos x="275" y="428"/>
                  </a:cxn>
                  <a:cxn ang="0">
                    <a:pos x="253" y="436"/>
                  </a:cxn>
                  <a:cxn ang="0">
                    <a:pos x="238" y="428"/>
                  </a:cxn>
                  <a:cxn ang="0">
                    <a:pos x="215" y="416"/>
                  </a:cxn>
                  <a:cxn ang="0">
                    <a:pos x="193" y="406"/>
                  </a:cxn>
                  <a:cxn ang="0">
                    <a:pos x="160" y="401"/>
                  </a:cxn>
                  <a:cxn ang="0">
                    <a:pos x="121" y="394"/>
                  </a:cxn>
                  <a:cxn ang="0">
                    <a:pos x="64" y="401"/>
                  </a:cxn>
                  <a:cxn ang="0">
                    <a:pos x="41" y="422"/>
                  </a:cxn>
                  <a:cxn ang="0">
                    <a:pos x="17" y="428"/>
                  </a:cxn>
                </a:cxnLst>
                <a:rect l="0" t="0" r="r" b="b"/>
                <a:pathLst>
                  <a:path w="532" h="452">
                    <a:moveTo>
                      <a:pt x="17" y="428"/>
                    </a:moveTo>
                    <a:lnTo>
                      <a:pt x="21" y="387"/>
                    </a:lnTo>
                    <a:lnTo>
                      <a:pt x="6" y="374"/>
                    </a:lnTo>
                    <a:lnTo>
                      <a:pt x="0" y="363"/>
                    </a:lnTo>
                    <a:lnTo>
                      <a:pt x="11" y="351"/>
                    </a:lnTo>
                    <a:lnTo>
                      <a:pt x="26" y="342"/>
                    </a:lnTo>
                    <a:lnTo>
                      <a:pt x="37" y="325"/>
                    </a:lnTo>
                    <a:lnTo>
                      <a:pt x="38" y="308"/>
                    </a:lnTo>
                    <a:lnTo>
                      <a:pt x="38" y="292"/>
                    </a:lnTo>
                    <a:lnTo>
                      <a:pt x="20" y="220"/>
                    </a:lnTo>
                    <a:lnTo>
                      <a:pt x="19" y="210"/>
                    </a:lnTo>
                    <a:lnTo>
                      <a:pt x="33" y="214"/>
                    </a:lnTo>
                    <a:lnTo>
                      <a:pt x="49" y="210"/>
                    </a:lnTo>
                    <a:lnTo>
                      <a:pt x="65" y="213"/>
                    </a:lnTo>
                    <a:lnTo>
                      <a:pt x="73" y="210"/>
                    </a:lnTo>
                    <a:lnTo>
                      <a:pt x="79" y="204"/>
                    </a:lnTo>
                    <a:lnTo>
                      <a:pt x="86" y="208"/>
                    </a:lnTo>
                    <a:lnTo>
                      <a:pt x="94" y="207"/>
                    </a:lnTo>
                    <a:lnTo>
                      <a:pt x="91" y="193"/>
                    </a:lnTo>
                    <a:lnTo>
                      <a:pt x="97" y="190"/>
                    </a:lnTo>
                    <a:lnTo>
                      <a:pt x="106" y="190"/>
                    </a:lnTo>
                    <a:lnTo>
                      <a:pt x="111" y="183"/>
                    </a:lnTo>
                    <a:lnTo>
                      <a:pt x="118" y="179"/>
                    </a:lnTo>
                    <a:lnTo>
                      <a:pt x="125" y="182"/>
                    </a:lnTo>
                    <a:lnTo>
                      <a:pt x="130" y="188"/>
                    </a:lnTo>
                    <a:lnTo>
                      <a:pt x="138" y="192"/>
                    </a:lnTo>
                    <a:lnTo>
                      <a:pt x="145" y="190"/>
                    </a:lnTo>
                    <a:lnTo>
                      <a:pt x="144" y="181"/>
                    </a:lnTo>
                    <a:lnTo>
                      <a:pt x="139" y="175"/>
                    </a:lnTo>
                    <a:lnTo>
                      <a:pt x="135" y="167"/>
                    </a:lnTo>
                    <a:lnTo>
                      <a:pt x="137" y="160"/>
                    </a:lnTo>
                    <a:lnTo>
                      <a:pt x="145" y="147"/>
                    </a:lnTo>
                    <a:lnTo>
                      <a:pt x="145" y="138"/>
                    </a:lnTo>
                    <a:lnTo>
                      <a:pt x="148" y="129"/>
                    </a:lnTo>
                    <a:lnTo>
                      <a:pt x="148" y="122"/>
                    </a:lnTo>
                    <a:lnTo>
                      <a:pt x="149" y="113"/>
                    </a:lnTo>
                    <a:lnTo>
                      <a:pt x="156" y="110"/>
                    </a:lnTo>
                    <a:lnTo>
                      <a:pt x="165" y="107"/>
                    </a:lnTo>
                    <a:lnTo>
                      <a:pt x="170" y="102"/>
                    </a:lnTo>
                    <a:lnTo>
                      <a:pt x="177" y="99"/>
                    </a:lnTo>
                    <a:lnTo>
                      <a:pt x="191" y="99"/>
                    </a:lnTo>
                    <a:lnTo>
                      <a:pt x="199" y="80"/>
                    </a:lnTo>
                    <a:lnTo>
                      <a:pt x="192" y="77"/>
                    </a:lnTo>
                    <a:lnTo>
                      <a:pt x="183" y="77"/>
                    </a:lnTo>
                    <a:lnTo>
                      <a:pt x="183" y="69"/>
                    </a:lnTo>
                    <a:lnTo>
                      <a:pt x="183" y="61"/>
                    </a:lnTo>
                    <a:lnTo>
                      <a:pt x="191" y="57"/>
                    </a:lnTo>
                    <a:lnTo>
                      <a:pt x="197" y="51"/>
                    </a:lnTo>
                    <a:lnTo>
                      <a:pt x="195" y="50"/>
                    </a:lnTo>
                    <a:lnTo>
                      <a:pt x="195" y="48"/>
                    </a:lnTo>
                    <a:lnTo>
                      <a:pt x="204" y="50"/>
                    </a:lnTo>
                    <a:lnTo>
                      <a:pt x="210" y="46"/>
                    </a:lnTo>
                    <a:lnTo>
                      <a:pt x="213" y="37"/>
                    </a:lnTo>
                    <a:lnTo>
                      <a:pt x="219" y="32"/>
                    </a:lnTo>
                    <a:lnTo>
                      <a:pt x="235" y="39"/>
                    </a:lnTo>
                    <a:lnTo>
                      <a:pt x="242" y="37"/>
                    </a:lnTo>
                    <a:lnTo>
                      <a:pt x="253" y="25"/>
                    </a:lnTo>
                    <a:lnTo>
                      <a:pt x="254" y="16"/>
                    </a:lnTo>
                    <a:lnTo>
                      <a:pt x="267" y="5"/>
                    </a:lnTo>
                    <a:lnTo>
                      <a:pt x="273" y="0"/>
                    </a:lnTo>
                    <a:lnTo>
                      <a:pt x="284" y="0"/>
                    </a:lnTo>
                    <a:lnTo>
                      <a:pt x="286" y="8"/>
                    </a:lnTo>
                    <a:lnTo>
                      <a:pt x="302" y="5"/>
                    </a:lnTo>
                    <a:lnTo>
                      <a:pt x="310" y="8"/>
                    </a:lnTo>
                    <a:lnTo>
                      <a:pt x="313" y="15"/>
                    </a:lnTo>
                    <a:lnTo>
                      <a:pt x="329" y="13"/>
                    </a:lnTo>
                    <a:lnTo>
                      <a:pt x="338" y="14"/>
                    </a:lnTo>
                    <a:lnTo>
                      <a:pt x="350" y="24"/>
                    </a:lnTo>
                    <a:lnTo>
                      <a:pt x="348" y="43"/>
                    </a:lnTo>
                    <a:lnTo>
                      <a:pt x="363" y="35"/>
                    </a:lnTo>
                    <a:lnTo>
                      <a:pt x="370" y="34"/>
                    </a:lnTo>
                    <a:lnTo>
                      <a:pt x="376" y="29"/>
                    </a:lnTo>
                    <a:lnTo>
                      <a:pt x="392" y="27"/>
                    </a:lnTo>
                    <a:lnTo>
                      <a:pt x="399" y="29"/>
                    </a:lnTo>
                    <a:lnTo>
                      <a:pt x="407" y="34"/>
                    </a:lnTo>
                    <a:lnTo>
                      <a:pt x="413" y="39"/>
                    </a:lnTo>
                    <a:lnTo>
                      <a:pt x="422" y="52"/>
                    </a:lnTo>
                    <a:lnTo>
                      <a:pt x="430" y="53"/>
                    </a:lnTo>
                    <a:lnTo>
                      <a:pt x="431" y="64"/>
                    </a:lnTo>
                    <a:lnTo>
                      <a:pt x="429" y="73"/>
                    </a:lnTo>
                    <a:lnTo>
                      <a:pt x="429" y="80"/>
                    </a:lnTo>
                    <a:lnTo>
                      <a:pt x="434" y="88"/>
                    </a:lnTo>
                    <a:lnTo>
                      <a:pt x="436" y="95"/>
                    </a:lnTo>
                    <a:lnTo>
                      <a:pt x="435" y="102"/>
                    </a:lnTo>
                    <a:lnTo>
                      <a:pt x="433" y="110"/>
                    </a:lnTo>
                    <a:lnTo>
                      <a:pt x="426" y="116"/>
                    </a:lnTo>
                    <a:lnTo>
                      <a:pt x="424" y="123"/>
                    </a:lnTo>
                    <a:lnTo>
                      <a:pt x="426" y="131"/>
                    </a:lnTo>
                    <a:lnTo>
                      <a:pt x="437" y="143"/>
                    </a:lnTo>
                    <a:lnTo>
                      <a:pt x="442" y="158"/>
                    </a:lnTo>
                    <a:lnTo>
                      <a:pt x="453" y="180"/>
                    </a:lnTo>
                    <a:lnTo>
                      <a:pt x="458" y="186"/>
                    </a:lnTo>
                    <a:lnTo>
                      <a:pt x="473" y="195"/>
                    </a:lnTo>
                    <a:lnTo>
                      <a:pt x="478" y="201"/>
                    </a:lnTo>
                    <a:lnTo>
                      <a:pt x="479" y="209"/>
                    </a:lnTo>
                    <a:lnTo>
                      <a:pt x="478" y="217"/>
                    </a:lnTo>
                    <a:lnTo>
                      <a:pt x="482" y="224"/>
                    </a:lnTo>
                    <a:lnTo>
                      <a:pt x="505" y="222"/>
                    </a:lnTo>
                    <a:lnTo>
                      <a:pt x="511" y="226"/>
                    </a:lnTo>
                    <a:lnTo>
                      <a:pt x="519" y="229"/>
                    </a:lnTo>
                    <a:lnTo>
                      <a:pt x="516" y="236"/>
                    </a:lnTo>
                    <a:lnTo>
                      <a:pt x="521" y="242"/>
                    </a:lnTo>
                    <a:lnTo>
                      <a:pt x="531" y="244"/>
                    </a:lnTo>
                    <a:lnTo>
                      <a:pt x="532" y="257"/>
                    </a:lnTo>
                    <a:lnTo>
                      <a:pt x="525" y="263"/>
                    </a:lnTo>
                    <a:lnTo>
                      <a:pt x="521" y="269"/>
                    </a:lnTo>
                    <a:lnTo>
                      <a:pt x="509" y="279"/>
                    </a:lnTo>
                    <a:lnTo>
                      <a:pt x="501" y="284"/>
                    </a:lnTo>
                    <a:lnTo>
                      <a:pt x="484" y="282"/>
                    </a:lnTo>
                    <a:lnTo>
                      <a:pt x="472" y="272"/>
                    </a:lnTo>
                    <a:lnTo>
                      <a:pt x="465" y="271"/>
                    </a:lnTo>
                    <a:lnTo>
                      <a:pt x="457" y="274"/>
                    </a:lnTo>
                    <a:lnTo>
                      <a:pt x="456" y="282"/>
                    </a:lnTo>
                    <a:lnTo>
                      <a:pt x="449" y="285"/>
                    </a:lnTo>
                    <a:lnTo>
                      <a:pt x="450" y="294"/>
                    </a:lnTo>
                    <a:lnTo>
                      <a:pt x="461" y="304"/>
                    </a:lnTo>
                    <a:lnTo>
                      <a:pt x="463" y="311"/>
                    </a:lnTo>
                    <a:lnTo>
                      <a:pt x="461" y="320"/>
                    </a:lnTo>
                    <a:lnTo>
                      <a:pt x="466" y="325"/>
                    </a:lnTo>
                    <a:lnTo>
                      <a:pt x="465" y="333"/>
                    </a:lnTo>
                    <a:lnTo>
                      <a:pt x="472" y="337"/>
                    </a:lnTo>
                    <a:lnTo>
                      <a:pt x="474" y="344"/>
                    </a:lnTo>
                    <a:lnTo>
                      <a:pt x="473" y="353"/>
                    </a:lnTo>
                    <a:lnTo>
                      <a:pt x="478" y="375"/>
                    </a:lnTo>
                    <a:lnTo>
                      <a:pt x="458" y="375"/>
                    </a:lnTo>
                    <a:lnTo>
                      <a:pt x="451" y="380"/>
                    </a:lnTo>
                    <a:lnTo>
                      <a:pt x="442" y="380"/>
                    </a:lnTo>
                    <a:lnTo>
                      <a:pt x="435" y="384"/>
                    </a:lnTo>
                    <a:lnTo>
                      <a:pt x="417" y="401"/>
                    </a:lnTo>
                    <a:lnTo>
                      <a:pt x="414" y="409"/>
                    </a:lnTo>
                    <a:lnTo>
                      <a:pt x="414" y="418"/>
                    </a:lnTo>
                    <a:lnTo>
                      <a:pt x="412" y="427"/>
                    </a:lnTo>
                    <a:lnTo>
                      <a:pt x="414" y="443"/>
                    </a:lnTo>
                    <a:lnTo>
                      <a:pt x="410" y="450"/>
                    </a:lnTo>
                    <a:lnTo>
                      <a:pt x="402" y="452"/>
                    </a:lnTo>
                    <a:lnTo>
                      <a:pt x="397" y="446"/>
                    </a:lnTo>
                    <a:lnTo>
                      <a:pt x="390" y="443"/>
                    </a:lnTo>
                    <a:lnTo>
                      <a:pt x="381" y="443"/>
                    </a:lnTo>
                    <a:lnTo>
                      <a:pt x="365" y="445"/>
                    </a:lnTo>
                    <a:lnTo>
                      <a:pt x="356" y="445"/>
                    </a:lnTo>
                    <a:lnTo>
                      <a:pt x="349" y="450"/>
                    </a:lnTo>
                    <a:lnTo>
                      <a:pt x="343" y="444"/>
                    </a:lnTo>
                    <a:lnTo>
                      <a:pt x="339" y="436"/>
                    </a:lnTo>
                    <a:lnTo>
                      <a:pt x="327" y="427"/>
                    </a:lnTo>
                    <a:lnTo>
                      <a:pt x="310" y="445"/>
                    </a:lnTo>
                    <a:lnTo>
                      <a:pt x="302" y="440"/>
                    </a:lnTo>
                    <a:lnTo>
                      <a:pt x="297" y="433"/>
                    </a:lnTo>
                    <a:lnTo>
                      <a:pt x="290" y="435"/>
                    </a:lnTo>
                    <a:lnTo>
                      <a:pt x="281" y="433"/>
                    </a:lnTo>
                    <a:lnTo>
                      <a:pt x="275" y="428"/>
                    </a:lnTo>
                    <a:lnTo>
                      <a:pt x="269" y="434"/>
                    </a:lnTo>
                    <a:lnTo>
                      <a:pt x="261" y="434"/>
                    </a:lnTo>
                    <a:lnTo>
                      <a:pt x="253" y="436"/>
                    </a:lnTo>
                    <a:lnTo>
                      <a:pt x="247" y="443"/>
                    </a:lnTo>
                    <a:lnTo>
                      <a:pt x="240" y="436"/>
                    </a:lnTo>
                    <a:lnTo>
                      <a:pt x="238" y="428"/>
                    </a:lnTo>
                    <a:lnTo>
                      <a:pt x="223" y="429"/>
                    </a:lnTo>
                    <a:lnTo>
                      <a:pt x="216" y="424"/>
                    </a:lnTo>
                    <a:lnTo>
                      <a:pt x="215" y="416"/>
                    </a:lnTo>
                    <a:lnTo>
                      <a:pt x="208" y="412"/>
                    </a:lnTo>
                    <a:lnTo>
                      <a:pt x="199" y="409"/>
                    </a:lnTo>
                    <a:lnTo>
                      <a:pt x="193" y="406"/>
                    </a:lnTo>
                    <a:lnTo>
                      <a:pt x="184" y="407"/>
                    </a:lnTo>
                    <a:lnTo>
                      <a:pt x="176" y="406"/>
                    </a:lnTo>
                    <a:lnTo>
                      <a:pt x="160" y="401"/>
                    </a:lnTo>
                    <a:lnTo>
                      <a:pt x="146" y="392"/>
                    </a:lnTo>
                    <a:lnTo>
                      <a:pt x="138" y="395"/>
                    </a:lnTo>
                    <a:lnTo>
                      <a:pt x="121" y="394"/>
                    </a:lnTo>
                    <a:lnTo>
                      <a:pt x="113" y="391"/>
                    </a:lnTo>
                    <a:lnTo>
                      <a:pt x="71" y="397"/>
                    </a:lnTo>
                    <a:lnTo>
                      <a:pt x="64" y="401"/>
                    </a:lnTo>
                    <a:lnTo>
                      <a:pt x="62" y="408"/>
                    </a:lnTo>
                    <a:lnTo>
                      <a:pt x="55" y="414"/>
                    </a:lnTo>
                    <a:lnTo>
                      <a:pt x="41" y="422"/>
                    </a:lnTo>
                    <a:lnTo>
                      <a:pt x="32" y="421"/>
                    </a:lnTo>
                    <a:lnTo>
                      <a:pt x="24" y="422"/>
                    </a:lnTo>
                    <a:lnTo>
                      <a:pt x="17" y="42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52" name="Group 199"/>
              <p:cNvGrpSpPr>
                <a:grpSpLocks noChangeAspect="1"/>
              </p:cNvGrpSpPr>
              <p:nvPr/>
            </p:nvGrpSpPr>
            <p:grpSpPr bwMode="gray">
              <a:xfrm>
                <a:off x="4839873" y="3330694"/>
                <a:ext cx="100646" cy="100646"/>
                <a:chOff x="2688" y="1930"/>
                <a:chExt cx="43" cy="43"/>
              </a:xfrm>
              <a:grpFill/>
            </p:grpSpPr>
            <p:sp>
              <p:nvSpPr>
                <p:cNvPr id="273" name="Bosnia and Herzegovina"/>
                <p:cNvSpPr>
                  <a:spLocks noChangeAspect="1"/>
                </p:cNvSpPr>
                <p:nvPr>
                  <p:custDataLst>
                    <p:tags r:id="rId255"/>
                  </p:custDataLst>
                </p:nvPr>
              </p:nvSpPr>
              <p:spPr bwMode="gray">
                <a:xfrm>
                  <a:off x="2688" y="1930"/>
                  <a:ext cx="43" cy="43"/>
                </a:xfrm>
                <a:custGeom>
                  <a:avLst/>
                  <a:gdLst/>
                  <a:ahLst/>
                  <a:cxnLst>
                    <a:cxn ang="0">
                      <a:pos x="145" y="208"/>
                    </a:cxn>
                    <a:cxn ang="0">
                      <a:pos x="129" y="192"/>
                    </a:cxn>
                    <a:cxn ang="0">
                      <a:pos x="114" y="180"/>
                    </a:cxn>
                    <a:cxn ang="0">
                      <a:pos x="98" y="179"/>
                    </a:cxn>
                    <a:cxn ang="0">
                      <a:pos x="82" y="140"/>
                    </a:cxn>
                    <a:cxn ang="0">
                      <a:pos x="52" y="114"/>
                    </a:cxn>
                    <a:cxn ang="0">
                      <a:pos x="35" y="93"/>
                    </a:cxn>
                    <a:cxn ang="0">
                      <a:pos x="23" y="73"/>
                    </a:cxn>
                    <a:cxn ang="0">
                      <a:pos x="22" y="60"/>
                    </a:cxn>
                    <a:cxn ang="0">
                      <a:pos x="7" y="40"/>
                    </a:cxn>
                    <a:cxn ang="0">
                      <a:pos x="3" y="29"/>
                    </a:cxn>
                    <a:cxn ang="0">
                      <a:pos x="8" y="0"/>
                    </a:cxn>
                    <a:cxn ang="0">
                      <a:pos x="30" y="19"/>
                    </a:cxn>
                    <a:cxn ang="0">
                      <a:pos x="61" y="4"/>
                    </a:cxn>
                    <a:cxn ang="0">
                      <a:pos x="79" y="8"/>
                    </a:cxn>
                    <a:cxn ang="0">
                      <a:pos x="89" y="9"/>
                    </a:cxn>
                    <a:cxn ang="0">
                      <a:pos x="108" y="9"/>
                    </a:cxn>
                    <a:cxn ang="0">
                      <a:pos x="125" y="9"/>
                    </a:cxn>
                    <a:cxn ang="0">
                      <a:pos x="135" y="16"/>
                    </a:cxn>
                    <a:cxn ang="0">
                      <a:pos x="152" y="18"/>
                    </a:cxn>
                    <a:cxn ang="0">
                      <a:pos x="162" y="14"/>
                    </a:cxn>
                    <a:cxn ang="0">
                      <a:pos x="167" y="28"/>
                    </a:cxn>
                    <a:cxn ang="0">
                      <a:pos x="186" y="28"/>
                    </a:cxn>
                    <a:cxn ang="0">
                      <a:pos x="200" y="35"/>
                    </a:cxn>
                    <a:cxn ang="0">
                      <a:pos x="190" y="57"/>
                    </a:cxn>
                    <a:cxn ang="0">
                      <a:pos x="189" y="63"/>
                    </a:cxn>
                    <a:cxn ang="0">
                      <a:pos x="191" y="76"/>
                    </a:cxn>
                    <a:cxn ang="0">
                      <a:pos x="199" y="79"/>
                    </a:cxn>
                    <a:cxn ang="0">
                      <a:pos x="207" y="87"/>
                    </a:cxn>
                    <a:cxn ang="0">
                      <a:pos x="212" y="93"/>
                    </a:cxn>
                    <a:cxn ang="0">
                      <a:pos x="211" y="102"/>
                    </a:cxn>
                    <a:cxn ang="0">
                      <a:pos x="195" y="98"/>
                    </a:cxn>
                    <a:cxn ang="0">
                      <a:pos x="201" y="109"/>
                    </a:cxn>
                    <a:cxn ang="0">
                      <a:pos x="208" y="126"/>
                    </a:cxn>
                    <a:cxn ang="0">
                      <a:pos x="202" y="129"/>
                    </a:cxn>
                    <a:cxn ang="0">
                      <a:pos x="192" y="135"/>
                    </a:cxn>
                    <a:cxn ang="0">
                      <a:pos x="184" y="136"/>
                    </a:cxn>
                    <a:cxn ang="0">
                      <a:pos x="176" y="137"/>
                    </a:cxn>
                    <a:cxn ang="0">
                      <a:pos x="183" y="146"/>
                    </a:cxn>
                    <a:cxn ang="0">
                      <a:pos x="183" y="157"/>
                    </a:cxn>
                    <a:cxn ang="0">
                      <a:pos x="178" y="149"/>
                    </a:cxn>
                    <a:cxn ang="0">
                      <a:pos x="163" y="156"/>
                    </a:cxn>
                    <a:cxn ang="0">
                      <a:pos x="160" y="170"/>
                    </a:cxn>
                    <a:cxn ang="0">
                      <a:pos x="151" y="175"/>
                    </a:cxn>
                    <a:cxn ang="0">
                      <a:pos x="149" y="189"/>
                    </a:cxn>
                    <a:cxn ang="0">
                      <a:pos x="154" y="201"/>
                    </a:cxn>
                  </a:cxnLst>
                  <a:rect l="0" t="0" r="r" b="b"/>
                  <a:pathLst>
                    <a:path w="215" h="216">
                      <a:moveTo>
                        <a:pt x="149" y="216"/>
                      </a:moveTo>
                      <a:lnTo>
                        <a:pt x="149" y="208"/>
                      </a:lnTo>
                      <a:lnTo>
                        <a:pt x="145" y="208"/>
                      </a:lnTo>
                      <a:lnTo>
                        <a:pt x="146" y="203"/>
                      </a:lnTo>
                      <a:lnTo>
                        <a:pt x="137" y="202"/>
                      </a:lnTo>
                      <a:lnTo>
                        <a:pt x="129" y="192"/>
                      </a:lnTo>
                      <a:lnTo>
                        <a:pt x="122" y="191"/>
                      </a:lnTo>
                      <a:lnTo>
                        <a:pt x="114" y="185"/>
                      </a:lnTo>
                      <a:lnTo>
                        <a:pt x="114" y="180"/>
                      </a:lnTo>
                      <a:lnTo>
                        <a:pt x="106" y="179"/>
                      </a:lnTo>
                      <a:lnTo>
                        <a:pt x="99" y="184"/>
                      </a:lnTo>
                      <a:lnTo>
                        <a:pt x="98" y="179"/>
                      </a:lnTo>
                      <a:lnTo>
                        <a:pt x="105" y="175"/>
                      </a:lnTo>
                      <a:lnTo>
                        <a:pt x="83" y="151"/>
                      </a:lnTo>
                      <a:lnTo>
                        <a:pt x="82" y="140"/>
                      </a:lnTo>
                      <a:lnTo>
                        <a:pt x="77" y="136"/>
                      </a:lnTo>
                      <a:lnTo>
                        <a:pt x="72" y="133"/>
                      </a:lnTo>
                      <a:lnTo>
                        <a:pt x="52" y="114"/>
                      </a:lnTo>
                      <a:lnTo>
                        <a:pt x="51" y="109"/>
                      </a:lnTo>
                      <a:lnTo>
                        <a:pt x="41" y="95"/>
                      </a:lnTo>
                      <a:lnTo>
                        <a:pt x="35" y="93"/>
                      </a:lnTo>
                      <a:lnTo>
                        <a:pt x="27" y="81"/>
                      </a:lnTo>
                      <a:lnTo>
                        <a:pt x="22" y="79"/>
                      </a:lnTo>
                      <a:lnTo>
                        <a:pt x="23" y="73"/>
                      </a:lnTo>
                      <a:lnTo>
                        <a:pt x="25" y="71"/>
                      </a:lnTo>
                      <a:lnTo>
                        <a:pt x="22" y="65"/>
                      </a:lnTo>
                      <a:lnTo>
                        <a:pt x="22" y="60"/>
                      </a:lnTo>
                      <a:lnTo>
                        <a:pt x="16" y="54"/>
                      </a:lnTo>
                      <a:lnTo>
                        <a:pt x="12" y="41"/>
                      </a:lnTo>
                      <a:lnTo>
                        <a:pt x="7" y="40"/>
                      </a:lnTo>
                      <a:lnTo>
                        <a:pt x="0" y="34"/>
                      </a:lnTo>
                      <a:lnTo>
                        <a:pt x="0" y="31"/>
                      </a:lnTo>
                      <a:lnTo>
                        <a:pt x="3" y="29"/>
                      </a:lnTo>
                      <a:lnTo>
                        <a:pt x="2" y="25"/>
                      </a:lnTo>
                      <a:lnTo>
                        <a:pt x="2" y="6"/>
                      </a:lnTo>
                      <a:lnTo>
                        <a:pt x="8" y="0"/>
                      </a:lnTo>
                      <a:lnTo>
                        <a:pt x="17" y="2"/>
                      </a:lnTo>
                      <a:lnTo>
                        <a:pt x="17" y="4"/>
                      </a:lnTo>
                      <a:lnTo>
                        <a:pt x="30" y="19"/>
                      </a:lnTo>
                      <a:lnTo>
                        <a:pt x="34" y="19"/>
                      </a:lnTo>
                      <a:lnTo>
                        <a:pt x="43" y="2"/>
                      </a:lnTo>
                      <a:lnTo>
                        <a:pt x="61" y="4"/>
                      </a:lnTo>
                      <a:lnTo>
                        <a:pt x="65" y="0"/>
                      </a:lnTo>
                      <a:lnTo>
                        <a:pt x="67" y="0"/>
                      </a:lnTo>
                      <a:lnTo>
                        <a:pt x="79" y="8"/>
                      </a:lnTo>
                      <a:lnTo>
                        <a:pt x="83" y="8"/>
                      </a:lnTo>
                      <a:lnTo>
                        <a:pt x="86" y="6"/>
                      </a:lnTo>
                      <a:lnTo>
                        <a:pt x="89" y="9"/>
                      </a:lnTo>
                      <a:lnTo>
                        <a:pt x="104" y="12"/>
                      </a:lnTo>
                      <a:lnTo>
                        <a:pt x="105" y="9"/>
                      </a:lnTo>
                      <a:lnTo>
                        <a:pt x="108" y="9"/>
                      </a:lnTo>
                      <a:lnTo>
                        <a:pt x="116" y="17"/>
                      </a:lnTo>
                      <a:lnTo>
                        <a:pt x="119" y="17"/>
                      </a:lnTo>
                      <a:lnTo>
                        <a:pt x="125" y="9"/>
                      </a:lnTo>
                      <a:lnTo>
                        <a:pt x="129" y="9"/>
                      </a:lnTo>
                      <a:lnTo>
                        <a:pt x="132" y="14"/>
                      </a:lnTo>
                      <a:lnTo>
                        <a:pt x="135" y="16"/>
                      </a:lnTo>
                      <a:lnTo>
                        <a:pt x="137" y="11"/>
                      </a:lnTo>
                      <a:lnTo>
                        <a:pt x="148" y="12"/>
                      </a:lnTo>
                      <a:lnTo>
                        <a:pt x="152" y="18"/>
                      </a:lnTo>
                      <a:lnTo>
                        <a:pt x="154" y="17"/>
                      </a:lnTo>
                      <a:lnTo>
                        <a:pt x="154" y="14"/>
                      </a:lnTo>
                      <a:lnTo>
                        <a:pt x="162" y="14"/>
                      </a:lnTo>
                      <a:lnTo>
                        <a:pt x="168" y="22"/>
                      </a:lnTo>
                      <a:lnTo>
                        <a:pt x="167" y="27"/>
                      </a:lnTo>
                      <a:lnTo>
                        <a:pt x="167" y="28"/>
                      </a:lnTo>
                      <a:lnTo>
                        <a:pt x="173" y="33"/>
                      </a:lnTo>
                      <a:lnTo>
                        <a:pt x="180" y="33"/>
                      </a:lnTo>
                      <a:lnTo>
                        <a:pt x="186" y="28"/>
                      </a:lnTo>
                      <a:lnTo>
                        <a:pt x="199" y="28"/>
                      </a:lnTo>
                      <a:lnTo>
                        <a:pt x="201" y="31"/>
                      </a:lnTo>
                      <a:lnTo>
                        <a:pt x="200" y="35"/>
                      </a:lnTo>
                      <a:lnTo>
                        <a:pt x="200" y="39"/>
                      </a:lnTo>
                      <a:lnTo>
                        <a:pt x="195" y="46"/>
                      </a:lnTo>
                      <a:lnTo>
                        <a:pt x="190" y="57"/>
                      </a:lnTo>
                      <a:lnTo>
                        <a:pt x="188" y="59"/>
                      </a:lnTo>
                      <a:lnTo>
                        <a:pt x="188" y="61"/>
                      </a:lnTo>
                      <a:lnTo>
                        <a:pt x="189" y="63"/>
                      </a:lnTo>
                      <a:lnTo>
                        <a:pt x="185" y="68"/>
                      </a:lnTo>
                      <a:lnTo>
                        <a:pt x="188" y="76"/>
                      </a:lnTo>
                      <a:lnTo>
                        <a:pt x="191" y="76"/>
                      </a:lnTo>
                      <a:lnTo>
                        <a:pt x="194" y="78"/>
                      </a:lnTo>
                      <a:lnTo>
                        <a:pt x="197" y="77"/>
                      </a:lnTo>
                      <a:lnTo>
                        <a:pt x="199" y="79"/>
                      </a:lnTo>
                      <a:lnTo>
                        <a:pt x="200" y="83"/>
                      </a:lnTo>
                      <a:lnTo>
                        <a:pt x="203" y="87"/>
                      </a:lnTo>
                      <a:lnTo>
                        <a:pt x="207" y="87"/>
                      </a:lnTo>
                      <a:lnTo>
                        <a:pt x="207" y="88"/>
                      </a:lnTo>
                      <a:lnTo>
                        <a:pt x="207" y="90"/>
                      </a:lnTo>
                      <a:lnTo>
                        <a:pt x="212" y="93"/>
                      </a:lnTo>
                      <a:lnTo>
                        <a:pt x="215" y="94"/>
                      </a:lnTo>
                      <a:lnTo>
                        <a:pt x="215" y="97"/>
                      </a:lnTo>
                      <a:lnTo>
                        <a:pt x="211" y="102"/>
                      </a:lnTo>
                      <a:lnTo>
                        <a:pt x="202" y="102"/>
                      </a:lnTo>
                      <a:lnTo>
                        <a:pt x="197" y="98"/>
                      </a:lnTo>
                      <a:lnTo>
                        <a:pt x="195" y="98"/>
                      </a:lnTo>
                      <a:lnTo>
                        <a:pt x="194" y="100"/>
                      </a:lnTo>
                      <a:lnTo>
                        <a:pt x="195" y="102"/>
                      </a:lnTo>
                      <a:lnTo>
                        <a:pt x="201" y="109"/>
                      </a:lnTo>
                      <a:lnTo>
                        <a:pt x="207" y="117"/>
                      </a:lnTo>
                      <a:lnTo>
                        <a:pt x="210" y="119"/>
                      </a:lnTo>
                      <a:lnTo>
                        <a:pt x="208" y="126"/>
                      </a:lnTo>
                      <a:lnTo>
                        <a:pt x="207" y="129"/>
                      </a:lnTo>
                      <a:lnTo>
                        <a:pt x="205" y="130"/>
                      </a:lnTo>
                      <a:lnTo>
                        <a:pt x="202" y="129"/>
                      </a:lnTo>
                      <a:lnTo>
                        <a:pt x="200" y="129"/>
                      </a:lnTo>
                      <a:lnTo>
                        <a:pt x="197" y="132"/>
                      </a:lnTo>
                      <a:lnTo>
                        <a:pt x="192" y="135"/>
                      </a:lnTo>
                      <a:lnTo>
                        <a:pt x="189" y="135"/>
                      </a:lnTo>
                      <a:lnTo>
                        <a:pt x="186" y="136"/>
                      </a:lnTo>
                      <a:lnTo>
                        <a:pt x="184" y="136"/>
                      </a:lnTo>
                      <a:lnTo>
                        <a:pt x="183" y="133"/>
                      </a:lnTo>
                      <a:lnTo>
                        <a:pt x="180" y="133"/>
                      </a:lnTo>
                      <a:lnTo>
                        <a:pt x="176" y="137"/>
                      </a:lnTo>
                      <a:lnTo>
                        <a:pt x="178" y="140"/>
                      </a:lnTo>
                      <a:lnTo>
                        <a:pt x="181" y="141"/>
                      </a:lnTo>
                      <a:lnTo>
                        <a:pt x="183" y="146"/>
                      </a:lnTo>
                      <a:lnTo>
                        <a:pt x="184" y="149"/>
                      </a:lnTo>
                      <a:lnTo>
                        <a:pt x="184" y="154"/>
                      </a:lnTo>
                      <a:lnTo>
                        <a:pt x="183" y="157"/>
                      </a:lnTo>
                      <a:lnTo>
                        <a:pt x="180" y="157"/>
                      </a:lnTo>
                      <a:lnTo>
                        <a:pt x="179" y="154"/>
                      </a:lnTo>
                      <a:lnTo>
                        <a:pt x="178" y="149"/>
                      </a:lnTo>
                      <a:lnTo>
                        <a:pt x="175" y="148"/>
                      </a:lnTo>
                      <a:lnTo>
                        <a:pt x="172" y="148"/>
                      </a:lnTo>
                      <a:lnTo>
                        <a:pt x="163" y="156"/>
                      </a:lnTo>
                      <a:lnTo>
                        <a:pt x="162" y="160"/>
                      </a:lnTo>
                      <a:lnTo>
                        <a:pt x="160" y="163"/>
                      </a:lnTo>
                      <a:lnTo>
                        <a:pt x="160" y="170"/>
                      </a:lnTo>
                      <a:lnTo>
                        <a:pt x="158" y="173"/>
                      </a:lnTo>
                      <a:lnTo>
                        <a:pt x="153" y="173"/>
                      </a:lnTo>
                      <a:lnTo>
                        <a:pt x="151" y="175"/>
                      </a:lnTo>
                      <a:lnTo>
                        <a:pt x="151" y="184"/>
                      </a:lnTo>
                      <a:lnTo>
                        <a:pt x="149" y="185"/>
                      </a:lnTo>
                      <a:lnTo>
                        <a:pt x="149" y="189"/>
                      </a:lnTo>
                      <a:lnTo>
                        <a:pt x="152" y="194"/>
                      </a:lnTo>
                      <a:lnTo>
                        <a:pt x="154" y="196"/>
                      </a:lnTo>
                      <a:lnTo>
                        <a:pt x="154" y="201"/>
                      </a:lnTo>
                      <a:lnTo>
                        <a:pt x="149" y="208"/>
                      </a:lnTo>
                      <a:lnTo>
                        <a:pt x="149" y="21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74" name="Croatia"/>
                <p:cNvSpPr>
                  <a:spLocks noChangeAspect="1"/>
                </p:cNvSpPr>
                <p:nvPr>
                  <p:custDataLst>
                    <p:tags r:id="rId256"/>
                  </p:custDataLst>
                </p:nvPr>
              </p:nvSpPr>
              <p:spPr bwMode="gray">
                <a:xfrm>
                  <a:off x="2703" y="1965"/>
                  <a:ext cx="15" cy="8"/>
                </a:xfrm>
                <a:custGeom>
                  <a:avLst/>
                  <a:gdLst/>
                  <a:ahLst/>
                  <a:cxnLst>
                    <a:cxn ang="0">
                      <a:pos x="75" y="42"/>
                    </a:cxn>
                    <a:cxn ang="0">
                      <a:pos x="45" y="20"/>
                    </a:cxn>
                    <a:cxn ang="0">
                      <a:pos x="29" y="17"/>
                    </a:cxn>
                    <a:cxn ang="0">
                      <a:pos x="13" y="7"/>
                    </a:cxn>
                    <a:cxn ang="0">
                      <a:pos x="0" y="5"/>
                    </a:cxn>
                    <a:cxn ang="0">
                      <a:pos x="4" y="0"/>
                    </a:cxn>
                    <a:cxn ang="0">
                      <a:pos x="15" y="2"/>
                    </a:cxn>
                    <a:cxn ang="0">
                      <a:pos x="20" y="10"/>
                    </a:cxn>
                    <a:cxn ang="0">
                      <a:pos x="25" y="10"/>
                    </a:cxn>
                    <a:cxn ang="0">
                      <a:pos x="32" y="5"/>
                    </a:cxn>
                    <a:cxn ang="0">
                      <a:pos x="40" y="6"/>
                    </a:cxn>
                    <a:cxn ang="0">
                      <a:pos x="40" y="11"/>
                    </a:cxn>
                    <a:cxn ang="0">
                      <a:pos x="48" y="17"/>
                    </a:cxn>
                    <a:cxn ang="0">
                      <a:pos x="55" y="18"/>
                    </a:cxn>
                    <a:cxn ang="0">
                      <a:pos x="63" y="28"/>
                    </a:cxn>
                    <a:cxn ang="0">
                      <a:pos x="72" y="29"/>
                    </a:cxn>
                    <a:cxn ang="0">
                      <a:pos x="71" y="34"/>
                    </a:cxn>
                    <a:cxn ang="0">
                      <a:pos x="75" y="34"/>
                    </a:cxn>
                    <a:cxn ang="0">
                      <a:pos x="75" y="42"/>
                    </a:cxn>
                  </a:cxnLst>
                  <a:rect l="0" t="0" r="r" b="b"/>
                  <a:pathLst>
                    <a:path w="75" h="42">
                      <a:moveTo>
                        <a:pt x="75" y="42"/>
                      </a:moveTo>
                      <a:lnTo>
                        <a:pt x="45" y="20"/>
                      </a:lnTo>
                      <a:lnTo>
                        <a:pt x="29" y="17"/>
                      </a:lnTo>
                      <a:lnTo>
                        <a:pt x="13" y="7"/>
                      </a:lnTo>
                      <a:lnTo>
                        <a:pt x="0" y="5"/>
                      </a:lnTo>
                      <a:lnTo>
                        <a:pt x="4" y="0"/>
                      </a:lnTo>
                      <a:lnTo>
                        <a:pt x="15" y="2"/>
                      </a:lnTo>
                      <a:lnTo>
                        <a:pt x="20" y="10"/>
                      </a:lnTo>
                      <a:lnTo>
                        <a:pt x="25" y="10"/>
                      </a:lnTo>
                      <a:lnTo>
                        <a:pt x="32" y="5"/>
                      </a:lnTo>
                      <a:lnTo>
                        <a:pt x="40" y="6"/>
                      </a:lnTo>
                      <a:lnTo>
                        <a:pt x="40" y="11"/>
                      </a:lnTo>
                      <a:lnTo>
                        <a:pt x="48" y="17"/>
                      </a:lnTo>
                      <a:lnTo>
                        <a:pt x="55" y="18"/>
                      </a:lnTo>
                      <a:lnTo>
                        <a:pt x="63" y="28"/>
                      </a:lnTo>
                      <a:lnTo>
                        <a:pt x="72" y="29"/>
                      </a:lnTo>
                      <a:lnTo>
                        <a:pt x="71" y="34"/>
                      </a:lnTo>
                      <a:lnTo>
                        <a:pt x="75" y="34"/>
                      </a:lnTo>
                      <a:lnTo>
                        <a:pt x="75" y="4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53" name="Greece"/>
              <p:cNvSpPr>
                <a:spLocks noChangeAspect="1"/>
              </p:cNvSpPr>
              <p:nvPr>
                <p:custDataLst>
                  <p:tags r:id="rId235"/>
                </p:custDataLst>
              </p:nvPr>
            </p:nvSpPr>
            <p:spPr bwMode="gray">
              <a:xfrm>
                <a:off x="4980316" y="3574115"/>
                <a:ext cx="58515" cy="60856"/>
              </a:xfrm>
              <a:custGeom>
                <a:avLst/>
                <a:gdLst/>
                <a:ahLst/>
                <a:cxnLst>
                  <a:cxn ang="0">
                    <a:pos x="49" y="0"/>
                  </a:cxn>
                  <a:cxn ang="0">
                    <a:pos x="35" y="2"/>
                  </a:cxn>
                  <a:cxn ang="0">
                    <a:pos x="21" y="12"/>
                  </a:cxn>
                  <a:cxn ang="0">
                    <a:pos x="13" y="8"/>
                  </a:cxn>
                  <a:cxn ang="0">
                    <a:pos x="2" y="28"/>
                  </a:cxn>
                  <a:cxn ang="0">
                    <a:pos x="0" y="37"/>
                  </a:cxn>
                  <a:cxn ang="0">
                    <a:pos x="6" y="50"/>
                  </a:cxn>
                  <a:cxn ang="0">
                    <a:pos x="21" y="58"/>
                  </a:cxn>
                  <a:cxn ang="0">
                    <a:pos x="28" y="70"/>
                  </a:cxn>
                  <a:cxn ang="0">
                    <a:pos x="23" y="86"/>
                  </a:cxn>
                  <a:cxn ang="0">
                    <a:pos x="26" y="99"/>
                  </a:cxn>
                  <a:cxn ang="0">
                    <a:pos x="32" y="106"/>
                  </a:cxn>
                  <a:cxn ang="0">
                    <a:pos x="39" y="108"/>
                  </a:cxn>
                  <a:cxn ang="0">
                    <a:pos x="42" y="98"/>
                  </a:cxn>
                  <a:cxn ang="0">
                    <a:pos x="49" y="90"/>
                  </a:cxn>
                  <a:cxn ang="0">
                    <a:pos x="53" y="96"/>
                  </a:cxn>
                  <a:cxn ang="0">
                    <a:pos x="60" y="103"/>
                  </a:cxn>
                  <a:cxn ang="0">
                    <a:pos x="65" y="119"/>
                  </a:cxn>
                  <a:cxn ang="0">
                    <a:pos x="66" y="130"/>
                  </a:cxn>
                  <a:cxn ang="0">
                    <a:pos x="71" y="131"/>
                  </a:cxn>
                  <a:cxn ang="0">
                    <a:pos x="76" y="110"/>
                  </a:cxn>
                  <a:cxn ang="0">
                    <a:pos x="85" y="107"/>
                  </a:cxn>
                  <a:cxn ang="0">
                    <a:pos x="91" y="117"/>
                  </a:cxn>
                  <a:cxn ang="0">
                    <a:pos x="98" y="124"/>
                  </a:cxn>
                  <a:cxn ang="0">
                    <a:pos x="107" y="129"/>
                  </a:cxn>
                  <a:cxn ang="0">
                    <a:pos x="105" y="107"/>
                  </a:cxn>
                  <a:cxn ang="0">
                    <a:pos x="98" y="77"/>
                  </a:cxn>
                  <a:cxn ang="0">
                    <a:pos x="91" y="66"/>
                  </a:cxn>
                  <a:cxn ang="0">
                    <a:pos x="88" y="54"/>
                  </a:cxn>
                  <a:cxn ang="0">
                    <a:pos x="105" y="66"/>
                  </a:cxn>
                  <a:cxn ang="0">
                    <a:pos x="108" y="71"/>
                  </a:cxn>
                  <a:cxn ang="0">
                    <a:pos x="113" y="71"/>
                  </a:cxn>
                  <a:cxn ang="0">
                    <a:pos x="119" y="65"/>
                  </a:cxn>
                  <a:cxn ang="0">
                    <a:pos x="128" y="64"/>
                  </a:cxn>
                  <a:cxn ang="0">
                    <a:pos x="126" y="56"/>
                  </a:cxn>
                  <a:cxn ang="0">
                    <a:pos x="114" y="48"/>
                  </a:cxn>
                  <a:cxn ang="0">
                    <a:pos x="107" y="33"/>
                  </a:cxn>
                  <a:cxn ang="0">
                    <a:pos x="107" y="26"/>
                  </a:cxn>
                  <a:cxn ang="0">
                    <a:pos x="98" y="21"/>
                  </a:cxn>
                  <a:cxn ang="0">
                    <a:pos x="74" y="12"/>
                  </a:cxn>
                  <a:cxn ang="0">
                    <a:pos x="61" y="8"/>
                  </a:cxn>
                  <a:cxn ang="0">
                    <a:pos x="55" y="8"/>
                  </a:cxn>
                  <a:cxn ang="0">
                    <a:pos x="49" y="0"/>
                  </a:cxn>
                </a:cxnLst>
                <a:rect l="0" t="0" r="r" b="b"/>
                <a:pathLst>
                  <a:path w="128" h="131">
                    <a:moveTo>
                      <a:pt x="49" y="0"/>
                    </a:moveTo>
                    <a:lnTo>
                      <a:pt x="35" y="2"/>
                    </a:lnTo>
                    <a:lnTo>
                      <a:pt x="21" y="12"/>
                    </a:lnTo>
                    <a:lnTo>
                      <a:pt x="13" y="8"/>
                    </a:lnTo>
                    <a:lnTo>
                      <a:pt x="2" y="28"/>
                    </a:lnTo>
                    <a:lnTo>
                      <a:pt x="0" y="37"/>
                    </a:lnTo>
                    <a:lnTo>
                      <a:pt x="6" y="50"/>
                    </a:lnTo>
                    <a:lnTo>
                      <a:pt x="21" y="58"/>
                    </a:lnTo>
                    <a:lnTo>
                      <a:pt x="28" y="70"/>
                    </a:lnTo>
                    <a:lnTo>
                      <a:pt x="23" y="86"/>
                    </a:lnTo>
                    <a:lnTo>
                      <a:pt x="26" y="99"/>
                    </a:lnTo>
                    <a:lnTo>
                      <a:pt x="32" y="106"/>
                    </a:lnTo>
                    <a:lnTo>
                      <a:pt x="39" y="108"/>
                    </a:lnTo>
                    <a:lnTo>
                      <a:pt x="42" y="98"/>
                    </a:lnTo>
                    <a:lnTo>
                      <a:pt x="49" y="90"/>
                    </a:lnTo>
                    <a:lnTo>
                      <a:pt x="53" y="96"/>
                    </a:lnTo>
                    <a:lnTo>
                      <a:pt x="60" y="103"/>
                    </a:lnTo>
                    <a:lnTo>
                      <a:pt x="65" y="119"/>
                    </a:lnTo>
                    <a:lnTo>
                      <a:pt x="66" y="130"/>
                    </a:lnTo>
                    <a:lnTo>
                      <a:pt x="71" y="131"/>
                    </a:lnTo>
                    <a:lnTo>
                      <a:pt x="76" y="110"/>
                    </a:lnTo>
                    <a:lnTo>
                      <a:pt x="85" y="107"/>
                    </a:lnTo>
                    <a:lnTo>
                      <a:pt x="91" y="117"/>
                    </a:lnTo>
                    <a:lnTo>
                      <a:pt x="98" y="124"/>
                    </a:lnTo>
                    <a:lnTo>
                      <a:pt x="107" y="129"/>
                    </a:lnTo>
                    <a:lnTo>
                      <a:pt x="105" y="107"/>
                    </a:lnTo>
                    <a:lnTo>
                      <a:pt x="98" y="77"/>
                    </a:lnTo>
                    <a:lnTo>
                      <a:pt x="91" y="66"/>
                    </a:lnTo>
                    <a:lnTo>
                      <a:pt x="88" y="54"/>
                    </a:lnTo>
                    <a:lnTo>
                      <a:pt x="105" y="66"/>
                    </a:lnTo>
                    <a:lnTo>
                      <a:pt x="108" y="71"/>
                    </a:lnTo>
                    <a:lnTo>
                      <a:pt x="113" y="71"/>
                    </a:lnTo>
                    <a:lnTo>
                      <a:pt x="119" y="65"/>
                    </a:lnTo>
                    <a:lnTo>
                      <a:pt x="128" y="64"/>
                    </a:lnTo>
                    <a:lnTo>
                      <a:pt x="126" y="56"/>
                    </a:lnTo>
                    <a:lnTo>
                      <a:pt x="114" y="48"/>
                    </a:lnTo>
                    <a:lnTo>
                      <a:pt x="107" y="33"/>
                    </a:lnTo>
                    <a:lnTo>
                      <a:pt x="107" y="26"/>
                    </a:lnTo>
                    <a:lnTo>
                      <a:pt x="98" y="21"/>
                    </a:lnTo>
                    <a:lnTo>
                      <a:pt x="74" y="12"/>
                    </a:lnTo>
                    <a:lnTo>
                      <a:pt x="61" y="8"/>
                    </a:lnTo>
                    <a:lnTo>
                      <a:pt x="55" y="8"/>
                    </a:lnTo>
                    <a:lnTo>
                      <a:pt x="49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4" name="Greece"/>
              <p:cNvSpPr>
                <a:spLocks noChangeAspect="1"/>
              </p:cNvSpPr>
              <p:nvPr>
                <p:custDataLst>
                  <p:tags r:id="rId236"/>
                </p:custDataLst>
              </p:nvPr>
            </p:nvSpPr>
            <p:spPr bwMode="gray">
              <a:xfrm>
                <a:off x="4954570" y="3457085"/>
                <a:ext cx="163842" cy="138095"/>
              </a:xfrm>
              <a:custGeom>
                <a:avLst/>
                <a:gdLst/>
                <a:ahLst/>
                <a:cxnLst>
                  <a:cxn ang="0">
                    <a:pos x="314" y="70"/>
                  </a:cxn>
                  <a:cxn ang="0">
                    <a:pos x="258" y="65"/>
                  </a:cxn>
                  <a:cxn ang="0">
                    <a:pos x="245" y="66"/>
                  </a:cxn>
                  <a:cxn ang="0">
                    <a:pos x="223" y="73"/>
                  </a:cxn>
                  <a:cxn ang="0">
                    <a:pos x="193" y="86"/>
                  </a:cxn>
                  <a:cxn ang="0">
                    <a:pos x="216" y="100"/>
                  </a:cxn>
                  <a:cxn ang="0">
                    <a:pos x="227" y="116"/>
                  </a:cxn>
                  <a:cxn ang="0">
                    <a:pos x="201" y="103"/>
                  </a:cxn>
                  <a:cxn ang="0">
                    <a:pos x="207" y="120"/>
                  </a:cxn>
                  <a:cxn ang="0">
                    <a:pos x="201" y="125"/>
                  </a:cxn>
                  <a:cxn ang="0">
                    <a:pos x="185" y="111"/>
                  </a:cxn>
                  <a:cxn ang="0">
                    <a:pos x="184" y="124"/>
                  </a:cxn>
                  <a:cxn ang="0">
                    <a:pos x="188" y="135"/>
                  </a:cxn>
                  <a:cxn ang="0">
                    <a:pos x="172" y="111"/>
                  </a:cxn>
                  <a:cxn ang="0">
                    <a:pos x="148" y="93"/>
                  </a:cxn>
                  <a:cxn ang="0">
                    <a:pos x="137" y="90"/>
                  </a:cxn>
                  <a:cxn ang="0">
                    <a:pos x="135" y="120"/>
                  </a:cxn>
                  <a:cxn ang="0">
                    <a:pos x="144" y="140"/>
                  </a:cxn>
                  <a:cxn ang="0">
                    <a:pos x="164" y="172"/>
                  </a:cxn>
                  <a:cxn ang="0">
                    <a:pos x="172" y="190"/>
                  </a:cxn>
                  <a:cxn ang="0">
                    <a:pos x="163" y="191"/>
                  </a:cxn>
                  <a:cxn ang="0">
                    <a:pos x="161" y="179"/>
                  </a:cxn>
                  <a:cxn ang="0">
                    <a:pos x="150" y="186"/>
                  </a:cxn>
                  <a:cxn ang="0">
                    <a:pos x="151" y="203"/>
                  </a:cxn>
                  <a:cxn ang="0">
                    <a:pos x="141" y="203"/>
                  </a:cxn>
                  <a:cxn ang="0">
                    <a:pos x="135" y="212"/>
                  </a:cxn>
                  <a:cxn ang="0">
                    <a:pos x="156" y="219"/>
                  </a:cxn>
                  <a:cxn ang="0">
                    <a:pos x="172" y="224"/>
                  </a:cxn>
                  <a:cxn ang="0">
                    <a:pos x="184" y="237"/>
                  </a:cxn>
                  <a:cxn ang="0">
                    <a:pos x="199" y="250"/>
                  </a:cxn>
                  <a:cxn ang="0">
                    <a:pos x="211" y="255"/>
                  </a:cxn>
                  <a:cxn ang="0">
                    <a:pos x="199" y="285"/>
                  </a:cxn>
                  <a:cxn ang="0">
                    <a:pos x="175" y="275"/>
                  </a:cxn>
                  <a:cxn ang="0">
                    <a:pos x="152" y="270"/>
                  </a:cxn>
                  <a:cxn ang="0">
                    <a:pos x="164" y="259"/>
                  </a:cxn>
                  <a:cxn ang="0">
                    <a:pos x="139" y="243"/>
                  </a:cxn>
                  <a:cxn ang="0">
                    <a:pos x="123" y="245"/>
                  </a:cxn>
                  <a:cxn ang="0">
                    <a:pos x="98" y="245"/>
                  </a:cxn>
                  <a:cxn ang="0">
                    <a:pos x="67" y="242"/>
                  </a:cxn>
                  <a:cxn ang="0">
                    <a:pos x="61" y="245"/>
                  </a:cxn>
                  <a:cxn ang="0">
                    <a:pos x="51" y="240"/>
                  </a:cxn>
                  <a:cxn ang="0">
                    <a:pos x="33" y="208"/>
                  </a:cxn>
                  <a:cxn ang="0">
                    <a:pos x="53" y="208"/>
                  </a:cxn>
                  <a:cxn ang="0">
                    <a:pos x="35" y="194"/>
                  </a:cxn>
                  <a:cxn ang="0">
                    <a:pos x="17" y="178"/>
                  </a:cxn>
                  <a:cxn ang="0">
                    <a:pos x="3" y="154"/>
                  </a:cxn>
                  <a:cxn ang="0">
                    <a:pos x="0" y="152"/>
                  </a:cxn>
                  <a:cxn ang="0">
                    <a:pos x="10" y="146"/>
                  </a:cxn>
                  <a:cxn ang="0">
                    <a:pos x="17" y="127"/>
                  </a:cxn>
                  <a:cxn ang="0">
                    <a:pos x="35" y="103"/>
                  </a:cxn>
                  <a:cxn ang="0">
                    <a:pos x="49" y="77"/>
                  </a:cxn>
                  <a:cxn ang="0">
                    <a:pos x="82" y="62"/>
                  </a:cxn>
                  <a:cxn ang="0">
                    <a:pos x="112" y="45"/>
                  </a:cxn>
                  <a:cxn ang="0">
                    <a:pos x="147" y="31"/>
                  </a:cxn>
                  <a:cxn ang="0">
                    <a:pos x="166" y="29"/>
                  </a:cxn>
                  <a:cxn ang="0">
                    <a:pos x="205" y="25"/>
                  </a:cxn>
                  <a:cxn ang="0">
                    <a:pos x="248" y="16"/>
                  </a:cxn>
                  <a:cxn ang="0">
                    <a:pos x="293" y="36"/>
                  </a:cxn>
                  <a:cxn ang="0">
                    <a:pos x="327" y="20"/>
                  </a:cxn>
                  <a:cxn ang="0">
                    <a:pos x="340" y="0"/>
                  </a:cxn>
                  <a:cxn ang="0">
                    <a:pos x="352" y="13"/>
                  </a:cxn>
                  <a:cxn ang="0">
                    <a:pos x="340" y="33"/>
                  </a:cxn>
                  <a:cxn ang="0">
                    <a:pos x="334" y="63"/>
                  </a:cxn>
                </a:cxnLst>
                <a:rect l="0" t="0" r="r" b="b"/>
                <a:pathLst>
                  <a:path w="352" h="293">
                    <a:moveTo>
                      <a:pt x="324" y="78"/>
                    </a:moveTo>
                    <a:lnTo>
                      <a:pt x="314" y="70"/>
                    </a:lnTo>
                    <a:lnTo>
                      <a:pt x="268" y="57"/>
                    </a:lnTo>
                    <a:lnTo>
                      <a:pt x="258" y="65"/>
                    </a:lnTo>
                    <a:lnTo>
                      <a:pt x="253" y="66"/>
                    </a:lnTo>
                    <a:lnTo>
                      <a:pt x="245" y="66"/>
                    </a:lnTo>
                    <a:lnTo>
                      <a:pt x="234" y="62"/>
                    </a:lnTo>
                    <a:lnTo>
                      <a:pt x="223" y="73"/>
                    </a:lnTo>
                    <a:lnTo>
                      <a:pt x="207" y="76"/>
                    </a:lnTo>
                    <a:lnTo>
                      <a:pt x="193" y="86"/>
                    </a:lnTo>
                    <a:lnTo>
                      <a:pt x="201" y="94"/>
                    </a:lnTo>
                    <a:lnTo>
                      <a:pt x="216" y="100"/>
                    </a:lnTo>
                    <a:lnTo>
                      <a:pt x="225" y="110"/>
                    </a:lnTo>
                    <a:lnTo>
                      <a:pt x="227" y="116"/>
                    </a:lnTo>
                    <a:lnTo>
                      <a:pt x="217" y="106"/>
                    </a:lnTo>
                    <a:lnTo>
                      <a:pt x="201" y="103"/>
                    </a:lnTo>
                    <a:lnTo>
                      <a:pt x="196" y="113"/>
                    </a:lnTo>
                    <a:lnTo>
                      <a:pt x="207" y="120"/>
                    </a:lnTo>
                    <a:lnTo>
                      <a:pt x="209" y="133"/>
                    </a:lnTo>
                    <a:lnTo>
                      <a:pt x="201" y="125"/>
                    </a:lnTo>
                    <a:lnTo>
                      <a:pt x="195" y="115"/>
                    </a:lnTo>
                    <a:lnTo>
                      <a:pt x="185" y="111"/>
                    </a:lnTo>
                    <a:lnTo>
                      <a:pt x="182" y="113"/>
                    </a:lnTo>
                    <a:lnTo>
                      <a:pt x="184" y="124"/>
                    </a:lnTo>
                    <a:lnTo>
                      <a:pt x="193" y="131"/>
                    </a:lnTo>
                    <a:lnTo>
                      <a:pt x="188" y="135"/>
                    </a:lnTo>
                    <a:lnTo>
                      <a:pt x="177" y="125"/>
                    </a:lnTo>
                    <a:lnTo>
                      <a:pt x="172" y="111"/>
                    </a:lnTo>
                    <a:lnTo>
                      <a:pt x="148" y="97"/>
                    </a:lnTo>
                    <a:lnTo>
                      <a:pt x="148" y="93"/>
                    </a:lnTo>
                    <a:lnTo>
                      <a:pt x="151" y="86"/>
                    </a:lnTo>
                    <a:lnTo>
                      <a:pt x="137" y="90"/>
                    </a:lnTo>
                    <a:lnTo>
                      <a:pt x="135" y="105"/>
                    </a:lnTo>
                    <a:lnTo>
                      <a:pt x="135" y="120"/>
                    </a:lnTo>
                    <a:lnTo>
                      <a:pt x="136" y="132"/>
                    </a:lnTo>
                    <a:lnTo>
                      <a:pt x="144" y="140"/>
                    </a:lnTo>
                    <a:lnTo>
                      <a:pt x="147" y="154"/>
                    </a:lnTo>
                    <a:lnTo>
                      <a:pt x="164" y="172"/>
                    </a:lnTo>
                    <a:lnTo>
                      <a:pt x="169" y="181"/>
                    </a:lnTo>
                    <a:lnTo>
                      <a:pt x="172" y="190"/>
                    </a:lnTo>
                    <a:lnTo>
                      <a:pt x="167" y="192"/>
                    </a:lnTo>
                    <a:lnTo>
                      <a:pt x="163" y="191"/>
                    </a:lnTo>
                    <a:lnTo>
                      <a:pt x="164" y="185"/>
                    </a:lnTo>
                    <a:lnTo>
                      <a:pt x="161" y="179"/>
                    </a:lnTo>
                    <a:lnTo>
                      <a:pt x="151" y="178"/>
                    </a:lnTo>
                    <a:lnTo>
                      <a:pt x="150" y="186"/>
                    </a:lnTo>
                    <a:lnTo>
                      <a:pt x="155" y="200"/>
                    </a:lnTo>
                    <a:lnTo>
                      <a:pt x="151" y="203"/>
                    </a:lnTo>
                    <a:lnTo>
                      <a:pt x="147" y="203"/>
                    </a:lnTo>
                    <a:lnTo>
                      <a:pt x="141" y="203"/>
                    </a:lnTo>
                    <a:lnTo>
                      <a:pt x="131" y="206"/>
                    </a:lnTo>
                    <a:lnTo>
                      <a:pt x="135" y="212"/>
                    </a:lnTo>
                    <a:lnTo>
                      <a:pt x="147" y="217"/>
                    </a:lnTo>
                    <a:lnTo>
                      <a:pt x="156" y="219"/>
                    </a:lnTo>
                    <a:lnTo>
                      <a:pt x="163" y="224"/>
                    </a:lnTo>
                    <a:lnTo>
                      <a:pt x="172" y="224"/>
                    </a:lnTo>
                    <a:lnTo>
                      <a:pt x="177" y="237"/>
                    </a:lnTo>
                    <a:lnTo>
                      <a:pt x="184" y="237"/>
                    </a:lnTo>
                    <a:lnTo>
                      <a:pt x="190" y="244"/>
                    </a:lnTo>
                    <a:lnTo>
                      <a:pt x="199" y="250"/>
                    </a:lnTo>
                    <a:lnTo>
                      <a:pt x="204" y="250"/>
                    </a:lnTo>
                    <a:lnTo>
                      <a:pt x="211" y="255"/>
                    </a:lnTo>
                    <a:lnTo>
                      <a:pt x="212" y="293"/>
                    </a:lnTo>
                    <a:lnTo>
                      <a:pt x="199" y="285"/>
                    </a:lnTo>
                    <a:lnTo>
                      <a:pt x="189" y="272"/>
                    </a:lnTo>
                    <a:lnTo>
                      <a:pt x="175" y="275"/>
                    </a:lnTo>
                    <a:lnTo>
                      <a:pt x="161" y="275"/>
                    </a:lnTo>
                    <a:lnTo>
                      <a:pt x="152" y="270"/>
                    </a:lnTo>
                    <a:lnTo>
                      <a:pt x="162" y="266"/>
                    </a:lnTo>
                    <a:lnTo>
                      <a:pt x="164" y="259"/>
                    </a:lnTo>
                    <a:lnTo>
                      <a:pt x="152" y="256"/>
                    </a:lnTo>
                    <a:lnTo>
                      <a:pt x="139" y="243"/>
                    </a:lnTo>
                    <a:lnTo>
                      <a:pt x="132" y="249"/>
                    </a:lnTo>
                    <a:lnTo>
                      <a:pt x="123" y="245"/>
                    </a:lnTo>
                    <a:lnTo>
                      <a:pt x="110" y="248"/>
                    </a:lnTo>
                    <a:lnTo>
                      <a:pt x="98" y="245"/>
                    </a:lnTo>
                    <a:lnTo>
                      <a:pt x="81" y="248"/>
                    </a:lnTo>
                    <a:lnTo>
                      <a:pt x="67" y="242"/>
                    </a:lnTo>
                    <a:lnTo>
                      <a:pt x="64" y="242"/>
                    </a:lnTo>
                    <a:lnTo>
                      <a:pt x="61" y="245"/>
                    </a:lnTo>
                    <a:lnTo>
                      <a:pt x="55" y="248"/>
                    </a:lnTo>
                    <a:lnTo>
                      <a:pt x="51" y="240"/>
                    </a:lnTo>
                    <a:lnTo>
                      <a:pt x="45" y="228"/>
                    </a:lnTo>
                    <a:lnTo>
                      <a:pt x="33" y="208"/>
                    </a:lnTo>
                    <a:lnTo>
                      <a:pt x="43" y="210"/>
                    </a:lnTo>
                    <a:lnTo>
                      <a:pt x="53" y="208"/>
                    </a:lnTo>
                    <a:lnTo>
                      <a:pt x="49" y="200"/>
                    </a:lnTo>
                    <a:lnTo>
                      <a:pt x="35" y="194"/>
                    </a:lnTo>
                    <a:lnTo>
                      <a:pt x="33" y="203"/>
                    </a:lnTo>
                    <a:lnTo>
                      <a:pt x="17" y="178"/>
                    </a:lnTo>
                    <a:lnTo>
                      <a:pt x="7" y="170"/>
                    </a:lnTo>
                    <a:lnTo>
                      <a:pt x="3" y="154"/>
                    </a:lnTo>
                    <a:lnTo>
                      <a:pt x="1" y="152"/>
                    </a:lnTo>
                    <a:lnTo>
                      <a:pt x="0" y="152"/>
                    </a:lnTo>
                    <a:lnTo>
                      <a:pt x="1" y="152"/>
                    </a:lnTo>
                    <a:lnTo>
                      <a:pt x="10" y="146"/>
                    </a:lnTo>
                    <a:lnTo>
                      <a:pt x="15" y="140"/>
                    </a:lnTo>
                    <a:lnTo>
                      <a:pt x="17" y="127"/>
                    </a:lnTo>
                    <a:lnTo>
                      <a:pt x="27" y="120"/>
                    </a:lnTo>
                    <a:lnTo>
                      <a:pt x="35" y="103"/>
                    </a:lnTo>
                    <a:lnTo>
                      <a:pt x="49" y="92"/>
                    </a:lnTo>
                    <a:lnTo>
                      <a:pt x="49" y="77"/>
                    </a:lnTo>
                    <a:lnTo>
                      <a:pt x="46" y="67"/>
                    </a:lnTo>
                    <a:lnTo>
                      <a:pt x="82" y="62"/>
                    </a:lnTo>
                    <a:lnTo>
                      <a:pt x="93" y="52"/>
                    </a:lnTo>
                    <a:lnTo>
                      <a:pt x="112" y="45"/>
                    </a:lnTo>
                    <a:lnTo>
                      <a:pt x="132" y="45"/>
                    </a:lnTo>
                    <a:lnTo>
                      <a:pt x="147" y="31"/>
                    </a:lnTo>
                    <a:lnTo>
                      <a:pt x="153" y="29"/>
                    </a:lnTo>
                    <a:lnTo>
                      <a:pt x="166" y="29"/>
                    </a:lnTo>
                    <a:lnTo>
                      <a:pt x="183" y="25"/>
                    </a:lnTo>
                    <a:lnTo>
                      <a:pt x="205" y="25"/>
                    </a:lnTo>
                    <a:lnTo>
                      <a:pt x="236" y="16"/>
                    </a:lnTo>
                    <a:lnTo>
                      <a:pt x="248" y="16"/>
                    </a:lnTo>
                    <a:lnTo>
                      <a:pt x="258" y="24"/>
                    </a:lnTo>
                    <a:lnTo>
                      <a:pt x="293" y="36"/>
                    </a:lnTo>
                    <a:lnTo>
                      <a:pt x="313" y="33"/>
                    </a:lnTo>
                    <a:lnTo>
                      <a:pt x="327" y="20"/>
                    </a:lnTo>
                    <a:lnTo>
                      <a:pt x="329" y="1"/>
                    </a:lnTo>
                    <a:lnTo>
                      <a:pt x="340" y="0"/>
                    </a:lnTo>
                    <a:lnTo>
                      <a:pt x="343" y="6"/>
                    </a:lnTo>
                    <a:lnTo>
                      <a:pt x="352" y="13"/>
                    </a:lnTo>
                    <a:lnTo>
                      <a:pt x="351" y="24"/>
                    </a:lnTo>
                    <a:lnTo>
                      <a:pt x="340" y="33"/>
                    </a:lnTo>
                    <a:lnTo>
                      <a:pt x="338" y="49"/>
                    </a:lnTo>
                    <a:lnTo>
                      <a:pt x="334" y="63"/>
                    </a:lnTo>
                    <a:lnTo>
                      <a:pt x="324" y="7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5" name="Hungary"/>
              <p:cNvSpPr>
                <a:spLocks noChangeAspect="1"/>
              </p:cNvSpPr>
              <p:nvPr>
                <p:custDataLst>
                  <p:tags r:id="rId237"/>
                </p:custDataLst>
              </p:nvPr>
            </p:nvSpPr>
            <p:spPr bwMode="gray">
              <a:xfrm>
                <a:off x="4849243" y="3211322"/>
                <a:ext cx="173204" cy="102986"/>
              </a:xfrm>
              <a:custGeom>
                <a:avLst/>
                <a:gdLst/>
                <a:ahLst/>
                <a:cxnLst>
                  <a:cxn ang="0">
                    <a:pos x="71" y="47"/>
                  </a:cxn>
                  <a:cxn ang="0">
                    <a:pos x="128" y="64"/>
                  </a:cxn>
                  <a:cxn ang="0">
                    <a:pos x="147" y="44"/>
                  </a:cxn>
                  <a:cxn ang="0">
                    <a:pos x="194" y="26"/>
                  </a:cxn>
                  <a:cxn ang="0">
                    <a:pos x="225" y="24"/>
                  </a:cxn>
                  <a:cxn ang="0">
                    <a:pos x="240" y="10"/>
                  </a:cxn>
                  <a:cxn ang="0">
                    <a:pos x="273" y="2"/>
                  </a:cxn>
                  <a:cxn ang="0">
                    <a:pos x="300" y="5"/>
                  </a:cxn>
                  <a:cxn ang="0">
                    <a:pos x="329" y="12"/>
                  </a:cxn>
                  <a:cxn ang="0">
                    <a:pos x="356" y="29"/>
                  </a:cxn>
                  <a:cxn ang="0">
                    <a:pos x="369" y="48"/>
                  </a:cxn>
                  <a:cxn ang="0">
                    <a:pos x="357" y="62"/>
                  </a:cxn>
                  <a:cxn ang="0">
                    <a:pos x="335" y="69"/>
                  </a:cxn>
                  <a:cxn ang="0">
                    <a:pos x="324" y="86"/>
                  </a:cxn>
                  <a:cxn ang="0">
                    <a:pos x="316" y="108"/>
                  </a:cxn>
                  <a:cxn ang="0">
                    <a:pos x="298" y="135"/>
                  </a:cxn>
                  <a:cxn ang="0">
                    <a:pos x="284" y="161"/>
                  </a:cxn>
                  <a:cxn ang="0">
                    <a:pos x="260" y="185"/>
                  </a:cxn>
                  <a:cxn ang="0">
                    <a:pos x="225" y="195"/>
                  </a:cxn>
                  <a:cxn ang="0">
                    <a:pos x="209" y="193"/>
                  </a:cxn>
                  <a:cxn ang="0">
                    <a:pos x="181" y="204"/>
                  </a:cxn>
                  <a:cxn ang="0">
                    <a:pos x="160" y="209"/>
                  </a:cxn>
                  <a:cxn ang="0">
                    <a:pos x="133" y="218"/>
                  </a:cxn>
                  <a:cxn ang="0">
                    <a:pos x="102" y="223"/>
                  </a:cxn>
                  <a:cxn ang="0">
                    <a:pos x="76" y="210"/>
                  </a:cxn>
                  <a:cxn ang="0">
                    <a:pos x="50" y="188"/>
                  </a:cxn>
                  <a:cxn ang="0">
                    <a:pos x="28" y="167"/>
                  </a:cxn>
                  <a:cxn ang="0">
                    <a:pos x="15" y="140"/>
                  </a:cxn>
                  <a:cxn ang="0">
                    <a:pos x="0" y="136"/>
                  </a:cxn>
                  <a:cxn ang="0">
                    <a:pos x="21" y="123"/>
                  </a:cxn>
                  <a:cxn ang="0">
                    <a:pos x="20" y="102"/>
                  </a:cxn>
                  <a:cxn ang="0">
                    <a:pos x="22" y="75"/>
                  </a:cxn>
                  <a:cxn ang="0">
                    <a:pos x="53" y="67"/>
                  </a:cxn>
                  <a:cxn ang="0">
                    <a:pos x="58" y="39"/>
                  </a:cxn>
                </a:cxnLst>
                <a:rect l="0" t="0" r="r" b="b"/>
                <a:pathLst>
                  <a:path w="369" h="223">
                    <a:moveTo>
                      <a:pt x="58" y="39"/>
                    </a:moveTo>
                    <a:lnTo>
                      <a:pt x="71" y="47"/>
                    </a:lnTo>
                    <a:lnTo>
                      <a:pt x="95" y="65"/>
                    </a:lnTo>
                    <a:lnTo>
                      <a:pt x="128" y="64"/>
                    </a:lnTo>
                    <a:lnTo>
                      <a:pt x="134" y="64"/>
                    </a:lnTo>
                    <a:lnTo>
                      <a:pt x="147" y="44"/>
                    </a:lnTo>
                    <a:lnTo>
                      <a:pt x="178" y="35"/>
                    </a:lnTo>
                    <a:lnTo>
                      <a:pt x="194" y="26"/>
                    </a:lnTo>
                    <a:lnTo>
                      <a:pt x="211" y="32"/>
                    </a:lnTo>
                    <a:lnTo>
                      <a:pt x="225" y="24"/>
                    </a:lnTo>
                    <a:lnTo>
                      <a:pt x="235" y="22"/>
                    </a:lnTo>
                    <a:lnTo>
                      <a:pt x="240" y="10"/>
                    </a:lnTo>
                    <a:lnTo>
                      <a:pt x="255" y="1"/>
                    </a:lnTo>
                    <a:lnTo>
                      <a:pt x="273" y="2"/>
                    </a:lnTo>
                    <a:lnTo>
                      <a:pt x="285" y="0"/>
                    </a:lnTo>
                    <a:lnTo>
                      <a:pt x="300" y="5"/>
                    </a:lnTo>
                    <a:lnTo>
                      <a:pt x="317" y="15"/>
                    </a:lnTo>
                    <a:lnTo>
                      <a:pt x="329" y="12"/>
                    </a:lnTo>
                    <a:lnTo>
                      <a:pt x="344" y="19"/>
                    </a:lnTo>
                    <a:lnTo>
                      <a:pt x="356" y="29"/>
                    </a:lnTo>
                    <a:lnTo>
                      <a:pt x="365" y="38"/>
                    </a:lnTo>
                    <a:lnTo>
                      <a:pt x="369" y="48"/>
                    </a:lnTo>
                    <a:lnTo>
                      <a:pt x="365" y="55"/>
                    </a:lnTo>
                    <a:lnTo>
                      <a:pt x="357" y="62"/>
                    </a:lnTo>
                    <a:lnTo>
                      <a:pt x="350" y="62"/>
                    </a:lnTo>
                    <a:lnTo>
                      <a:pt x="335" y="69"/>
                    </a:lnTo>
                    <a:lnTo>
                      <a:pt x="326" y="78"/>
                    </a:lnTo>
                    <a:lnTo>
                      <a:pt x="324" y="86"/>
                    </a:lnTo>
                    <a:lnTo>
                      <a:pt x="318" y="97"/>
                    </a:lnTo>
                    <a:lnTo>
                      <a:pt x="316" y="108"/>
                    </a:lnTo>
                    <a:lnTo>
                      <a:pt x="303" y="121"/>
                    </a:lnTo>
                    <a:lnTo>
                      <a:pt x="298" y="135"/>
                    </a:lnTo>
                    <a:lnTo>
                      <a:pt x="291" y="151"/>
                    </a:lnTo>
                    <a:lnTo>
                      <a:pt x="284" y="161"/>
                    </a:lnTo>
                    <a:lnTo>
                      <a:pt x="276" y="178"/>
                    </a:lnTo>
                    <a:lnTo>
                      <a:pt x="260" y="185"/>
                    </a:lnTo>
                    <a:lnTo>
                      <a:pt x="228" y="195"/>
                    </a:lnTo>
                    <a:lnTo>
                      <a:pt x="225" y="195"/>
                    </a:lnTo>
                    <a:lnTo>
                      <a:pt x="221" y="188"/>
                    </a:lnTo>
                    <a:lnTo>
                      <a:pt x="209" y="193"/>
                    </a:lnTo>
                    <a:lnTo>
                      <a:pt x="197" y="193"/>
                    </a:lnTo>
                    <a:lnTo>
                      <a:pt x="181" y="204"/>
                    </a:lnTo>
                    <a:lnTo>
                      <a:pt x="166" y="204"/>
                    </a:lnTo>
                    <a:lnTo>
                      <a:pt x="160" y="209"/>
                    </a:lnTo>
                    <a:lnTo>
                      <a:pt x="145" y="210"/>
                    </a:lnTo>
                    <a:lnTo>
                      <a:pt x="133" y="218"/>
                    </a:lnTo>
                    <a:lnTo>
                      <a:pt x="119" y="222"/>
                    </a:lnTo>
                    <a:lnTo>
                      <a:pt x="102" y="223"/>
                    </a:lnTo>
                    <a:lnTo>
                      <a:pt x="87" y="214"/>
                    </a:lnTo>
                    <a:lnTo>
                      <a:pt x="76" y="210"/>
                    </a:lnTo>
                    <a:lnTo>
                      <a:pt x="65" y="195"/>
                    </a:lnTo>
                    <a:lnTo>
                      <a:pt x="50" y="188"/>
                    </a:lnTo>
                    <a:lnTo>
                      <a:pt x="41" y="172"/>
                    </a:lnTo>
                    <a:lnTo>
                      <a:pt x="28" y="167"/>
                    </a:lnTo>
                    <a:lnTo>
                      <a:pt x="20" y="153"/>
                    </a:lnTo>
                    <a:lnTo>
                      <a:pt x="15" y="140"/>
                    </a:lnTo>
                    <a:lnTo>
                      <a:pt x="7" y="136"/>
                    </a:lnTo>
                    <a:lnTo>
                      <a:pt x="0" y="136"/>
                    </a:lnTo>
                    <a:lnTo>
                      <a:pt x="10" y="125"/>
                    </a:lnTo>
                    <a:lnTo>
                      <a:pt x="21" y="123"/>
                    </a:lnTo>
                    <a:lnTo>
                      <a:pt x="20" y="112"/>
                    </a:lnTo>
                    <a:lnTo>
                      <a:pt x="20" y="102"/>
                    </a:lnTo>
                    <a:lnTo>
                      <a:pt x="28" y="83"/>
                    </a:lnTo>
                    <a:lnTo>
                      <a:pt x="22" y="75"/>
                    </a:lnTo>
                    <a:lnTo>
                      <a:pt x="26" y="67"/>
                    </a:lnTo>
                    <a:lnTo>
                      <a:pt x="53" y="67"/>
                    </a:lnTo>
                    <a:lnTo>
                      <a:pt x="58" y="59"/>
                    </a:lnTo>
                    <a:lnTo>
                      <a:pt x="58" y="3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" name="Poland"/>
              <p:cNvSpPr>
                <a:spLocks noChangeAspect="1"/>
              </p:cNvSpPr>
              <p:nvPr>
                <p:custDataLst>
                  <p:tags r:id="rId238"/>
                </p:custDataLst>
              </p:nvPr>
            </p:nvSpPr>
            <p:spPr bwMode="gray">
              <a:xfrm>
                <a:off x="4797749" y="2949175"/>
                <a:ext cx="255126" cy="241082"/>
              </a:xfrm>
              <a:custGeom>
                <a:avLst/>
                <a:gdLst/>
                <a:ahLst/>
                <a:cxnLst>
                  <a:cxn ang="0">
                    <a:pos x="521" y="323"/>
                  </a:cxn>
                  <a:cxn ang="0">
                    <a:pos x="540" y="357"/>
                  </a:cxn>
                  <a:cxn ang="0">
                    <a:pos x="540" y="397"/>
                  </a:cxn>
                  <a:cxn ang="0">
                    <a:pos x="488" y="444"/>
                  </a:cxn>
                  <a:cxn ang="0">
                    <a:pos x="470" y="509"/>
                  </a:cxn>
                  <a:cxn ang="0">
                    <a:pos x="446" y="506"/>
                  </a:cxn>
                  <a:cxn ang="0">
                    <a:pos x="416" y="483"/>
                  </a:cxn>
                  <a:cxn ang="0">
                    <a:pos x="379" y="488"/>
                  </a:cxn>
                  <a:cxn ang="0">
                    <a:pos x="343" y="487"/>
                  </a:cxn>
                  <a:cxn ang="0">
                    <a:pos x="317" y="498"/>
                  </a:cxn>
                  <a:cxn ang="0">
                    <a:pos x="291" y="473"/>
                  </a:cxn>
                  <a:cxn ang="0">
                    <a:pos x="259" y="475"/>
                  </a:cxn>
                  <a:cxn ang="0">
                    <a:pos x="212" y="433"/>
                  </a:cxn>
                  <a:cxn ang="0">
                    <a:pos x="198" y="412"/>
                  </a:cxn>
                  <a:cxn ang="0">
                    <a:pos x="152" y="407"/>
                  </a:cxn>
                  <a:cxn ang="0">
                    <a:pos x="136" y="418"/>
                  </a:cxn>
                  <a:cxn ang="0">
                    <a:pos x="121" y="386"/>
                  </a:cxn>
                  <a:cxn ang="0">
                    <a:pos x="99" y="370"/>
                  </a:cxn>
                  <a:cxn ang="0">
                    <a:pos x="65" y="357"/>
                  </a:cxn>
                  <a:cxn ang="0">
                    <a:pos x="34" y="363"/>
                  </a:cxn>
                  <a:cxn ang="0">
                    <a:pos x="43" y="316"/>
                  </a:cxn>
                  <a:cxn ang="0">
                    <a:pos x="23" y="269"/>
                  </a:cxn>
                  <a:cxn ang="0">
                    <a:pos x="20" y="233"/>
                  </a:cxn>
                  <a:cxn ang="0">
                    <a:pos x="1" y="190"/>
                  </a:cxn>
                  <a:cxn ang="0">
                    <a:pos x="11" y="158"/>
                  </a:cxn>
                  <a:cxn ang="0">
                    <a:pos x="4" y="111"/>
                  </a:cxn>
                  <a:cxn ang="0">
                    <a:pos x="21" y="105"/>
                  </a:cxn>
                  <a:cxn ang="0">
                    <a:pos x="16" y="86"/>
                  </a:cxn>
                  <a:cxn ang="0">
                    <a:pos x="38" y="74"/>
                  </a:cxn>
                  <a:cxn ang="0">
                    <a:pos x="102" y="53"/>
                  </a:cxn>
                  <a:cxn ang="0">
                    <a:pos x="172" y="9"/>
                  </a:cxn>
                  <a:cxn ang="0">
                    <a:pos x="239" y="3"/>
                  </a:cxn>
                  <a:cxn ang="0">
                    <a:pos x="254" y="21"/>
                  </a:cxn>
                  <a:cxn ang="0">
                    <a:pos x="250" y="50"/>
                  </a:cxn>
                  <a:cxn ang="0">
                    <a:pos x="262" y="45"/>
                  </a:cxn>
                  <a:cxn ang="0">
                    <a:pos x="290" y="42"/>
                  </a:cxn>
                  <a:cxn ang="0">
                    <a:pos x="378" y="52"/>
                  </a:cxn>
                  <a:cxn ang="0">
                    <a:pos x="477" y="42"/>
                  </a:cxn>
                  <a:cxn ang="0">
                    <a:pos x="515" y="74"/>
                  </a:cxn>
                  <a:cxn ang="0">
                    <a:pos x="534" y="163"/>
                  </a:cxn>
                  <a:cxn ang="0">
                    <a:pos x="522" y="212"/>
                  </a:cxn>
                  <a:cxn ang="0">
                    <a:pos x="502" y="245"/>
                  </a:cxn>
                </a:cxnLst>
                <a:rect l="0" t="0" r="r" b="b"/>
                <a:pathLst>
                  <a:path w="545" h="511">
                    <a:moveTo>
                      <a:pt x="513" y="298"/>
                    </a:moveTo>
                    <a:lnTo>
                      <a:pt x="520" y="311"/>
                    </a:lnTo>
                    <a:lnTo>
                      <a:pt x="521" y="323"/>
                    </a:lnTo>
                    <a:lnTo>
                      <a:pt x="528" y="342"/>
                    </a:lnTo>
                    <a:lnTo>
                      <a:pt x="529" y="346"/>
                    </a:lnTo>
                    <a:lnTo>
                      <a:pt x="540" y="357"/>
                    </a:lnTo>
                    <a:lnTo>
                      <a:pt x="539" y="368"/>
                    </a:lnTo>
                    <a:lnTo>
                      <a:pt x="545" y="382"/>
                    </a:lnTo>
                    <a:lnTo>
                      <a:pt x="540" y="397"/>
                    </a:lnTo>
                    <a:lnTo>
                      <a:pt x="522" y="412"/>
                    </a:lnTo>
                    <a:lnTo>
                      <a:pt x="502" y="425"/>
                    </a:lnTo>
                    <a:lnTo>
                      <a:pt x="488" y="444"/>
                    </a:lnTo>
                    <a:lnTo>
                      <a:pt x="470" y="482"/>
                    </a:lnTo>
                    <a:lnTo>
                      <a:pt x="468" y="497"/>
                    </a:lnTo>
                    <a:lnTo>
                      <a:pt x="470" y="509"/>
                    </a:lnTo>
                    <a:lnTo>
                      <a:pt x="461" y="511"/>
                    </a:lnTo>
                    <a:lnTo>
                      <a:pt x="456" y="510"/>
                    </a:lnTo>
                    <a:lnTo>
                      <a:pt x="446" y="506"/>
                    </a:lnTo>
                    <a:lnTo>
                      <a:pt x="435" y="498"/>
                    </a:lnTo>
                    <a:lnTo>
                      <a:pt x="426" y="491"/>
                    </a:lnTo>
                    <a:lnTo>
                      <a:pt x="416" y="483"/>
                    </a:lnTo>
                    <a:lnTo>
                      <a:pt x="403" y="482"/>
                    </a:lnTo>
                    <a:lnTo>
                      <a:pt x="391" y="483"/>
                    </a:lnTo>
                    <a:lnTo>
                      <a:pt x="379" y="488"/>
                    </a:lnTo>
                    <a:lnTo>
                      <a:pt x="372" y="494"/>
                    </a:lnTo>
                    <a:lnTo>
                      <a:pt x="362" y="487"/>
                    </a:lnTo>
                    <a:lnTo>
                      <a:pt x="343" y="487"/>
                    </a:lnTo>
                    <a:lnTo>
                      <a:pt x="334" y="495"/>
                    </a:lnTo>
                    <a:lnTo>
                      <a:pt x="324" y="500"/>
                    </a:lnTo>
                    <a:lnTo>
                      <a:pt x="317" y="498"/>
                    </a:lnTo>
                    <a:lnTo>
                      <a:pt x="309" y="489"/>
                    </a:lnTo>
                    <a:lnTo>
                      <a:pt x="300" y="479"/>
                    </a:lnTo>
                    <a:lnTo>
                      <a:pt x="291" y="473"/>
                    </a:lnTo>
                    <a:lnTo>
                      <a:pt x="281" y="478"/>
                    </a:lnTo>
                    <a:lnTo>
                      <a:pt x="270" y="481"/>
                    </a:lnTo>
                    <a:lnTo>
                      <a:pt x="259" y="475"/>
                    </a:lnTo>
                    <a:lnTo>
                      <a:pt x="241" y="466"/>
                    </a:lnTo>
                    <a:lnTo>
                      <a:pt x="221" y="438"/>
                    </a:lnTo>
                    <a:lnTo>
                      <a:pt x="212" y="433"/>
                    </a:lnTo>
                    <a:lnTo>
                      <a:pt x="207" y="435"/>
                    </a:lnTo>
                    <a:lnTo>
                      <a:pt x="198" y="428"/>
                    </a:lnTo>
                    <a:lnTo>
                      <a:pt x="198" y="412"/>
                    </a:lnTo>
                    <a:lnTo>
                      <a:pt x="178" y="409"/>
                    </a:lnTo>
                    <a:lnTo>
                      <a:pt x="153" y="401"/>
                    </a:lnTo>
                    <a:lnTo>
                      <a:pt x="152" y="407"/>
                    </a:lnTo>
                    <a:lnTo>
                      <a:pt x="155" y="413"/>
                    </a:lnTo>
                    <a:lnTo>
                      <a:pt x="144" y="421"/>
                    </a:lnTo>
                    <a:lnTo>
                      <a:pt x="136" y="418"/>
                    </a:lnTo>
                    <a:lnTo>
                      <a:pt x="117" y="400"/>
                    </a:lnTo>
                    <a:lnTo>
                      <a:pt x="121" y="389"/>
                    </a:lnTo>
                    <a:lnTo>
                      <a:pt x="121" y="386"/>
                    </a:lnTo>
                    <a:lnTo>
                      <a:pt x="120" y="384"/>
                    </a:lnTo>
                    <a:lnTo>
                      <a:pt x="109" y="382"/>
                    </a:lnTo>
                    <a:lnTo>
                      <a:pt x="99" y="370"/>
                    </a:lnTo>
                    <a:lnTo>
                      <a:pt x="79" y="365"/>
                    </a:lnTo>
                    <a:lnTo>
                      <a:pt x="71" y="366"/>
                    </a:lnTo>
                    <a:lnTo>
                      <a:pt x="65" y="357"/>
                    </a:lnTo>
                    <a:lnTo>
                      <a:pt x="55" y="352"/>
                    </a:lnTo>
                    <a:lnTo>
                      <a:pt x="40" y="366"/>
                    </a:lnTo>
                    <a:lnTo>
                      <a:pt x="34" y="363"/>
                    </a:lnTo>
                    <a:lnTo>
                      <a:pt x="38" y="354"/>
                    </a:lnTo>
                    <a:lnTo>
                      <a:pt x="42" y="337"/>
                    </a:lnTo>
                    <a:lnTo>
                      <a:pt x="43" y="316"/>
                    </a:lnTo>
                    <a:lnTo>
                      <a:pt x="42" y="312"/>
                    </a:lnTo>
                    <a:lnTo>
                      <a:pt x="26" y="293"/>
                    </a:lnTo>
                    <a:lnTo>
                      <a:pt x="23" y="269"/>
                    </a:lnTo>
                    <a:lnTo>
                      <a:pt x="23" y="258"/>
                    </a:lnTo>
                    <a:lnTo>
                      <a:pt x="22" y="242"/>
                    </a:lnTo>
                    <a:lnTo>
                      <a:pt x="20" y="233"/>
                    </a:lnTo>
                    <a:lnTo>
                      <a:pt x="17" y="209"/>
                    </a:lnTo>
                    <a:lnTo>
                      <a:pt x="16" y="201"/>
                    </a:lnTo>
                    <a:lnTo>
                      <a:pt x="1" y="190"/>
                    </a:lnTo>
                    <a:lnTo>
                      <a:pt x="0" y="182"/>
                    </a:lnTo>
                    <a:lnTo>
                      <a:pt x="5" y="170"/>
                    </a:lnTo>
                    <a:lnTo>
                      <a:pt x="11" y="158"/>
                    </a:lnTo>
                    <a:lnTo>
                      <a:pt x="12" y="145"/>
                    </a:lnTo>
                    <a:lnTo>
                      <a:pt x="12" y="128"/>
                    </a:lnTo>
                    <a:lnTo>
                      <a:pt x="4" y="111"/>
                    </a:lnTo>
                    <a:lnTo>
                      <a:pt x="1" y="102"/>
                    </a:lnTo>
                    <a:lnTo>
                      <a:pt x="18" y="110"/>
                    </a:lnTo>
                    <a:lnTo>
                      <a:pt x="21" y="105"/>
                    </a:lnTo>
                    <a:lnTo>
                      <a:pt x="21" y="96"/>
                    </a:lnTo>
                    <a:lnTo>
                      <a:pt x="7" y="93"/>
                    </a:lnTo>
                    <a:lnTo>
                      <a:pt x="16" y="86"/>
                    </a:lnTo>
                    <a:lnTo>
                      <a:pt x="26" y="83"/>
                    </a:lnTo>
                    <a:lnTo>
                      <a:pt x="27" y="86"/>
                    </a:lnTo>
                    <a:lnTo>
                      <a:pt x="38" y="74"/>
                    </a:lnTo>
                    <a:lnTo>
                      <a:pt x="51" y="67"/>
                    </a:lnTo>
                    <a:lnTo>
                      <a:pt x="70" y="63"/>
                    </a:lnTo>
                    <a:lnTo>
                      <a:pt x="102" y="53"/>
                    </a:lnTo>
                    <a:lnTo>
                      <a:pt x="134" y="26"/>
                    </a:lnTo>
                    <a:lnTo>
                      <a:pt x="149" y="21"/>
                    </a:lnTo>
                    <a:lnTo>
                      <a:pt x="172" y="9"/>
                    </a:lnTo>
                    <a:lnTo>
                      <a:pt x="215" y="0"/>
                    </a:lnTo>
                    <a:lnTo>
                      <a:pt x="228" y="0"/>
                    </a:lnTo>
                    <a:lnTo>
                      <a:pt x="239" y="3"/>
                    </a:lnTo>
                    <a:lnTo>
                      <a:pt x="248" y="7"/>
                    </a:lnTo>
                    <a:lnTo>
                      <a:pt x="255" y="15"/>
                    </a:lnTo>
                    <a:lnTo>
                      <a:pt x="254" y="21"/>
                    </a:lnTo>
                    <a:lnTo>
                      <a:pt x="236" y="10"/>
                    </a:lnTo>
                    <a:lnTo>
                      <a:pt x="237" y="16"/>
                    </a:lnTo>
                    <a:lnTo>
                      <a:pt x="250" y="50"/>
                    </a:lnTo>
                    <a:lnTo>
                      <a:pt x="257" y="52"/>
                    </a:lnTo>
                    <a:lnTo>
                      <a:pt x="258" y="48"/>
                    </a:lnTo>
                    <a:lnTo>
                      <a:pt x="262" y="45"/>
                    </a:lnTo>
                    <a:lnTo>
                      <a:pt x="266" y="48"/>
                    </a:lnTo>
                    <a:lnTo>
                      <a:pt x="276" y="45"/>
                    </a:lnTo>
                    <a:lnTo>
                      <a:pt x="290" y="42"/>
                    </a:lnTo>
                    <a:lnTo>
                      <a:pt x="300" y="36"/>
                    </a:lnTo>
                    <a:lnTo>
                      <a:pt x="314" y="41"/>
                    </a:lnTo>
                    <a:lnTo>
                      <a:pt x="378" y="52"/>
                    </a:lnTo>
                    <a:lnTo>
                      <a:pt x="426" y="51"/>
                    </a:lnTo>
                    <a:lnTo>
                      <a:pt x="453" y="45"/>
                    </a:lnTo>
                    <a:lnTo>
                      <a:pt x="477" y="42"/>
                    </a:lnTo>
                    <a:lnTo>
                      <a:pt x="491" y="50"/>
                    </a:lnTo>
                    <a:lnTo>
                      <a:pt x="510" y="63"/>
                    </a:lnTo>
                    <a:lnTo>
                      <a:pt x="515" y="74"/>
                    </a:lnTo>
                    <a:lnTo>
                      <a:pt x="515" y="81"/>
                    </a:lnTo>
                    <a:lnTo>
                      <a:pt x="516" y="91"/>
                    </a:lnTo>
                    <a:lnTo>
                      <a:pt x="534" y="163"/>
                    </a:lnTo>
                    <a:lnTo>
                      <a:pt x="534" y="179"/>
                    </a:lnTo>
                    <a:lnTo>
                      <a:pt x="533" y="196"/>
                    </a:lnTo>
                    <a:lnTo>
                      <a:pt x="522" y="212"/>
                    </a:lnTo>
                    <a:lnTo>
                      <a:pt x="507" y="220"/>
                    </a:lnTo>
                    <a:lnTo>
                      <a:pt x="496" y="234"/>
                    </a:lnTo>
                    <a:lnTo>
                      <a:pt x="502" y="245"/>
                    </a:lnTo>
                    <a:lnTo>
                      <a:pt x="517" y="257"/>
                    </a:lnTo>
                    <a:lnTo>
                      <a:pt x="513" y="29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" name="Latvia"/>
              <p:cNvSpPr>
                <a:spLocks noChangeAspect="1"/>
              </p:cNvSpPr>
              <p:nvPr>
                <p:custDataLst>
                  <p:tags r:id="rId239"/>
                </p:custDataLst>
              </p:nvPr>
            </p:nvSpPr>
            <p:spPr bwMode="gray">
              <a:xfrm>
                <a:off x="4973295" y="2801717"/>
                <a:ext cx="189589" cy="112349"/>
              </a:xfrm>
              <a:custGeom>
                <a:avLst/>
                <a:gdLst/>
                <a:ahLst/>
                <a:cxnLst>
                  <a:cxn ang="0">
                    <a:pos x="0" y="184"/>
                  </a:cxn>
                  <a:cxn ang="0">
                    <a:pos x="12" y="118"/>
                  </a:cxn>
                  <a:cxn ang="0">
                    <a:pos x="24" y="93"/>
                  </a:cxn>
                  <a:cxn ang="0">
                    <a:pos x="33" y="64"/>
                  </a:cxn>
                  <a:cxn ang="0">
                    <a:pos x="51" y="44"/>
                  </a:cxn>
                  <a:cxn ang="0">
                    <a:pos x="86" y="33"/>
                  </a:cxn>
                  <a:cxn ang="0">
                    <a:pos x="113" y="68"/>
                  </a:cxn>
                  <a:cxn ang="0">
                    <a:pos x="119" y="86"/>
                  </a:cxn>
                  <a:cxn ang="0">
                    <a:pos x="125" y="92"/>
                  </a:cxn>
                  <a:cxn ang="0">
                    <a:pos x="147" y="108"/>
                  </a:cxn>
                  <a:cxn ang="0">
                    <a:pos x="169" y="102"/>
                  </a:cxn>
                  <a:cxn ang="0">
                    <a:pos x="174" y="113"/>
                  </a:cxn>
                  <a:cxn ang="0">
                    <a:pos x="181" y="92"/>
                  </a:cxn>
                  <a:cxn ang="0">
                    <a:pos x="185" y="21"/>
                  </a:cxn>
                  <a:cxn ang="0">
                    <a:pos x="200" y="14"/>
                  </a:cxn>
                  <a:cxn ang="0">
                    <a:pos x="239" y="0"/>
                  </a:cxn>
                  <a:cxn ang="0">
                    <a:pos x="269" y="15"/>
                  </a:cxn>
                  <a:cxn ang="0">
                    <a:pos x="288" y="30"/>
                  </a:cxn>
                  <a:cxn ang="0">
                    <a:pos x="318" y="49"/>
                  </a:cxn>
                  <a:cxn ang="0">
                    <a:pos x="341" y="44"/>
                  </a:cxn>
                  <a:cxn ang="0">
                    <a:pos x="359" y="49"/>
                  </a:cxn>
                  <a:cxn ang="0">
                    <a:pos x="368" y="63"/>
                  </a:cxn>
                  <a:cxn ang="0">
                    <a:pos x="379" y="74"/>
                  </a:cxn>
                  <a:cxn ang="0">
                    <a:pos x="375" y="106"/>
                  </a:cxn>
                  <a:cxn ang="0">
                    <a:pos x="380" y="116"/>
                  </a:cxn>
                  <a:cxn ang="0">
                    <a:pos x="387" y="128"/>
                  </a:cxn>
                  <a:cxn ang="0">
                    <a:pos x="402" y="159"/>
                  </a:cxn>
                  <a:cxn ang="0">
                    <a:pos x="406" y="182"/>
                  </a:cxn>
                  <a:cxn ang="0">
                    <a:pos x="395" y="190"/>
                  </a:cxn>
                  <a:cxn ang="0">
                    <a:pos x="375" y="206"/>
                  </a:cxn>
                  <a:cxn ang="0">
                    <a:pos x="363" y="227"/>
                  </a:cxn>
                  <a:cxn ang="0">
                    <a:pos x="340" y="222"/>
                  </a:cxn>
                  <a:cxn ang="0">
                    <a:pos x="331" y="236"/>
                  </a:cxn>
                  <a:cxn ang="0">
                    <a:pos x="316" y="238"/>
                  </a:cxn>
                  <a:cxn ang="0">
                    <a:pos x="303" y="231"/>
                  </a:cxn>
                  <a:cxn ang="0">
                    <a:pos x="258" y="189"/>
                  </a:cxn>
                  <a:cxn ang="0">
                    <a:pos x="234" y="188"/>
                  </a:cxn>
                  <a:cxn ang="0">
                    <a:pos x="218" y="160"/>
                  </a:cxn>
                  <a:cxn ang="0">
                    <a:pos x="200" y="173"/>
                  </a:cxn>
                  <a:cxn ang="0">
                    <a:pos x="153" y="166"/>
                  </a:cxn>
                  <a:cxn ang="0">
                    <a:pos x="129" y="163"/>
                  </a:cxn>
                  <a:cxn ang="0">
                    <a:pos x="114" y="163"/>
                  </a:cxn>
                  <a:cxn ang="0">
                    <a:pos x="98" y="167"/>
                  </a:cxn>
                  <a:cxn ang="0">
                    <a:pos x="83" y="162"/>
                  </a:cxn>
                  <a:cxn ang="0">
                    <a:pos x="44" y="171"/>
                  </a:cxn>
                  <a:cxn ang="0">
                    <a:pos x="20" y="193"/>
                  </a:cxn>
                  <a:cxn ang="0">
                    <a:pos x="3" y="195"/>
                  </a:cxn>
                </a:cxnLst>
                <a:rect l="0" t="0" r="r" b="b"/>
                <a:pathLst>
                  <a:path w="406" h="240">
                    <a:moveTo>
                      <a:pt x="3" y="195"/>
                    </a:moveTo>
                    <a:lnTo>
                      <a:pt x="0" y="184"/>
                    </a:lnTo>
                    <a:lnTo>
                      <a:pt x="4" y="134"/>
                    </a:lnTo>
                    <a:lnTo>
                      <a:pt x="12" y="118"/>
                    </a:lnTo>
                    <a:lnTo>
                      <a:pt x="20" y="107"/>
                    </a:lnTo>
                    <a:lnTo>
                      <a:pt x="24" y="93"/>
                    </a:lnTo>
                    <a:lnTo>
                      <a:pt x="27" y="77"/>
                    </a:lnTo>
                    <a:lnTo>
                      <a:pt x="33" y="64"/>
                    </a:lnTo>
                    <a:lnTo>
                      <a:pt x="43" y="52"/>
                    </a:lnTo>
                    <a:lnTo>
                      <a:pt x="51" y="44"/>
                    </a:lnTo>
                    <a:lnTo>
                      <a:pt x="63" y="42"/>
                    </a:lnTo>
                    <a:lnTo>
                      <a:pt x="86" y="33"/>
                    </a:lnTo>
                    <a:lnTo>
                      <a:pt x="94" y="47"/>
                    </a:lnTo>
                    <a:lnTo>
                      <a:pt x="113" y="68"/>
                    </a:lnTo>
                    <a:lnTo>
                      <a:pt x="115" y="79"/>
                    </a:lnTo>
                    <a:lnTo>
                      <a:pt x="119" y="86"/>
                    </a:lnTo>
                    <a:lnTo>
                      <a:pt x="120" y="75"/>
                    </a:lnTo>
                    <a:lnTo>
                      <a:pt x="125" y="92"/>
                    </a:lnTo>
                    <a:lnTo>
                      <a:pt x="131" y="100"/>
                    </a:lnTo>
                    <a:lnTo>
                      <a:pt x="147" y="108"/>
                    </a:lnTo>
                    <a:lnTo>
                      <a:pt x="153" y="108"/>
                    </a:lnTo>
                    <a:lnTo>
                      <a:pt x="169" y="102"/>
                    </a:lnTo>
                    <a:lnTo>
                      <a:pt x="169" y="107"/>
                    </a:lnTo>
                    <a:lnTo>
                      <a:pt x="174" y="113"/>
                    </a:lnTo>
                    <a:lnTo>
                      <a:pt x="175" y="98"/>
                    </a:lnTo>
                    <a:lnTo>
                      <a:pt x="181" y="92"/>
                    </a:lnTo>
                    <a:lnTo>
                      <a:pt x="185" y="85"/>
                    </a:lnTo>
                    <a:lnTo>
                      <a:pt x="185" y="21"/>
                    </a:lnTo>
                    <a:lnTo>
                      <a:pt x="191" y="15"/>
                    </a:lnTo>
                    <a:lnTo>
                      <a:pt x="200" y="14"/>
                    </a:lnTo>
                    <a:lnTo>
                      <a:pt x="213" y="4"/>
                    </a:lnTo>
                    <a:lnTo>
                      <a:pt x="239" y="0"/>
                    </a:lnTo>
                    <a:lnTo>
                      <a:pt x="255" y="4"/>
                    </a:lnTo>
                    <a:lnTo>
                      <a:pt x="269" y="15"/>
                    </a:lnTo>
                    <a:lnTo>
                      <a:pt x="283" y="20"/>
                    </a:lnTo>
                    <a:lnTo>
                      <a:pt x="288" y="30"/>
                    </a:lnTo>
                    <a:lnTo>
                      <a:pt x="310" y="49"/>
                    </a:lnTo>
                    <a:lnTo>
                      <a:pt x="318" y="49"/>
                    </a:lnTo>
                    <a:lnTo>
                      <a:pt x="326" y="46"/>
                    </a:lnTo>
                    <a:lnTo>
                      <a:pt x="341" y="44"/>
                    </a:lnTo>
                    <a:lnTo>
                      <a:pt x="358" y="48"/>
                    </a:lnTo>
                    <a:lnTo>
                      <a:pt x="359" y="49"/>
                    </a:lnTo>
                    <a:lnTo>
                      <a:pt x="364" y="55"/>
                    </a:lnTo>
                    <a:lnTo>
                      <a:pt x="368" y="63"/>
                    </a:lnTo>
                    <a:lnTo>
                      <a:pt x="375" y="66"/>
                    </a:lnTo>
                    <a:lnTo>
                      <a:pt x="379" y="74"/>
                    </a:lnTo>
                    <a:lnTo>
                      <a:pt x="380" y="82"/>
                    </a:lnTo>
                    <a:lnTo>
                      <a:pt x="375" y="106"/>
                    </a:lnTo>
                    <a:lnTo>
                      <a:pt x="372" y="113"/>
                    </a:lnTo>
                    <a:lnTo>
                      <a:pt x="380" y="116"/>
                    </a:lnTo>
                    <a:lnTo>
                      <a:pt x="387" y="120"/>
                    </a:lnTo>
                    <a:lnTo>
                      <a:pt x="387" y="128"/>
                    </a:lnTo>
                    <a:lnTo>
                      <a:pt x="400" y="150"/>
                    </a:lnTo>
                    <a:lnTo>
                      <a:pt x="402" y="159"/>
                    </a:lnTo>
                    <a:lnTo>
                      <a:pt x="406" y="166"/>
                    </a:lnTo>
                    <a:lnTo>
                      <a:pt x="406" y="182"/>
                    </a:lnTo>
                    <a:lnTo>
                      <a:pt x="405" y="189"/>
                    </a:lnTo>
                    <a:lnTo>
                      <a:pt x="395" y="190"/>
                    </a:lnTo>
                    <a:lnTo>
                      <a:pt x="388" y="194"/>
                    </a:lnTo>
                    <a:lnTo>
                      <a:pt x="375" y="206"/>
                    </a:lnTo>
                    <a:lnTo>
                      <a:pt x="374" y="214"/>
                    </a:lnTo>
                    <a:lnTo>
                      <a:pt x="363" y="227"/>
                    </a:lnTo>
                    <a:lnTo>
                      <a:pt x="356" y="229"/>
                    </a:lnTo>
                    <a:lnTo>
                      <a:pt x="340" y="222"/>
                    </a:lnTo>
                    <a:lnTo>
                      <a:pt x="334" y="227"/>
                    </a:lnTo>
                    <a:lnTo>
                      <a:pt x="331" y="236"/>
                    </a:lnTo>
                    <a:lnTo>
                      <a:pt x="325" y="240"/>
                    </a:lnTo>
                    <a:lnTo>
                      <a:pt x="316" y="238"/>
                    </a:lnTo>
                    <a:lnTo>
                      <a:pt x="310" y="233"/>
                    </a:lnTo>
                    <a:lnTo>
                      <a:pt x="303" y="231"/>
                    </a:lnTo>
                    <a:lnTo>
                      <a:pt x="285" y="208"/>
                    </a:lnTo>
                    <a:lnTo>
                      <a:pt x="258" y="189"/>
                    </a:lnTo>
                    <a:lnTo>
                      <a:pt x="242" y="190"/>
                    </a:lnTo>
                    <a:lnTo>
                      <a:pt x="234" y="188"/>
                    </a:lnTo>
                    <a:lnTo>
                      <a:pt x="224" y="165"/>
                    </a:lnTo>
                    <a:lnTo>
                      <a:pt x="218" y="160"/>
                    </a:lnTo>
                    <a:lnTo>
                      <a:pt x="211" y="162"/>
                    </a:lnTo>
                    <a:lnTo>
                      <a:pt x="200" y="173"/>
                    </a:lnTo>
                    <a:lnTo>
                      <a:pt x="184" y="177"/>
                    </a:lnTo>
                    <a:lnTo>
                      <a:pt x="153" y="166"/>
                    </a:lnTo>
                    <a:lnTo>
                      <a:pt x="146" y="166"/>
                    </a:lnTo>
                    <a:lnTo>
                      <a:pt x="129" y="163"/>
                    </a:lnTo>
                    <a:lnTo>
                      <a:pt x="121" y="166"/>
                    </a:lnTo>
                    <a:lnTo>
                      <a:pt x="114" y="163"/>
                    </a:lnTo>
                    <a:lnTo>
                      <a:pt x="106" y="167"/>
                    </a:lnTo>
                    <a:lnTo>
                      <a:pt x="98" y="167"/>
                    </a:lnTo>
                    <a:lnTo>
                      <a:pt x="92" y="163"/>
                    </a:lnTo>
                    <a:lnTo>
                      <a:pt x="83" y="162"/>
                    </a:lnTo>
                    <a:lnTo>
                      <a:pt x="67" y="163"/>
                    </a:lnTo>
                    <a:lnTo>
                      <a:pt x="44" y="171"/>
                    </a:lnTo>
                    <a:lnTo>
                      <a:pt x="29" y="179"/>
                    </a:lnTo>
                    <a:lnTo>
                      <a:pt x="20" y="193"/>
                    </a:lnTo>
                    <a:lnTo>
                      <a:pt x="13" y="198"/>
                    </a:lnTo>
                    <a:lnTo>
                      <a:pt x="3" y="19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" name="Czech Republic"/>
              <p:cNvSpPr>
                <a:spLocks noChangeAspect="1"/>
              </p:cNvSpPr>
              <p:nvPr>
                <p:custDataLst>
                  <p:tags r:id="rId240"/>
                </p:custDataLst>
              </p:nvPr>
            </p:nvSpPr>
            <p:spPr bwMode="gray">
              <a:xfrm>
                <a:off x="4741575" y="3108336"/>
                <a:ext cx="177886" cy="105327"/>
              </a:xfrm>
              <a:custGeom>
                <a:avLst/>
                <a:gdLst/>
                <a:ahLst/>
                <a:cxnLst>
                  <a:cxn ang="0">
                    <a:pos x="371" y="143"/>
                  </a:cxn>
                  <a:cxn ang="0">
                    <a:pos x="355" y="149"/>
                  </a:cxn>
                  <a:cxn ang="0">
                    <a:pos x="341" y="159"/>
                  </a:cxn>
                  <a:cxn ang="0">
                    <a:pos x="338" y="176"/>
                  </a:cxn>
                  <a:cxn ang="0">
                    <a:pos x="324" y="187"/>
                  </a:cxn>
                  <a:cxn ang="0">
                    <a:pos x="311" y="203"/>
                  </a:cxn>
                  <a:cxn ang="0">
                    <a:pos x="291" y="201"/>
                  </a:cxn>
                  <a:cxn ang="0">
                    <a:pos x="276" y="210"/>
                  </a:cxn>
                  <a:cxn ang="0">
                    <a:pos x="271" y="208"/>
                  </a:cxn>
                  <a:cxn ang="0">
                    <a:pos x="227" y="201"/>
                  </a:cxn>
                  <a:cxn ang="0">
                    <a:pos x="205" y="183"/>
                  </a:cxn>
                  <a:cxn ang="0">
                    <a:pos x="166" y="192"/>
                  </a:cxn>
                  <a:cxn ang="0">
                    <a:pos x="152" y="209"/>
                  </a:cxn>
                  <a:cxn ang="0">
                    <a:pos x="132" y="214"/>
                  </a:cxn>
                  <a:cxn ang="0">
                    <a:pos x="114" y="207"/>
                  </a:cxn>
                  <a:cxn ang="0">
                    <a:pos x="97" y="196"/>
                  </a:cxn>
                  <a:cxn ang="0">
                    <a:pos x="61" y="164"/>
                  </a:cxn>
                  <a:cxn ang="0">
                    <a:pos x="23" y="127"/>
                  </a:cxn>
                  <a:cxn ang="0">
                    <a:pos x="21" y="97"/>
                  </a:cxn>
                  <a:cxn ang="0">
                    <a:pos x="0" y="82"/>
                  </a:cxn>
                  <a:cxn ang="0">
                    <a:pos x="1" y="68"/>
                  </a:cxn>
                  <a:cxn ang="0">
                    <a:pos x="19" y="83"/>
                  </a:cxn>
                  <a:cxn ang="0">
                    <a:pos x="40" y="62"/>
                  </a:cxn>
                  <a:cxn ang="0">
                    <a:pos x="75" y="48"/>
                  </a:cxn>
                  <a:cxn ang="0">
                    <a:pos x="119" y="23"/>
                  </a:cxn>
                  <a:cxn ang="0">
                    <a:pos x="132" y="3"/>
                  </a:cxn>
                  <a:cxn ang="0">
                    <a:pos x="146" y="24"/>
                  </a:cxn>
                  <a:cxn ang="0">
                    <a:pos x="159" y="27"/>
                  </a:cxn>
                  <a:cxn ang="0">
                    <a:pos x="184" y="18"/>
                  </a:cxn>
                  <a:cxn ang="0">
                    <a:pos x="198" y="27"/>
                  </a:cxn>
                  <a:cxn ang="0">
                    <a:pos x="228" y="43"/>
                  </a:cxn>
                  <a:cxn ang="0">
                    <a:pos x="240" y="47"/>
                  </a:cxn>
                  <a:cxn ang="0">
                    <a:pos x="236" y="61"/>
                  </a:cxn>
                  <a:cxn ang="0">
                    <a:pos x="263" y="82"/>
                  </a:cxn>
                  <a:cxn ang="0">
                    <a:pos x="271" y="68"/>
                  </a:cxn>
                  <a:cxn ang="0">
                    <a:pos x="297" y="70"/>
                  </a:cxn>
                  <a:cxn ang="0">
                    <a:pos x="317" y="89"/>
                  </a:cxn>
                  <a:cxn ang="0">
                    <a:pos x="331" y="94"/>
                  </a:cxn>
                  <a:cxn ang="0">
                    <a:pos x="360" y="127"/>
                  </a:cxn>
                </a:cxnLst>
                <a:rect l="0" t="0" r="r" b="b"/>
                <a:pathLst>
                  <a:path w="378" h="222">
                    <a:moveTo>
                      <a:pt x="378" y="136"/>
                    </a:moveTo>
                    <a:lnTo>
                      <a:pt x="371" y="143"/>
                    </a:lnTo>
                    <a:lnTo>
                      <a:pt x="360" y="142"/>
                    </a:lnTo>
                    <a:lnTo>
                      <a:pt x="355" y="149"/>
                    </a:lnTo>
                    <a:lnTo>
                      <a:pt x="350" y="156"/>
                    </a:lnTo>
                    <a:lnTo>
                      <a:pt x="341" y="159"/>
                    </a:lnTo>
                    <a:lnTo>
                      <a:pt x="339" y="164"/>
                    </a:lnTo>
                    <a:lnTo>
                      <a:pt x="338" y="176"/>
                    </a:lnTo>
                    <a:lnTo>
                      <a:pt x="333" y="185"/>
                    </a:lnTo>
                    <a:lnTo>
                      <a:pt x="324" y="187"/>
                    </a:lnTo>
                    <a:lnTo>
                      <a:pt x="324" y="193"/>
                    </a:lnTo>
                    <a:lnTo>
                      <a:pt x="311" y="203"/>
                    </a:lnTo>
                    <a:lnTo>
                      <a:pt x="296" y="206"/>
                    </a:lnTo>
                    <a:lnTo>
                      <a:pt x="291" y="201"/>
                    </a:lnTo>
                    <a:lnTo>
                      <a:pt x="283" y="201"/>
                    </a:lnTo>
                    <a:lnTo>
                      <a:pt x="276" y="210"/>
                    </a:lnTo>
                    <a:lnTo>
                      <a:pt x="271" y="222"/>
                    </a:lnTo>
                    <a:lnTo>
                      <a:pt x="271" y="208"/>
                    </a:lnTo>
                    <a:lnTo>
                      <a:pt x="263" y="197"/>
                    </a:lnTo>
                    <a:lnTo>
                      <a:pt x="227" y="201"/>
                    </a:lnTo>
                    <a:lnTo>
                      <a:pt x="213" y="188"/>
                    </a:lnTo>
                    <a:lnTo>
                      <a:pt x="205" y="183"/>
                    </a:lnTo>
                    <a:lnTo>
                      <a:pt x="172" y="182"/>
                    </a:lnTo>
                    <a:lnTo>
                      <a:pt x="166" y="192"/>
                    </a:lnTo>
                    <a:lnTo>
                      <a:pt x="162" y="201"/>
                    </a:lnTo>
                    <a:lnTo>
                      <a:pt x="152" y="209"/>
                    </a:lnTo>
                    <a:lnTo>
                      <a:pt x="143" y="213"/>
                    </a:lnTo>
                    <a:lnTo>
                      <a:pt x="132" y="214"/>
                    </a:lnTo>
                    <a:lnTo>
                      <a:pt x="121" y="213"/>
                    </a:lnTo>
                    <a:lnTo>
                      <a:pt x="114" y="207"/>
                    </a:lnTo>
                    <a:lnTo>
                      <a:pt x="100" y="202"/>
                    </a:lnTo>
                    <a:lnTo>
                      <a:pt x="97" y="196"/>
                    </a:lnTo>
                    <a:lnTo>
                      <a:pt x="71" y="176"/>
                    </a:lnTo>
                    <a:lnTo>
                      <a:pt x="61" y="164"/>
                    </a:lnTo>
                    <a:lnTo>
                      <a:pt x="33" y="140"/>
                    </a:lnTo>
                    <a:lnTo>
                      <a:pt x="23" y="127"/>
                    </a:lnTo>
                    <a:lnTo>
                      <a:pt x="23" y="110"/>
                    </a:lnTo>
                    <a:lnTo>
                      <a:pt x="21" y="97"/>
                    </a:lnTo>
                    <a:lnTo>
                      <a:pt x="8" y="91"/>
                    </a:lnTo>
                    <a:lnTo>
                      <a:pt x="0" y="82"/>
                    </a:lnTo>
                    <a:lnTo>
                      <a:pt x="0" y="73"/>
                    </a:lnTo>
                    <a:lnTo>
                      <a:pt x="1" y="68"/>
                    </a:lnTo>
                    <a:lnTo>
                      <a:pt x="17" y="83"/>
                    </a:lnTo>
                    <a:lnTo>
                      <a:pt x="19" y="83"/>
                    </a:lnTo>
                    <a:lnTo>
                      <a:pt x="24" y="69"/>
                    </a:lnTo>
                    <a:lnTo>
                      <a:pt x="40" y="62"/>
                    </a:lnTo>
                    <a:lnTo>
                      <a:pt x="57" y="57"/>
                    </a:lnTo>
                    <a:lnTo>
                      <a:pt x="75" y="48"/>
                    </a:lnTo>
                    <a:lnTo>
                      <a:pt x="81" y="36"/>
                    </a:lnTo>
                    <a:lnTo>
                      <a:pt x="119" y="23"/>
                    </a:lnTo>
                    <a:lnTo>
                      <a:pt x="123" y="0"/>
                    </a:lnTo>
                    <a:lnTo>
                      <a:pt x="132" y="3"/>
                    </a:lnTo>
                    <a:lnTo>
                      <a:pt x="140" y="15"/>
                    </a:lnTo>
                    <a:lnTo>
                      <a:pt x="146" y="24"/>
                    </a:lnTo>
                    <a:lnTo>
                      <a:pt x="153" y="24"/>
                    </a:lnTo>
                    <a:lnTo>
                      <a:pt x="159" y="27"/>
                    </a:lnTo>
                    <a:lnTo>
                      <a:pt x="174" y="13"/>
                    </a:lnTo>
                    <a:lnTo>
                      <a:pt x="184" y="18"/>
                    </a:lnTo>
                    <a:lnTo>
                      <a:pt x="190" y="27"/>
                    </a:lnTo>
                    <a:lnTo>
                      <a:pt x="198" y="27"/>
                    </a:lnTo>
                    <a:lnTo>
                      <a:pt x="218" y="31"/>
                    </a:lnTo>
                    <a:lnTo>
                      <a:pt x="228" y="43"/>
                    </a:lnTo>
                    <a:lnTo>
                      <a:pt x="239" y="45"/>
                    </a:lnTo>
                    <a:lnTo>
                      <a:pt x="240" y="47"/>
                    </a:lnTo>
                    <a:lnTo>
                      <a:pt x="240" y="50"/>
                    </a:lnTo>
                    <a:lnTo>
                      <a:pt x="236" y="61"/>
                    </a:lnTo>
                    <a:lnTo>
                      <a:pt x="255" y="79"/>
                    </a:lnTo>
                    <a:lnTo>
                      <a:pt x="263" y="82"/>
                    </a:lnTo>
                    <a:lnTo>
                      <a:pt x="274" y="74"/>
                    </a:lnTo>
                    <a:lnTo>
                      <a:pt x="271" y="68"/>
                    </a:lnTo>
                    <a:lnTo>
                      <a:pt x="272" y="62"/>
                    </a:lnTo>
                    <a:lnTo>
                      <a:pt x="297" y="70"/>
                    </a:lnTo>
                    <a:lnTo>
                      <a:pt x="317" y="73"/>
                    </a:lnTo>
                    <a:lnTo>
                      <a:pt x="317" y="89"/>
                    </a:lnTo>
                    <a:lnTo>
                      <a:pt x="326" y="96"/>
                    </a:lnTo>
                    <a:lnTo>
                      <a:pt x="331" y="94"/>
                    </a:lnTo>
                    <a:lnTo>
                      <a:pt x="340" y="99"/>
                    </a:lnTo>
                    <a:lnTo>
                      <a:pt x="360" y="127"/>
                    </a:lnTo>
                    <a:lnTo>
                      <a:pt x="378" y="13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" name="Bulgaria"/>
              <p:cNvSpPr>
                <a:spLocks noChangeAspect="1"/>
              </p:cNvSpPr>
              <p:nvPr>
                <p:custDataLst>
                  <p:tags r:id="rId241"/>
                </p:custDataLst>
              </p:nvPr>
            </p:nvSpPr>
            <p:spPr bwMode="gray">
              <a:xfrm>
                <a:off x="5010744" y="3372823"/>
                <a:ext cx="161501" cy="100646"/>
              </a:xfrm>
              <a:custGeom>
                <a:avLst/>
                <a:gdLst/>
                <a:ahLst/>
                <a:cxnLst>
                  <a:cxn ang="0">
                    <a:pos x="32" y="208"/>
                  </a:cxn>
                  <a:cxn ang="0">
                    <a:pos x="31" y="192"/>
                  </a:cxn>
                  <a:cxn ang="0">
                    <a:pos x="26" y="163"/>
                  </a:cxn>
                  <a:cxn ang="0">
                    <a:pos x="3" y="143"/>
                  </a:cxn>
                  <a:cxn ang="0">
                    <a:pos x="3" y="118"/>
                  </a:cxn>
                  <a:cxn ang="0">
                    <a:pos x="15" y="94"/>
                  </a:cxn>
                  <a:cxn ang="0">
                    <a:pos x="26" y="82"/>
                  </a:cxn>
                  <a:cxn ang="0">
                    <a:pos x="11" y="66"/>
                  </a:cxn>
                  <a:cxn ang="0">
                    <a:pos x="3" y="51"/>
                  </a:cxn>
                  <a:cxn ang="0">
                    <a:pos x="0" y="29"/>
                  </a:cxn>
                  <a:cxn ang="0">
                    <a:pos x="3" y="8"/>
                  </a:cxn>
                  <a:cxn ang="0">
                    <a:pos x="20" y="0"/>
                  </a:cxn>
                  <a:cxn ang="0">
                    <a:pos x="32" y="4"/>
                  </a:cxn>
                  <a:cxn ang="0">
                    <a:pos x="26" y="19"/>
                  </a:cxn>
                  <a:cxn ang="0">
                    <a:pos x="37" y="27"/>
                  </a:cxn>
                  <a:cxn ang="0">
                    <a:pos x="51" y="27"/>
                  </a:cxn>
                  <a:cxn ang="0">
                    <a:pos x="85" y="31"/>
                  </a:cxn>
                  <a:cxn ang="0">
                    <a:pos x="126" y="32"/>
                  </a:cxn>
                  <a:cxn ang="0">
                    <a:pos x="170" y="40"/>
                  </a:cxn>
                  <a:cxn ang="0">
                    <a:pos x="187" y="35"/>
                  </a:cxn>
                  <a:cxn ang="0">
                    <a:pos x="206" y="23"/>
                  </a:cxn>
                  <a:cxn ang="0">
                    <a:pos x="226" y="13"/>
                  </a:cxn>
                  <a:cxn ang="0">
                    <a:pos x="252" y="4"/>
                  </a:cxn>
                  <a:cxn ang="0">
                    <a:pos x="272" y="5"/>
                  </a:cxn>
                  <a:cxn ang="0">
                    <a:pos x="278" y="10"/>
                  </a:cxn>
                  <a:cxn ang="0">
                    <a:pos x="308" y="19"/>
                  </a:cxn>
                  <a:cxn ang="0">
                    <a:pos x="328" y="32"/>
                  </a:cxn>
                  <a:cxn ang="0">
                    <a:pos x="346" y="31"/>
                  </a:cxn>
                  <a:cxn ang="0">
                    <a:pos x="343" y="47"/>
                  </a:cxn>
                  <a:cxn ang="0">
                    <a:pos x="338" y="58"/>
                  </a:cxn>
                  <a:cxn ang="0">
                    <a:pos x="319" y="63"/>
                  </a:cxn>
                  <a:cxn ang="0">
                    <a:pos x="306" y="78"/>
                  </a:cxn>
                  <a:cxn ang="0">
                    <a:pos x="306" y="107"/>
                  </a:cxn>
                  <a:cxn ang="0">
                    <a:pos x="298" y="110"/>
                  </a:cxn>
                  <a:cxn ang="0">
                    <a:pos x="295" y="116"/>
                  </a:cxn>
                  <a:cxn ang="0">
                    <a:pos x="284" y="126"/>
                  </a:cxn>
                  <a:cxn ang="0">
                    <a:pos x="287" y="129"/>
                  </a:cxn>
                  <a:cxn ang="0">
                    <a:pos x="292" y="131"/>
                  </a:cxn>
                  <a:cxn ang="0">
                    <a:pos x="296" y="138"/>
                  </a:cxn>
                  <a:cxn ang="0">
                    <a:pos x="299" y="148"/>
                  </a:cxn>
                  <a:cxn ang="0">
                    <a:pos x="310" y="163"/>
                  </a:cxn>
                  <a:cxn ang="0">
                    <a:pos x="311" y="169"/>
                  </a:cxn>
                  <a:cxn ang="0">
                    <a:pos x="303" y="167"/>
                  </a:cxn>
                  <a:cxn ang="0">
                    <a:pos x="280" y="171"/>
                  </a:cxn>
                  <a:cxn ang="0">
                    <a:pos x="262" y="161"/>
                  </a:cxn>
                  <a:cxn ang="0">
                    <a:pos x="242" y="169"/>
                  </a:cxn>
                  <a:cxn ang="0">
                    <a:pos x="228" y="171"/>
                  </a:cxn>
                  <a:cxn ang="0">
                    <a:pos x="219" y="179"/>
                  </a:cxn>
                  <a:cxn ang="0">
                    <a:pos x="208" y="180"/>
                  </a:cxn>
                  <a:cxn ang="0">
                    <a:pos x="206" y="199"/>
                  </a:cxn>
                  <a:cxn ang="0">
                    <a:pos x="192" y="212"/>
                  </a:cxn>
                  <a:cxn ang="0">
                    <a:pos x="172" y="215"/>
                  </a:cxn>
                  <a:cxn ang="0">
                    <a:pos x="137" y="203"/>
                  </a:cxn>
                  <a:cxn ang="0">
                    <a:pos x="127" y="195"/>
                  </a:cxn>
                  <a:cxn ang="0">
                    <a:pos x="115" y="195"/>
                  </a:cxn>
                  <a:cxn ang="0">
                    <a:pos x="84" y="204"/>
                  </a:cxn>
                  <a:cxn ang="0">
                    <a:pos x="62" y="204"/>
                  </a:cxn>
                  <a:cxn ang="0">
                    <a:pos x="45" y="208"/>
                  </a:cxn>
                  <a:cxn ang="0">
                    <a:pos x="32" y="208"/>
                  </a:cxn>
                </a:cxnLst>
                <a:rect l="0" t="0" r="r" b="b"/>
                <a:pathLst>
                  <a:path w="346" h="215">
                    <a:moveTo>
                      <a:pt x="32" y="208"/>
                    </a:moveTo>
                    <a:lnTo>
                      <a:pt x="31" y="192"/>
                    </a:lnTo>
                    <a:lnTo>
                      <a:pt x="26" y="163"/>
                    </a:lnTo>
                    <a:lnTo>
                      <a:pt x="3" y="143"/>
                    </a:lnTo>
                    <a:lnTo>
                      <a:pt x="3" y="118"/>
                    </a:lnTo>
                    <a:lnTo>
                      <a:pt x="15" y="94"/>
                    </a:lnTo>
                    <a:lnTo>
                      <a:pt x="26" y="82"/>
                    </a:lnTo>
                    <a:lnTo>
                      <a:pt x="11" y="66"/>
                    </a:lnTo>
                    <a:lnTo>
                      <a:pt x="3" y="51"/>
                    </a:lnTo>
                    <a:lnTo>
                      <a:pt x="0" y="29"/>
                    </a:lnTo>
                    <a:lnTo>
                      <a:pt x="3" y="8"/>
                    </a:lnTo>
                    <a:lnTo>
                      <a:pt x="20" y="0"/>
                    </a:lnTo>
                    <a:lnTo>
                      <a:pt x="32" y="4"/>
                    </a:lnTo>
                    <a:lnTo>
                      <a:pt x="26" y="19"/>
                    </a:lnTo>
                    <a:lnTo>
                      <a:pt x="37" y="27"/>
                    </a:lnTo>
                    <a:lnTo>
                      <a:pt x="51" y="27"/>
                    </a:lnTo>
                    <a:lnTo>
                      <a:pt x="85" y="31"/>
                    </a:lnTo>
                    <a:lnTo>
                      <a:pt x="126" y="32"/>
                    </a:lnTo>
                    <a:lnTo>
                      <a:pt x="170" y="40"/>
                    </a:lnTo>
                    <a:lnTo>
                      <a:pt x="187" y="35"/>
                    </a:lnTo>
                    <a:lnTo>
                      <a:pt x="206" y="23"/>
                    </a:lnTo>
                    <a:lnTo>
                      <a:pt x="226" y="13"/>
                    </a:lnTo>
                    <a:lnTo>
                      <a:pt x="252" y="4"/>
                    </a:lnTo>
                    <a:lnTo>
                      <a:pt x="272" y="5"/>
                    </a:lnTo>
                    <a:lnTo>
                      <a:pt x="278" y="10"/>
                    </a:lnTo>
                    <a:lnTo>
                      <a:pt x="308" y="19"/>
                    </a:lnTo>
                    <a:lnTo>
                      <a:pt x="328" y="32"/>
                    </a:lnTo>
                    <a:lnTo>
                      <a:pt x="346" y="31"/>
                    </a:lnTo>
                    <a:lnTo>
                      <a:pt x="343" y="47"/>
                    </a:lnTo>
                    <a:lnTo>
                      <a:pt x="338" y="58"/>
                    </a:lnTo>
                    <a:lnTo>
                      <a:pt x="319" y="63"/>
                    </a:lnTo>
                    <a:lnTo>
                      <a:pt x="306" y="78"/>
                    </a:lnTo>
                    <a:lnTo>
                      <a:pt x="306" y="107"/>
                    </a:lnTo>
                    <a:lnTo>
                      <a:pt x="298" y="110"/>
                    </a:lnTo>
                    <a:lnTo>
                      <a:pt x="295" y="116"/>
                    </a:lnTo>
                    <a:lnTo>
                      <a:pt x="284" y="126"/>
                    </a:lnTo>
                    <a:lnTo>
                      <a:pt x="287" y="129"/>
                    </a:lnTo>
                    <a:lnTo>
                      <a:pt x="292" y="131"/>
                    </a:lnTo>
                    <a:lnTo>
                      <a:pt x="296" y="138"/>
                    </a:lnTo>
                    <a:lnTo>
                      <a:pt x="299" y="148"/>
                    </a:lnTo>
                    <a:lnTo>
                      <a:pt x="310" y="163"/>
                    </a:lnTo>
                    <a:lnTo>
                      <a:pt x="311" y="169"/>
                    </a:lnTo>
                    <a:lnTo>
                      <a:pt x="303" y="167"/>
                    </a:lnTo>
                    <a:lnTo>
                      <a:pt x="280" y="171"/>
                    </a:lnTo>
                    <a:lnTo>
                      <a:pt x="262" y="161"/>
                    </a:lnTo>
                    <a:lnTo>
                      <a:pt x="242" y="169"/>
                    </a:lnTo>
                    <a:lnTo>
                      <a:pt x="228" y="171"/>
                    </a:lnTo>
                    <a:lnTo>
                      <a:pt x="219" y="179"/>
                    </a:lnTo>
                    <a:lnTo>
                      <a:pt x="208" y="180"/>
                    </a:lnTo>
                    <a:lnTo>
                      <a:pt x="206" y="199"/>
                    </a:lnTo>
                    <a:lnTo>
                      <a:pt x="192" y="212"/>
                    </a:lnTo>
                    <a:lnTo>
                      <a:pt x="172" y="215"/>
                    </a:lnTo>
                    <a:lnTo>
                      <a:pt x="137" y="203"/>
                    </a:lnTo>
                    <a:lnTo>
                      <a:pt x="127" y="195"/>
                    </a:lnTo>
                    <a:lnTo>
                      <a:pt x="115" y="195"/>
                    </a:lnTo>
                    <a:lnTo>
                      <a:pt x="84" y="204"/>
                    </a:lnTo>
                    <a:lnTo>
                      <a:pt x="62" y="204"/>
                    </a:lnTo>
                    <a:lnTo>
                      <a:pt x="45" y="208"/>
                    </a:lnTo>
                    <a:lnTo>
                      <a:pt x="32" y="20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" name="Croatia"/>
              <p:cNvSpPr>
                <a:spLocks noChangeAspect="1"/>
              </p:cNvSpPr>
              <p:nvPr>
                <p:custDataLst>
                  <p:tags r:id="rId242"/>
                </p:custDataLst>
              </p:nvPr>
            </p:nvSpPr>
            <p:spPr bwMode="gray">
              <a:xfrm>
                <a:off x="4783706" y="3286221"/>
                <a:ext cx="149798" cy="128733"/>
              </a:xfrm>
              <a:custGeom>
                <a:avLst/>
                <a:gdLst/>
                <a:ahLst/>
                <a:cxnLst>
                  <a:cxn ang="0">
                    <a:pos x="258" y="62"/>
                  </a:cxn>
                  <a:cxn ang="0">
                    <a:pos x="215" y="50"/>
                  </a:cxn>
                  <a:cxn ang="0">
                    <a:pos x="180" y="12"/>
                  </a:cxn>
                  <a:cxn ang="0">
                    <a:pos x="164" y="7"/>
                  </a:cxn>
                  <a:cxn ang="0">
                    <a:pos x="148" y="3"/>
                  </a:cxn>
                  <a:cxn ang="0">
                    <a:pos x="149" y="15"/>
                  </a:cxn>
                  <a:cxn ang="0">
                    <a:pos x="138" y="19"/>
                  </a:cxn>
                  <a:cxn ang="0">
                    <a:pos x="111" y="34"/>
                  </a:cxn>
                  <a:cxn ang="0">
                    <a:pos x="118" y="56"/>
                  </a:cxn>
                  <a:cxn ang="0">
                    <a:pos x="94" y="73"/>
                  </a:cxn>
                  <a:cxn ang="0">
                    <a:pos x="95" y="95"/>
                  </a:cxn>
                  <a:cxn ang="0">
                    <a:pos x="81" y="93"/>
                  </a:cxn>
                  <a:cxn ang="0">
                    <a:pos x="73" y="90"/>
                  </a:cxn>
                  <a:cxn ang="0">
                    <a:pos x="57" y="76"/>
                  </a:cxn>
                  <a:cxn ang="0">
                    <a:pos x="30" y="92"/>
                  </a:cxn>
                  <a:cxn ang="0">
                    <a:pos x="8" y="93"/>
                  </a:cxn>
                  <a:cxn ang="0">
                    <a:pos x="16" y="135"/>
                  </a:cxn>
                  <a:cxn ang="0">
                    <a:pos x="38" y="116"/>
                  </a:cxn>
                  <a:cxn ang="0">
                    <a:pos x="65" y="113"/>
                  </a:cxn>
                  <a:cxn ang="0">
                    <a:pos x="75" y="128"/>
                  </a:cxn>
                  <a:cxn ang="0">
                    <a:pos x="103" y="175"/>
                  </a:cxn>
                  <a:cxn ang="0">
                    <a:pos x="91" y="187"/>
                  </a:cxn>
                  <a:cxn ang="0">
                    <a:pos x="119" y="216"/>
                  </a:cxn>
                  <a:cxn ang="0">
                    <a:pos x="135" y="238"/>
                  </a:cxn>
                  <a:cxn ang="0">
                    <a:pos x="183" y="245"/>
                  </a:cxn>
                  <a:cxn ang="0">
                    <a:pos x="219" y="276"/>
                  </a:cxn>
                  <a:cxn ang="0">
                    <a:pos x="203" y="237"/>
                  </a:cxn>
                  <a:cxn ang="0">
                    <a:pos x="173" y="211"/>
                  </a:cxn>
                  <a:cxn ang="0">
                    <a:pos x="156" y="190"/>
                  </a:cxn>
                  <a:cxn ang="0">
                    <a:pos x="144" y="170"/>
                  </a:cxn>
                  <a:cxn ang="0">
                    <a:pos x="143" y="157"/>
                  </a:cxn>
                  <a:cxn ang="0">
                    <a:pos x="128" y="137"/>
                  </a:cxn>
                  <a:cxn ang="0">
                    <a:pos x="124" y="126"/>
                  </a:cxn>
                  <a:cxn ang="0">
                    <a:pos x="129" y="97"/>
                  </a:cxn>
                  <a:cxn ang="0">
                    <a:pos x="151" y="116"/>
                  </a:cxn>
                  <a:cxn ang="0">
                    <a:pos x="182" y="101"/>
                  </a:cxn>
                  <a:cxn ang="0">
                    <a:pos x="200" y="105"/>
                  </a:cxn>
                  <a:cxn ang="0">
                    <a:pos x="210" y="106"/>
                  </a:cxn>
                  <a:cxn ang="0">
                    <a:pos x="229" y="106"/>
                  </a:cxn>
                  <a:cxn ang="0">
                    <a:pos x="246" y="106"/>
                  </a:cxn>
                  <a:cxn ang="0">
                    <a:pos x="256" y="113"/>
                  </a:cxn>
                  <a:cxn ang="0">
                    <a:pos x="273" y="115"/>
                  </a:cxn>
                  <a:cxn ang="0">
                    <a:pos x="283" y="111"/>
                  </a:cxn>
                  <a:cxn ang="0">
                    <a:pos x="288" y="125"/>
                  </a:cxn>
                  <a:cxn ang="0">
                    <a:pos x="307" y="125"/>
                  </a:cxn>
                  <a:cxn ang="0">
                    <a:pos x="305" y="109"/>
                  </a:cxn>
                  <a:cxn ang="0">
                    <a:pos x="311" y="100"/>
                  </a:cxn>
                  <a:cxn ang="0">
                    <a:pos x="322" y="100"/>
                  </a:cxn>
                  <a:cxn ang="0">
                    <a:pos x="316" y="98"/>
                  </a:cxn>
                  <a:cxn ang="0">
                    <a:pos x="304" y="93"/>
                  </a:cxn>
                  <a:cxn ang="0">
                    <a:pos x="297" y="89"/>
                  </a:cxn>
                  <a:cxn ang="0">
                    <a:pos x="297" y="83"/>
                  </a:cxn>
                  <a:cxn ang="0">
                    <a:pos x="302" y="79"/>
                  </a:cxn>
                  <a:cxn ang="0">
                    <a:pos x="297" y="74"/>
                  </a:cxn>
                  <a:cxn ang="0">
                    <a:pos x="291" y="73"/>
                  </a:cxn>
                  <a:cxn ang="0">
                    <a:pos x="291" y="63"/>
                  </a:cxn>
                  <a:cxn ang="0">
                    <a:pos x="284" y="50"/>
                  </a:cxn>
                </a:cxnLst>
                <a:rect l="0" t="0" r="r" b="b"/>
                <a:pathLst>
                  <a:path w="322" h="276">
                    <a:moveTo>
                      <a:pt x="284" y="50"/>
                    </a:moveTo>
                    <a:lnTo>
                      <a:pt x="272" y="58"/>
                    </a:lnTo>
                    <a:lnTo>
                      <a:pt x="258" y="62"/>
                    </a:lnTo>
                    <a:lnTo>
                      <a:pt x="241" y="63"/>
                    </a:lnTo>
                    <a:lnTo>
                      <a:pt x="226" y="54"/>
                    </a:lnTo>
                    <a:lnTo>
                      <a:pt x="215" y="50"/>
                    </a:lnTo>
                    <a:lnTo>
                      <a:pt x="204" y="35"/>
                    </a:lnTo>
                    <a:lnTo>
                      <a:pt x="189" y="28"/>
                    </a:lnTo>
                    <a:lnTo>
                      <a:pt x="180" y="12"/>
                    </a:lnTo>
                    <a:lnTo>
                      <a:pt x="167" y="7"/>
                    </a:lnTo>
                    <a:lnTo>
                      <a:pt x="167" y="4"/>
                    </a:lnTo>
                    <a:lnTo>
                      <a:pt x="164" y="7"/>
                    </a:lnTo>
                    <a:lnTo>
                      <a:pt x="155" y="1"/>
                    </a:lnTo>
                    <a:lnTo>
                      <a:pt x="151" y="0"/>
                    </a:lnTo>
                    <a:lnTo>
                      <a:pt x="148" y="3"/>
                    </a:lnTo>
                    <a:lnTo>
                      <a:pt x="148" y="8"/>
                    </a:lnTo>
                    <a:lnTo>
                      <a:pt x="149" y="14"/>
                    </a:lnTo>
                    <a:lnTo>
                      <a:pt x="149" y="15"/>
                    </a:lnTo>
                    <a:lnTo>
                      <a:pt x="145" y="14"/>
                    </a:lnTo>
                    <a:lnTo>
                      <a:pt x="138" y="14"/>
                    </a:lnTo>
                    <a:lnTo>
                      <a:pt x="138" y="19"/>
                    </a:lnTo>
                    <a:lnTo>
                      <a:pt x="134" y="22"/>
                    </a:lnTo>
                    <a:lnTo>
                      <a:pt x="114" y="29"/>
                    </a:lnTo>
                    <a:lnTo>
                      <a:pt x="111" y="34"/>
                    </a:lnTo>
                    <a:lnTo>
                      <a:pt x="112" y="38"/>
                    </a:lnTo>
                    <a:lnTo>
                      <a:pt x="118" y="45"/>
                    </a:lnTo>
                    <a:lnTo>
                      <a:pt x="118" y="56"/>
                    </a:lnTo>
                    <a:lnTo>
                      <a:pt x="113" y="63"/>
                    </a:lnTo>
                    <a:lnTo>
                      <a:pt x="105" y="65"/>
                    </a:lnTo>
                    <a:lnTo>
                      <a:pt x="94" y="73"/>
                    </a:lnTo>
                    <a:lnTo>
                      <a:pt x="97" y="78"/>
                    </a:lnTo>
                    <a:lnTo>
                      <a:pt x="94" y="83"/>
                    </a:lnTo>
                    <a:lnTo>
                      <a:pt x="95" y="95"/>
                    </a:lnTo>
                    <a:lnTo>
                      <a:pt x="90" y="99"/>
                    </a:lnTo>
                    <a:lnTo>
                      <a:pt x="86" y="99"/>
                    </a:lnTo>
                    <a:lnTo>
                      <a:pt x="81" y="93"/>
                    </a:lnTo>
                    <a:lnTo>
                      <a:pt x="78" y="93"/>
                    </a:lnTo>
                    <a:lnTo>
                      <a:pt x="75" y="90"/>
                    </a:lnTo>
                    <a:lnTo>
                      <a:pt x="73" y="90"/>
                    </a:lnTo>
                    <a:lnTo>
                      <a:pt x="73" y="94"/>
                    </a:lnTo>
                    <a:lnTo>
                      <a:pt x="68" y="95"/>
                    </a:lnTo>
                    <a:lnTo>
                      <a:pt x="57" y="76"/>
                    </a:lnTo>
                    <a:lnTo>
                      <a:pt x="54" y="76"/>
                    </a:lnTo>
                    <a:lnTo>
                      <a:pt x="47" y="92"/>
                    </a:lnTo>
                    <a:lnTo>
                      <a:pt x="30" y="92"/>
                    </a:lnTo>
                    <a:lnTo>
                      <a:pt x="24" y="87"/>
                    </a:lnTo>
                    <a:lnTo>
                      <a:pt x="21" y="92"/>
                    </a:lnTo>
                    <a:lnTo>
                      <a:pt x="8" y="93"/>
                    </a:lnTo>
                    <a:lnTo>
                      <a:pt x="0" y="87"/>
                    </a:lnTo>
                    <a:lnTo>
                      <a:pt x="4" y="108"/>
                    </a:lnTo>
                    <a:lnTo>
                      <a:pt x="16" y="135"/>
                    </a:lnTo>
                    <a:lnTo>
                      <a:pt x="21" y="138"/>
                    </a:lnTo>
                    <a:lnTo>
                      <a:pt x="27" y="137"/>
                    </a:lnTo>
                    <a:lnTo>
                      <a:pt x="38" y="116"/>
                    </a:lnTo>
                    <a:lnTo>
                      <a:pt x="44" y="99"/>
                    </a:lnTo>
                    <a:lnTo>
                      <a:pt x="57" y="103"/>
                    </a:lnTo>
                    <a:lnTo>
                      <a:pt x="65" y="113"/>
                    </a:lnTo>
                    <a:lnTo>
                      <a:pt x="68" y="113"/>
                    </a:lnTo>
                    <a:lnTo>
                      <a:pt x="73" y="119"/>
                    </a:lnTo>
                    <a:lnTo>
                      <a:pt x="75" y="128"/>
                    </a:lnTo>
                    <a:lnTo>
                      <a:pt x="75" y="143"/>
                    </a:lnTo>
                    <a:lnTo>
                      <a:pt x="84" y="159"/>
                    </a:lnTo>
                    <a:lnTo>
                      <a:pt x="103" y="175"/>
                    </a:lnTo>
                    <a:lnTo>
                      <a:pt x="94" y="178"/>
                    </a:lnTo>
                    <a:lnTo>
                      <a:pt x="90" y="183"/>
                    </a:lnTo>
                    <a:lnTo>
                      <a:pt x="91" y="187"/>
                    </a:lnTo>
                    <a:lnTo>
                      <a:pt x="102" y="202"/>
                    </a:lnTo>
                    <a:lnTo>
                      <a:pt x="112" y="210"/>
                    </a:lnTo>
                    <a:lnTo>
                      <a:pt x="119" y="216"/>
                    </a:lnTo>
                    <a:lnTo>
                      <a:pt x="129" y="221"/>
                    </a:lnTo>
                    <a:lnTo>
                      <a:pt x="134" y="230"/>
                    </a:lnTo>
                    <a:lnTo>
                      <a:pt x="135" y="238"/>
                    </a:lnTo>
                    <a:lnTo>
                      <a:pt x="154" y="237"/>
                    </a:lnTo>
                    <a:lnTo>
                      <a:pt x="166" y="238"/>
                    </a:lnTo>
                    <a:lnTo>
                      <a:pt x="183" y="245"/>
                    </a:lnTo>
                    <a:lnTo>
                      <a:pt x="198" y="256"/>
                    </a:lnTo>
                    <a:lnTo>
                      <a:pt x="211" y="270"/>
                    </a:lnTo>
                    <a:lnTo>
                      <a:pt x="219" y="276"/>
                    </a:lnTo>
                    <a:lnTo>
                      <a:pt x="226" y="272"/>
                    </a:lnTo>
                    <a:lnTo>
                      <a:pt x="204" y="248"/>
                    </a:lnTo>
                    <a:lnTo>
                      <a:pt x="203" y="237"/>
                    </a:lnTo>
                    <a:lnTo>
                      <a:pt x="198" y="233"/>
                    </a:lnTo>
                    <a:lnTo>
                      <a:pt x="193" y="230"/>
                    </a:lnTo>
                    <a:lnTo>
                      <a:pt x="173" y="211"/>
                    </a:lnTo>
                    <a:lnTo>
                      <a:pt x="172" y="206"/>
                    </a:lnTo>
                    <a:lnTo>
                      <a:pt x="162" y="192"/>
                    </a:lnTo>
                    <a:lnTo>
                      <a:pt x="156" y="190"/>
                    </a:lnTo>
                    <a:lnTo>
                      <a:pt x="148" y="178"/>
                    </a:lnTo>
                    <a:lnTo>
                      <a:pt x="143" y="176"/>
                    </a:lnTo>
                    <a:lnTo>
                      <a:pt x="144" y="170"/>
                    </a:lnTo>
                    <a:lnTo>
                      <a:pt x="146" y="168"/>
                    </a:lnTo>
                    <a:lnTo>
                      <a:pt x="143" y="162"/>
                    </a:lnTo>
                    <a:lnTo>
                      <a:pt x="143" y="157"/>
                    </a:lnTo>
                    <a:lnTo>
                      <a:pt x="137" y="151"/>
                    </a:lnTo>
                    <a:lnTo>
                      <a:pt x="133" y="138"/>
                    </a:lnTo>
                    <a:lnTo>
                      <a:pt x="128" y="137"/>
                    </a:lnTo>
                    <a:lnTo>
                      <a:pt x="121" y="131"/>
                    </a:lnTo>
                    <a:lnTo>
                      <a:pt x="121" y="128"/>
                    </a:lnTo>
                    <a:lnTo>
                      <a:pt x="124" y="126"/>
                    </a:lnTo>
                    <a:lnTo>
                      <a:pt x="123" y="122"/>
                    </a:lnTo>
                    <a:lnTo>
                      <a:pt x="123" y="103"/>
                    </a:lnTo>
                    <a:lnTo>
                      <a:pt x="129" y="97"/>
                    </a:lnTo>
                    <a:lnTo>
                      <a:pt x="138" y="99"/>
                    </a:lnTo>
                    <a:lnTo>
                      <a:pt x="138" y="101"/>
                    </a:lnTo>
                    <a:lnTo>
                      <a:pt x="151" y="116"/>
                    </a:lnTo>
                    <a:lnTo>
                      <a:pt x="155" y="116"/>
                    </a:lnTo>
                    <a:lnTo>
                      <a:pt x="164" y="99"/>
                    </a:lnTo>
                    <a:lnTo>
                      <a:pt x="182" y="101"/>
                    </a:lnTo>
                    <a:lnTo>
                      <a:pt x="186" y="97"/>
                    </a:lnTo>
                    <a:lnTo>
                      <a:pt x="188" y="97"/>
                    </a:lnTo>
                    <a:lnTo>
                      <a:pt x="200" y="105"/>
                    </a:lnTo>
                    <a:lnTo>
                      <a:pt x="204" y="105"/>
                    </a:lnTo>
                    <a:lnTo>
                      <a:pt x="207" y="103"/>
                    </a:lnTo>
                    <a:lnTo>
                      <a:pt x="210" y="106"/>
                    </a:lnTo>
                    <a:lnTo>
                      <a:pt x="225" y="109"/>
                    </a:lnTo>
                    <a:lnTo>
                      <a:pt x="226" y="106"/>
                    </a:lnTo>
                    <a:lnTo>
                      <a:pt x="229" y="106"/>
                    </a:lnTo>
                    <a:lnTo>
                      <a:pt x="237" y="114"/>
                    </a:lnTo>
                    <a:lnTo>
                      <a:pt x="240" y="114"/>
                    </a:lnTo>
                    <a:lnTo>
                      <a:pt x="246" y="106"/>
                    </a:lnTo>
                    <a:lnTo>
                      <a:pt x="250" y="106"/>
                    </a:lnTo>
                    <a:lnTo>
                      <a:pt x="253" y="111"/>
                    </a:lnTo>
                    <a:lnTo>
                      <a:pt x="256" y="113"/>
                    </a:lnTo>
                    <a:lnTo>
                      <a:pt x="258" y="108"/>
                    </a:lnTo>
                    <a:lnTo>
                      <a:pt x="269" y="109"/>
                    </a:lnTo>
                    <a:lnTo>
                      <a:pt x="273" y="115"/>
                    </a:lnTo>
                    <a:lnTo>
                      <a:pt x="275" y="114"/>
                    </a:lnTo>
                    <a:lnTo>
                      <a:pt x="275" y="111"/>
                    </a:lnTo>
                    <a:lnTo>
                      <a:pt x="283" y="111"/>
                    </a:lnTo>
                    <a:lnTo>
                      <a:pt x="289" y="119"/>
                    </a:lnTo>
                    <a:lnTo>
                      <a:pt x="288" y="124"/>
                    </a:lnTo>
                    <a:lnTo>
                      <a:pt x="288" y="125"/>
                    </a:lnTo>
                    <a:lnTo>
                      <a:pt x="294" y="130"/>
                    </a:lnTo>
                    <a:lnTo>
                      <a:pt x="301" y="130"/>
                    </a:lnTo>
                    <a:lnTo>
                      <a:pt x="307" y="125"/>
                    </a:lnTo>
                    <a:lnTo>
                      <a:pt x="309" y="120"/>
                    </a:lnTo>
                    <a:lnTo>
                      <a:pt x="307" y="119"/>
                    </a:lnTo>
                    <a:lnTo>
                      <a:pt x="305" y="109"/>
                    </a:lnTo>
                    <a:lnTo>
                      <a:pt x="307" y="106"/>
                    </a:lnTo>
                    <a:lnTo>
                      <a:pt x="309" y="101"/>
                    </a:lnTo>
                    <a:lnTo>
                      <a:pt x="311" y="100"/>
                    </a:lnTo>
                    <a:lnTo>
                      <a:pt x="315" y="101"/>
                    </a:lnTo>
                    <a:lnTo>
                      <a:pt x="318" y="103"/>
                    </a:lnTo>
                    <a:lnTo>
                      <a:pt x="322" y="100"/>
                    </a:lnTo>
                    <a:lnTo>
                      <a:pt x="322" y="98"/>
                    </a:lnTo>
                    <a:lnTo>
                      <a:pt x="320" y="97"/>
                    </a:lnTo>
                    <a:lnTo>
                      <a:pt x="316" y="98"/>
                    </a:lnTo>
                    <a:lnTo>
                      <a:pt x="312" y="95"/>
                    </a:lnTo>
                    <a:lnTo>
                      <a:pt x="307" y="95"/>
                    </a:lnTo>
                    <a:lnTo>
                      <a:pt x="304" y="93"/>
                    </a:lnTo>
                    <a:lnTo>
                      <a:pt x="302" y="92"/>
                    </a:lnTo>
                    <a:lnTo>
                      <a:pt x="299" y="92"/>
                    </a:lnTo>
                    <a:lnTo>
                      <a:pt x="297" y="89"/>
                    </a:lnTo>
                    <a:lnTo>
                      <a:pt x="297" y="88"/>
                    </a:lnTo>
                    <a:lnTo>
                      <a:pt x="299" y="84"/>
                    </a:lnTo>
                    <a:lnTo>
                      <a:pt x="297" y="83"/>
                    </a:lnTo>
                    <a:lnTo>
                      <a:pt x="299" y="81"/>
                    </a:lnTo>
                    <a:lnTo>
                      <a:pt x="300" y="81"/>
                    </a:lnTo>
                    <a:lnTo>
                      <a:pt x="302" y="79"/>
                    </a:lnTo>
                    <a:lnTo>
                      <a:pt x="302" y="77"/>
                    </a:lnTo>
                    <a:lnTo>
                      <a:pt x="299" y="74"/>
                    </a:lnTo>
                    <a:lnTo>
                      <a:pt x="297" y="74"/>
                    </a:lnTo>
                    <a:lnTo>
                      <a:pt x="295" y="77"/>
                    </a:lnTo>
                    <a:lnTo>
                      <a:pt x="291" y="76"/>
                    </a:lnTo>
                    <a:lnTo>
                      <a:pt x="291" y="73"/>
                    </a:lnTo>
                    <a:lnTo>
                      <a:pt x="294" y="70"/>
                    </a:lnTo>
                    <a:lnTo>
                      <a:pt x="294" y="66"/>
                    </a:lnTo>
                    <a:lnTo>
                      <a:pt x="291" y="63"/>
                    </a:lnTo>
                    <a:lnTo>
                      <a:pt x="293" y="61"/>
                    </a:lnTo>
                    <a:lnTo>
                      <a:pt x="293" y="57"/>
                    </a:lnTo>
                    <a:lnTo>
                      <a:pt x="284" y="5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1" name="Albania"/>
              <p:cNvSpPr>
                <a:spLocks noChangeAspect="1"/>
              </p:cNvSpPr>
              <p:nvPr>
                <p:custDataLst>
                  <p:tags r:id="rId243"/>
                </p:custDataLst>
              </p:nvPr>
            </p:nvSpPr>
            <p:spPr bwMode="gray">
              <a:xfrm>
                <a:off x="4931164" y="3426657"/>
                <a:ext cx="46812" cy="100646"/>
              </a:xfrm>
              <a:custGeom>
                <a:avLst/>
                <a:gdLst/>
                <a:ahLst/>
                <a:cxnLst>
                  <a:cxn ang="0">
                    <a:pos x="48" y="215"/>
                  </a:cxn>
                  <a:cxn ang="0">
                    <a:pos x="39" y="210"/>
                  </a:cxn>
                  <a:cxn ang="0">
                    <a:pos x="38" y="200"/>
                  </a:cxn>
                  <a:cxn ang="0">
                    <a:pos x="31" y="190"/>
                  </a:cxn>
                  <a:cxn ang="0">
                    <a:pos x="13" y="183"/>
                  </a:cxn>
                  <a:cxn ang="0">
                    <a:pos x="4" y="168"/>
                  </a:cxn>
                  <a:cxn ang="0">
                    <a:pos x="0" y="160"/>
                  </a:cxn>
                  <a:cxn ang="0">
                    <a:pos x="7" y="161"/>
                  </a:cxn>
                  <a:cxn ang="0">
                    <a:pos x="7" y="152"/>
                  </a:cxn>
                  <a:cxn ang="0">
                    <a:pos x="4" y="139"/>
                  </a:cxn>
                  <a:cxn ang="0">
                    <a:pos x="7" y="125"/>
                  </a:cxn>
                  <a:cxn ang="0">
                    <a:pos x="8" y="123"/>
                  </a:cxn>
                  <a:cxn ang="0">
                    <a:pos x="8" y="114"/>
                  </a:cxn>
                  <a:cxn ang="0">
                    <a:pos x="10" y="106"/>
                  </a:cxn>
                  <a:cxn ang="0">
                    <a:pos x="6" y="94"/>
                  </a:cxn>
                  <a:cxn ang="0">
                    <a:pos x="15" y="64"/>
                  </a:cxn>
                  <a:cxn ang="0">
                    <a:pos x="10" y="58"/>
                  </a:cxn>
                  <a:cxn ang="0">
                    <a:pos x="2" y="56"/>
                  </a:cxn>
                  <a:cxn ang="0">
                    <a:pos x="7" y="40"/>
                  </a:cxn>
                  <a:cxn ang="0">
                    <a:pos x="5" y="29"/>
                  </a:cxn>
                  <a:cxn ang="0">
                    <a:pos x="10" y="15"/>
                  </a:cxn>
                  <a:cxn ang="0">
                    <a:pos x="17" y="10"/>
                  </a:cxn>
                  <a:cxn ang="0">
                    <a:pos x="23" y="0"/>
                  </a:cxn>
                  <a:cxn ang="0">
                    <a:pos x="31" y="7"/>
                  </a:cxn>
                  <a:cxn ang="0">
                    <a:pos x="45" y="9"/>
                  </a:cxn>
                  <a:cxn ang="0">
                    <a:pos x="51" y="20"/>
                  </a:cxn>
                  <a:cxn ang="0">
                    <a:pos x="61" y="24"/>
                  </a:cxn>
                  <a:cxn ang="0">
                    <a:pos x="74" y="40"/>
                  </a:cxn>
                  <a:cxn ang="0">
                    <a:pos x="69" y="76"/>
                  </a:cxn>
                  <a:cxn ang="0">
                    <a:pos x="69" y="93"/>
                  </a:cxn>
                  <a:cxn ang="0">
                    <a:pos x="77" y="113"/>
                  </a:cxn>
                  <a:cxn ang="0">
                    <a:pos x="94" y="130"/>
                  </a:cxn>
                  <a:cxn ang="0">
                    <a:pos x="97" y="140"/>
                  </a:cxn>
                  <a:cxn ang="0">
                    <a:pos x="97" y="155"/>
                  </a:cxn>
                  <a:cxn ang="0">
                    <a:pos x="83" y="166"/>
                  </a:cxn>
                  <a:cxn ang="0">
                    <a:pos x="75" y="183"/>
                  </a:cxn>
                  <a:cxn ang="0">
                    <a:pos x="65" y="190"/>
                  </a:cxn>
                  <a:cxn ang="0">
                    <a:pos x="63" y="203"/>
                  </a:cxn>
                  <a:cxn ang="0">
                    <a:pos x="58" y="209"/>
                  </a:cxn>
                  <a:cxn ang="0">
                    <a:pos x="49" y="215"/>
                  </a:cxn>
                  <a:cxn ang="0">
                    <a:pos x="48" y="215"/>
                  </a:cxn>
                </a:cxnLst>
                <a:rect l="0" t="0" r="r" b="b"/>
                <a:pathLst>
                  <a:path w="97" h="215">
                    <a:moveTo>
                      <a:pt x="48" y="215"/>
                    </a:moveTo>
                    <a:lnTo>
                      <a:pt x="39" y="210"/>
                    </a:lnTo>
                    <a:lnTo>
                      <a:pt x="38" y="200"/>
                    </a:lnTo>
                    <a:lnTo>
                      <a:pt x="31" y="190"/>
                    </a:lnTo>
                    <a:lnTo>
                      <a:pt x="13" y="183"/>
                    </a:lnTo>
                    <a:lnTo>
                      <a:pt x="4" y="168"/>
                    </a:lnTo>
                    <a:lnTo>
                      <a:pt x="0" y="160"/>
                    </a:lnTo>
                    <a:lnTo>
                      <a:pt x="7" y="161"/>
                    </a:lnTo>
                    <a:lnTo>
                      <a:pt x="7" y="152"/>
                    </a:lnTo>
                    <a:lnTo>
                      <a:pt x="4" y="139"/>
                    </a:lnTo>
                    <a:lnTo>
                      <a:pt x="7" y="125"/>
                    </a:lnTo>
                    <a:lnTo>
                      <a:pt x="8" y="123"/>
                    </a:lnTo>
                    <a:lnTo>
                      <a:pt x="8" y="114"/>
                    </a:lnTo>
                    <a:lnTo>
                      <a:pt x="10" y="106"/>
                    </a:lnTo>
                    <a:lnTo>
                      <a:pt x="6" y="94"/>
                    </a:lnTo>
                    <a:lnTo>
                      <a:pt x="15" y="64"/>
                    </a:lnTo>
                    <a:lnTo>
                      <a:pt x="10" y="58"/>
                    </a:lnTo>
                    <a:lnTo>
                      <a:pt x="2" y="56"/>
                    </a:lnTo>
                    <a:lnTo>
                      <a:pt x="7" y="40"/>
                    </a:lnTo>
                    <a:lnTo>
                      <a:pt x="5" y="29"/>
                    </a:lnTo>
                    <a:lnTo>
                      <a:pt x="10" y="15"/>
                    </a:lnTo>
                    <a:lnTo>
                      <a:pt x="17" y="10"/>
                    </a:lnTo>
                    <a:lnTo>
                      <a:pt x="23" y="0"/>
                    </a:lnTo>
                    <a:lnTo>
                      <a:pt x="31" y="7"/>
                    </a:lnTo>
                    <a:lnTo>
                      <a:pt x="45" y="9"/>
                    </a:lnTo>
                    <a:lnTo>
                      <a:pt x="51" y="20"/>
                    </a:lnTo>
                    <a:lnTo>
                      <a:pt x="61" y="24"/>
                    </a:lnTo>
                    <a:lnTo>
                      <a:pt x="74" y="40"/>
                    </a:lnTo>
                    <a:lnTo>
                      <a:pt x="69" y="76"/>
                    </a:lnTo>
                    <a:lnTo>
                      <a:pt x="69" y="93"/>
                    </a:lnTo>
                    <a:lnTo>
                      <a:pt x="77" y="113"/>
                    </a:lnTo>
                    <a:lnTo>
                      <a:pt x="94" y="130"/>
                    </a:lnTo>
                    <a:lnTo>
                      <a:pt x="97" y="140"/>
                    </a:lnTo>
                    <a:lnTo>
                      <a:pt x="97" y="155"/>
                    </a:lnTo>
                    <a:lnTo>
                      <a:pt x="83" y="166"/>
                    </a:lnTo>
                    <a:lnTo>
                      <a:pt x="75" y="183"/>
                    </a:lnTo>
                    <a:lnTo>
                      <a:pt x="65" y="190"/>
                    </a:lnTo>
                    <a:lnTo>
                      <a:pt x="63" y="203"/>
                    </a:lnTo>
                    <a:lnTo>
                      <a:pt x="58" y="209"/>
                    </a:lnTo>
                    <a:lnTo>
                      <a:pt x="49" y="215"/>
                    </a:lnTo>
                    <a:lnTo>
                      <a:pt x="48" y="21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2" name="Lithuania"/>
              <p:cNvSpPr>
                <a:spLocks noChangeAspect="1"/>
              </p:cNvSpPr>
              <p:nvPr>
                <p:custDataLst>
                  <p:tags r:id="rId244"/>
                </p:custDataLst>
              </p:nvPr>
            </p:nvSpPr>
            <p:spPr bwMode="gray">
              <a:xfrm>
                <a:off x="4975635" y="2876616"/>
                <a:ext cx="147458" cy="112349"/>
              </a:xfrm>
              <a:custGeom>
                <a:avLst/>
                <a:gdLst/>
                <a:ahLst/>
                <a:cxnLst>
                  <a:cxn ang="0">
                    <a:pos x="3" y="57"/>
                  </a:cxn>
                  <a:cxn ang="0">
                    <a:pos x="5" y="78"/>
                  </a:cxn>
                  <a:cxn ang="0">
                    <a:pos x="4" y="64"/>
                  </a:cxn>
                  <a:cxn ang="0">
                    <a:pos x="11" y="94"/>
                  </a:cxn>
                  <a:cxn ang="0">
                    <a:pos x="11" y="110"/>
                  </a:cxn>
                  <a:cxn ang="0">
                    <a:pos x="15" y="118"/>
                  </a:cxn>
                  <a:cxn ang="0">
                    <a:pos x="31" y="120"/>
                  </a:cxn>
                  <a:cxn ang="0">
                    <a:pos x="44" y="127"/>
                  </a:cxn>
                  <a:cxn ang="0">
                    <a:pos x="69" y="134"/>
                  </a:cxn>
                  <a:cxn ang="0">
                    <a:pos x="91" y="136"/>
                  </a:cxn>
                  <a:cxn ang="0">
                    <a:pos x="96" y="174"/>
                  </a:cxn>
                  <a:cxn ang="0">
                    <a:pos x="99" y="201"/>
                  </a:cxn>
                  <a:cxn ang="0">
                    <a:pos x="132" y="222"/>
                  </a:cxn>
                  <a:cxn ang="0">
                    <a:pos x="137" y="240"/>
                  </a:cxn>
                  <a:cxn ang="0">
                    <a:pos x="167" y="240"/>
                  </a:cxn>
                  <a:cxn ang="0">
                    <a:pos x="191" y="239"/>
                  </a:cxn>
                  <a:cxn ang="0">
                    <a:pos x="204" y="238"/>
                  </a:cxn>
                  <a:cxn ang="0">
                    <a:pos x="209" y="222"/>
                  </a:cxn>
                  <a:cxn ang="0">
                    <a:pos x="224" y="220"/>
                  </a:cxn>
                  <a:cxn ang="0">
                    <a:pos x="236" y="209"/>
                  </a:cxn>
                  <a:cxn ang="0">
                    <a:pos x="248" y="218"/>
                  </a:cxn>
                  <a:cxn ang="0">
                    <a:pos x="263" y="220"/>
                  </a:cxn>
                  <a:cxn ang="0">
                    <a:pos x="257" y="205"/>
                  </a:cxn>
                  <a:cxn ang="0">
                    <a:pos x="255" y="190"/>
                  </a:cxn>
                  <a:cxn ang="0">
                    <a:pos x="263" y="168"/>
                  </a:cxn>
                  <a:cxn ang="0">
                    <a:pos x="266" y="151"/>
                  </a:cxn>
                  <a:cxn ang="0">
                    <a:pos x="274" y="140"/>
                  </a:cxn>
                  <a:cxn ang="0">
                    <a:pos x="288" y="132"/>
                  </a:cxn>
                  <a:cxn ang="0">
                    <a:pos x="309" y="129"/>
                  </a:cxn>
                  <a:cxn ang="0">
                    <a:pos x="310" y="107"/>
                  </a:cxn>
                  <a:cxn ang="0">
                    <a:pos x="301" y="99"/>
                  </a:cxn>
                  <a:cxn ang="0">
                    <a:pos x="309" y="87"/>
                  </a:cxn>
                  <a:cxn ang="0">
                    <a:pos x="313" y="80"/>
                  </a:cxn>
                  <a:cxn ang="0">
                    <a:pos x="307" y="73"/>
                  </a:cxn>
                  <a:cxn ang="0">
                    <a:pos x="282" y="48"/>
                  </a:cxn>
                  <a:cxn ang="0">
                    <a:pos x="239" y="30"/>
                  </a:cxn>
                  <a:cxn ang="0">
                    <a:pos x="221" y="5"/>
                  </a:cxn>
                  <a:cxn ang="0">
                    <a:pos x="208" y="2"/>
                  </a:cxn>
                  <a:cxn ang="0">
                    <a:pos x="181" y="17"/>
                  </a:cxn>
                  <a:cxn ang="0">
                    <a:pos x="143" y="6"/>
                  </a:cxn>
                  <a:cxn ang="0">
                    <a:pos x="118" y="6"/>
                  </a:cxn>
                  <a:cxn ang="0">
                    <a:pos x="103" y="7"/>
                  </a:cxn>
                  <a:cxn ang="0">
                    <a:pos x="89" y="3"/>
                  </a:cxn>
                  <a:cxn ang="0">
                    <a:pos x="64" y="3"/>
                  </a:cxn>
                  <a:cxn ang="0">
                    <a:pos x="26" y="19"/>
                  </a:cxn>
                  <a:cxn ang="0">
                    <a:pos x="10" y="38"/>
                  </a:cxn>
                </a:cxnLst>
                <a:rect l="0" t="0" r="r" b="b"/>
                <a:pathLst>
                  <a:path w="317" h="244">
                    <a:moveTo>
                      <a:pt x="0" y="35"/>
                    </a:moveTo>
                    <a:lnTo>
                      <a:pt x="3" y="57"/>
                    </a:lnTo>
                    <a:lnTo>
                      <a:pt x="3" y="71"/>
                    </a:lnTo>
                    <a:lnTo>
                      <a:pt x="5" y="78"/>
                    </a:lnTo>
                    <a:lnTo>
                      <a:pt x="3" y="54"/>
                    </a:lnTo>
                    <a:lnTo>
                      <a:pt x="4" y="64"/>
                    </a:lnTo>
                    <a:lnTo>
                      <a:pt x="6" y="72"/>
                    </a:lnTo>
                    <a:lnTo>
                      <a:pt x="11" y="94"/>
                    </a:lnTo>
                    <a:lnTo>
                      <a:pt x="13" y="102"/>
                    </a:lnTo>
                    <a:lnTo>
                      <a:pt x="11" y="110"/>
                    </a:lnTo>
                    <a:lnTo>
                      <a:pt x="14" y="110"/>
                    </a:lnTo>
                    <a:lnTo>
                      <a:pt x="15" y="118"/>
                    </a:lnTo>
                    <a:lnTo>
                      <a:pt x="25" y="115"/>
                    </a:lnTo>
                    <a:lnTo>
                      <a:pt x="31" y="120"/>
                    </a:lnTo>
                    <a:lnTo>
                      <a:pt x="38" y="123"/>
                    </a:lnTo>
                    <a:lnTo>
                      <a:pt x="44" y="127"/>
                    </a:lnTo>
                    <a:lnTo>
                      <a:pt x="52" y="131"/>
                    </a:lnTo>
                    <a:lnTo>
                      <a:pt x="69" y="134"/>
                    </a:lnTo>
                    <a:lnTo>
                      <a:pt x="85" y="132"/>
                    </a:lnTo>
                    <a:lnTo>
                      <a:pt x="91" y="136"/>
                    </a:lnTo>
                    <a:lnTo>
                      <a:pt x="102" y="159"/>
                    </a:lnTo>
                    <a:lnTo>
                      <a:pt x="96" y="174"/>
                    </a:lnTo>
                    <a:lnTo>
                      <a:pt x="96" y="191"/>
                    </a:lnTo>
                    <a:lnTo>
                      <a:pt x="99" y="201"/>
                    </a:lnTo>
                    <a:lnTo>
                      <a:pt x="113" y="209"/>
                    </a:lnTo>
                    <a:lnTo>
                      <a:pt x="132" y="222"/>
                    </a:lnTo>
                    <a:lnTo>
                      <a:pt x="137" y="233"/>
                    </a:lnTo>
                    <a:lnTo>
                      <a:pt x="137" y="240"/>
                    </a:lnTo>
                    <a:lnTo>
                      <a:pt x="151" y="244"/>
                    </a:lnTo>
                    <a:lnTo>
                      <a:pt x="167" y="240"/>
                    </a:lnTo>
                    <a:lnTo>
                      <a:pt x="183" y="243"/>
                    </a:lnTo>
                    <a:lnTo>
                      <a:pt x="191" y="239"/>
                    </a:lnTo>
                    <a:lnTo>
                      <a:pt x="197" y="234"/>
                    </a:lnTo>
                    <a:lnTo>
                      <a:pt x="204" y="238"/>
                    </a:lnTo>
                    <a:lnTo>
                      <a:pt x="212" y="237"/>
                    </a:lnTo>
                    <a:lnTo>
                      <a:pt x="209" y="222"/>
                    </a:lnTo>
                    <a:lnTo>
                      <a:pt x="215" y="220"/>
                    </a:lnTo>
                    <a:lnTo>
                      <a:pt x="224" y="220"/>
                    </a:lnTo>
                    <a:lnTo>
                      <a:pt x="229" y="213"/>
                    </a:lnTo>
                    <a:lnTo>
                      <a:pt x="236" y="209"/>
                    </a:lnTo>
                    <a:lnTo>
                      <a:pt x="245" y="211"/>
                    </a:lnTo>
                    <a:lnTo>
                      <a:pt x="248" y="218"/>
                    </a:lnTo>
                    <a:lnTo>
                      <a:pt x="256" y="222"/>
                    </a:lnTo>
                    <a:lnTo>
                      <a:pt x="263" y="220"/>
                    </a:lnTo>
                    <a:lnTo>
                      <a:pt x="262" y="211"/>
                    </a:lnTo>
                    <a:lnTo>
                      <a:pt x="257" y="205"/>
                    </a:lnTo>
                    <a:lnTo>
                      <a:pt x="253" y="197"/>
                    </a:lnTo>
                    <a:lnTo>
                      <a:pt x="255" y="190"/>
                    </a:lnTo>
                    <a:lnTo>
                      <a:pt x="263" y="175"/>
                    </a:lnTo>
                    <a:lnTo>
                      <a:pt x="263" y="168"/>
                    </a:lnTo>
                    <a:lnTo>
                      <a:pt x="266" y="159"/>
                    </a:lnTo>
                    <a:lnTo>
                      <a:pt x="266" y="151"/>
                    </a:lnTo>
                    <a:lnTo>
                      <a:pt x="267" y="143"/>
                    </a:lnTo>
                    <a:lnTo>
                      <a:pt x="274" y="140"/>
                    </a:lnTo>
                    <a:lnTo>
                      <a:pt x="283" y="137"/>
                    </a:lnTo>
                    <a:lnTo>
                      <a:pt x="288" y="132"/>
                    </a:lnTo>
                    <a:lnTo>
                      <a:pt x="295" y="129"/>
                    </a:lnTo>
                    <a:lnTo>
                      <a:pt x="309" y="129"/>
                    </a:lnTo>
                    <a:lnTo>
                      <a:pt x="317" y="110"/>
                    </a:lnTo>
                    <a:lnTo>
                      <a:pt x="310" y="107"/>
                    </a:lnTo>
                    <a:lnTo>
                      <a:pt x="301" y="107"/>
                    </a:lnTo>
                    <a:lnTo>
                      <a:pt x="301" y="99"/>
                    </a:lnTo>
                    <a:lnTo>
                      <a:pt x="301" y="91"/>
                    </a:lnTo>
                    <a:lnTo>
                      <a:pt x="309" y="87"/>
                    </a:lnTo>
                    <a:lnTo>
                      <a:pt x="315" y="81"/>
                    </a:lnTo>
                    <a:lnTo>
                      <a:pt x="313" y="80"/>
                    </a:lnTo>
                    <a:lnTo>
                      <a:pt x="313" y="78"/>
                    </a:lnTo>
                    <a:lnTo>
                      <a:pt x="307" y="73"/>
                    </a:lnTo>
                    <a:lnTo>
                      <a:pt x="300" y="71"/>
                    </a:lnTo>
                    <a:lnTo>
                      <a:pt x="282" y="48"/>
                    </a:lnTo>
                    <a:lnTo>
                      <a:pt x="255" y="29"/>
                    </a:lnTo>
                    <a:lnTo>
                      <a:pt x="239" y="30"/>
                    </a:lnTo>
                    <a:lnTo>
                      <a:pt x="231" y="28"/>
                    </a:lnTo>
                    <a:lnTo>
                      <a:pt x="221" y="5"/>
                    </a:lnTo>
                    <a:lnTo>
                      <a:pt x="215" y="0"/>
                    </a:lnTo>
                    <a:lnTo>
                      <a:pt x="208" y="2"/>
                    </a:lnTo>
                    <a:lnTo>
                      <a:pt x="197" y="13"/>
                    </a:lnTo>
                    <a:lnTo>
                      <a:pt x="181" y="17"/>
                    </a:lnTo>
                    <a:lnTo>
                      <a:pt x="150" y="6"/>
                    </a:lnTo>
                    <a:lnTo>
                      <a:pt x="143" y="6"/>
                    </a:lnTo>
                    <a:lnTo>
                      <a:pt x="126" y="3"/>
                    </a:lnTo>
                    <a:lnTo>
                      <a:pt x="118" y="6"/>
                    </a:lnTo>
                    <a:lnTo>
                      <a:pt x="111" y="3"/>
                    </a:lnTo>
                    <a:lnTo>
                      <a:pt x="103" y="7"/>
                    </a:lnTo>
                    <a:lnTo>
                      <a:pt x="95" y="7"/>
                    </a:lnTo>
                    <a:lnTo>
                      <a:pt x="89" y="3"/>
                    </a:lnTo>
                    <a:lnTo>
                      <a:pt x="80" y="2"/>
                    </a:lnTo>
                    <a:lnTo>
                      <a:pt x="64" y="3"/>
                    </a:lnTo>
                    <a:lnTo>
                      <a:pt x="41" y="11"/>
                    </a:lnTo>
                    <a:lnTo>
                      <a:pt x="26" y="19"/>
                    </a:lnTo>
                    <a:lnTo>
                      <a:pt x="17" y="33"/>
                    </a:lnTo>
                    <a:lnTo>
                      <a:pt x="10" y="38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" name="Serbia"/>
              <p:cNvSpPr>
                <a:spLocks noChangeAspect="1"/>
              </p:cNvSpPr>
              <p:nvPr>
                <p:custDataLst>
                  <p:tags r:id="rId245"/>
                </p:custDataLst>
              </p:nvPr>
            </p:nvSpPr>
            <p:spPr bwMode="gray">
              <a:xfrm>
                <a:off x="4910098" y="3297924"/>
                <a:ext cx="112349" cy="156820"/>
              </a:xfrm>
              <a:custGeom>
                <a:avLst/>
                <a:gdLst/>
                <a:ahLst/>
                <a:cxnLst>
                  <a:cxn ang="0">
                    <a:pos x="23" y="33"/>
                  </a:cxn>
                  <a:cxn ang="0">
                    <a:pos x="24" y="42"/>
                  </a:cxn>
                  <a:cxn ang="0">
                    <a:pos x="25" y="49"/>
                  </a:cxn>
                  <a:cxn ang="0">
                    <a:pos x="32" y="49"/>
                  </a:cxn>
                  <a:cxn ang="0">
                    <a:pos x="29" y="53"/>
                  </a:cxn>
                  <a:cxn ang="0">
                    <a:pos x="27" y="60"/>
                  </a:cxn>
                  <a:cxn ang="0">
                    <a:pos x="32" y="64"/>
                  </a:cxn>
                  <a:cxn ang="0">
                    <a:pos x="42" y="67"/>
                  </a:cxn>
                  <a:cxn ang="0">
                    <a:pos x="52" y="70"/>
                  </a:cxn>
                  <a:cxn ang="0">
                    <a:pos x="45" y="73"/>
                  </a:cxn>
                  <a:cxn ang="0">
                    <a:pos x="37" y="78"/>
                  </a:cxn>
                  <a:cxn ang="0">
                    <a:pos x="39" y="92"/>
                  </a:cxn>
                  <a:cxn ang="0">
                    <a:pos x="52" y="100"/>
                  </a:cxn>
                  <a:cxn ang="0">
                    <a:pos x="46" y="115"/>
                  </a:cxn>
                  <a:cxn ang="0">
                    <a:pos x="39" y="130"/>
                  </a:cxn>
                  <a:cxn ang="0">
                    <a:pos x="39" y="145"/>
                  </a:cxn>
                  <a:cxn ang="0">
                    <a:pos x="48" y="146"/>
                  </a:cxn>
                  <a:cxn ang="0">
                    <a:pos x="54" y="156"/>
                  </a:cxn>
                  <a:cxn ang="0">
                    <a:pos x="58" y="159"/>
                  </a:cxn>
                  <a:cxn ang="0">
                    <a:pos x="66" y="166"/>
                  </a:cxn>
                  <a:cxn ang="0">
                    <a:pos x="48" y="167"/>
                  </a:cxn>
                  <a:cxn ang="0">
                    <a:pos x="46" y="171"/>
                  </a:cxn>
                  <a:cxn ang="0">
                    <a:pos x="61" y="188"/>
                  </a:cxn>
                  <a:cxn ang="0">
                    <a:pos x="56" y="199"/>
                  </a:cxn>
                  <a:cxn ang="0">
                    <a:pos x="48" y="201"/>
                  </a:cxn>
                  <a:cxn ang="0">
                    <a:pos x="37" y="205"/>
                  </a:cxn>
                  <a:cxn ang="0">
                    <a:pos x="31" y="202"/>
                  </a:cxn>
                  <a:cxn ang="0">
                    <a:pos x="32" y="210"/>
                  </a:cxn>
                  <a:cxn ang="0">
                    <a:pos x="35" y="223"/>
                  </a:cxn>
                  <a:cxn ang="0">
                    <a:pos x="30" y="223"/>
                  </a:cxn>
                  <a:cxn ang="0">
                    <a:pos x="23" y="217"/>
                  </a:cxn>
                  <a:cxn ang="0">
                    <a:pos x="11" y="232"/>
                  </a:cxn>
                  <a:cxn ang="0">
                    <a:pos x="4" y="242"/>
                  </a:cxn>
                  <a:cxn ang="0">
                    <a:pos x="0" y="254"/>
                  </a:cxn>
                  <a:cxn ang="0">
                    <a:pos x="5" y="265"/>
                  </a:cxn>
                  <a:cxn ang="0">
                    <a:pos x="0" y="285"/>
                  </a:cxn>
                  <a:cxn ang="0">
                    <a:pos x="36" y="314"/>
                  </a:cxn>
                  <a:cxn ang="0">
                    <a:pos x="53" y="315"/>
                  </a:cxn>
                  <a:cxn ang="0">
                    <a:pos x="63" y="285"/>
                  </a:cxn>
                  <a:cxn ang="0">
                    <a:pos x="91" y="284"/>
                  </a:cxn>
                  <a:cxn ang="0">
                    <a:pos x="120" y="315"/>
                  </a:cxn>
                  <a:cxn ang="0">
                    <a:pos x="129" y="314"/>
                  </a:cxn>
                  <a:cxn ang="0">
                    <a:pos x="150" y="301"/>
                  </a:cxn>
                  <a:cxn ang="0">
                    <a:pos x="159" y="303"/>
                  </a:cxn>
                  <a:cxn ang="0">
                    <a:pos x="186" y="298"/>
                  </a:cxn>
                  <a:cxn ang="0">
                    <a:pos x="218" y="302"/>
                  </a:cxn>
                  <a:cxn ang="0">
                    <a:pos x="241" y="241"/>
                  </a:cxn>
                  <a:cxn ang="0">
                    <a:pos x="215" y="188"/>
                  </a:cxn>
                  <a:cxn ang="0">
                    <a:pos x="225" y="157"/>
                  </a:cxn>
                  <a:cxn ang="0">
                    <a:pos x="220" y="119"/>
                  </a:cxn>
                  <a:cxn ang="0">
                    <a:pos x="166" y="105"/>
                  </a:cxn>
                  <a:cxn ang="0">
                    <a:pos x="154" y="76"/>
                  </a:cxn>
                  <a:cxn ang="0">
                    <a:pos x="129" y="42"/>
                  </a:cxn>
                  <a:cxn ang="0">
                    <a:pos x="99" y="11"/>
                  </a:cxn>
                  <a:cxn ang="0">
                    <a:pos x="78" y="5"/>
                  </a:cxn>
                  <a:cxn ang="0">
                    <a:pos x="35" y="16"/>
                  </a:cxn>
                </a:cxnLst>
                <a:rect l="0" t="0" r="r" b="b"/>
                <a:pathLst>
                  <a:path w="241" h="331">
                    <a:moveTo>
                      <a:pt x="14" y="22"/>
                    </a:moveTo>
                    <a:lnTo>
                      <a:pt x="23" y="29"/>
                    </a:lnTo>
                    <a:lnTo>
                      <a:pt x="23" y="33"/>
                    </a:lnTo>
                    <a:lnTo>
                      <a:pt x="21" y="35"/>
                    </a:lnTo>
                    <a:lnTo>
                      <a:pt x="24" y="38"/>
                    </a:lnTo>
                    <a:lnTo>
                      <a:pt x="24" y="42"/>
                    </a:lnTo>
                    <a:lnTo>
                      <a:pt x="21" y="45"/>
                    </a:lnTo>
                    <a:lnTo>
                      <a:pt x="21" y="48"/>
                    </a:lnTo>
                    <a:lnTo>
                      <a:pt x="25" y="49"/>
                    </a:lnTo>
                    <a:lnTo>
                      <a:pt x="27" y="46"/>
                    </a:lnTo>
                    <a:lnTo>
                      <a:pt x="29" y="46"/>
                    </a:lnTo>
                    <a:lnTo>
                      <a:pt x="32" y="49"/>
                    </a:lnTo>
                    <a:lnTo>
                      <a:pt x="32" y="51"/>
                    </a:lnTo>
                    <a:lnTo>
                      <a:pt x="30" y="53"/>
                    </a:lnTo>
                    <a:lnTo>
                      <a:pt x="29" y="53"/>
                    </a:lnTo>
                    <a:lnTo>
                      <a:pt x="27" y="55"/>
                    </a:lnTo>
                    <a:lnTo>
                      <a:pt x="29" y="56"/>
                    </a:lnTo>
                    <a:lnTo>
                      <a:pt x="27" y="60"/>
                    </a:lnTo>
                    <a:lnTo>
                      <a:pt x="27" y="61"/>
                    </a:lnTo>
                    <a:lnTo>
                      <a:pt x="29" y="64"/>
                    </a:lnTo>
                    <a:lnTo>
                      <a:pt x="32" y="64"/>
                    </a:lnTo>
                    <a:lnTo>
                      <a:pt x="34" y="65"/>
                    </a:lnTo>
                    <a:lnTo>
                      <a:pt x="37" y="67"/>
                    </a:lnTo>
                    <a:lnTo>
                      <a:pt x="42" y="67"/>
                    </a:lnTo>
                    <a:lnTo>
                      <a:pt x="46" y="70"/>
                    </a:lnTo>
                    <a:lnTo>
                      <a:pt x="50" y="69"/>
                    </a:lnTo>
                    <a:lnTo>
                      <a:pt x="52" y="70"/>
                    </a:lnTo>
                    <a:lnTo>
                      <a:pt x="52" y="72"/>
                    </a:lnTo>
                    <a:lnTo>
                      <a:pt x="48" y="75"/>
                    </a:lnTo>
                    <a:lnTo>
                      <a:pt x="45" y="73"/>
                    </a:lnTo>
                    <a:lnTo>
                      <a:pt x="41" y="72"/>
                    </a:lnTo>
                    <a:lnTo>
                      <a:pt x="39" y="73"/>
                    </a:lnTo>
                    <a:lnTo>
                      <a:pt x="37" y="78"/>
                    </a:lnTo>
                    <a:lnTo>
                      <a:pt x="35" y="81"/>
                    </a:lnTo>
                    <a:lnTo>
                      <a:pt x="37" y="91"/>
                    </a:lnTo>
                    <a:lnTo>
                      <a:pt x="39" y="92"/>
                    </a:lnTo>
                    <a:lnTo>
                      <a:pt x="37" y="97"/>
                    </a:lnTo>
                    <a:lnTo>
                      <a:pt x="50" y="97"/>
                    </a:lnTo>
                    <a:lnTo>
                      <a:pt x="52" y="100"/>
                    </a:lnTo>
                    <a:lnTo>
                      <a:pt x="51" y="104"/>
                    </a:lnTo>
                    <a:lnTo>
                      <a:pt x="51" y="108"/>
                    </a:lnTo>
                    <a:lnTo>
                      <a:pt x="46" y="115"/>
                    </a:lnTo>
                    <a:lnTo>
                      <a:pt x="41" y="126"/>
                    </a:lnTo>
                    <a:lnTo>
                      <a:pt x="39" y="128"/>
                    </a:lnTo>
                    <a:lnTo>
                      <a:pt x="39" y="130"/>
                    </a:lnTo>
                    <a:lnTo>
                      <a:pt x="40" y="132"/>
                    </a:lnTo>
                    <a:lnTo>
                      <a:pt x="36" y="137"/>
                    </a:lnTo>
                    <a:lnTo>
                      <a:pt x="39" y="145"/>
                    </a:lnTo>
                    <a:lnTo>
                      <a:pt x="42" y="145"/>
                    </a:lnTo>
                    <a:lnTo>
                      <a:pt x="45" y="147"/>
                    </a:lnTo>
                    <a:lnTo>
                      <a:pt x="48" y="146"/>
                    </a:lnTo>
                    <a:lnTo>
                      <a:pt x="50" y="148"/>
                    </a:lnTo>
                    <a:lnTo>
                      <a:pt x="51" y="152"/>
                    </a:lnTo>
                    <a:lnTo>
                      <a:pt x="54" y="156"/>
                    </a:lnTo>
                    <a:lnTo>
                      <a:pt x="58" y="156"/>
                    </a:lnTo>
                    <a:lnTo>
                      <a:pt x="58" y="157"/>
                    </a:lnTo>
                    <a:lnTo>
                      <a:pt x="58" y="159"/>
                    </a:lnTo>
                    <a:lnTo>
                      <a:pt x="63" y="162"/>
                    </a:lnTo>
                    <a:lnTo>
                      <a:pt x="66" y="163"/>
                    </a:lnTo>
                    <a:lnTo>
                      <a:pt x="66" y="166"/>
                    </a:lnTo>
                    <a:lnTo>
                      <a:pt x="62" y="171"/>
                    </a:lnTo>
                    <a:lnTo>
                      <a:pt x="53" y="171"/>
                    </a:lnTo>
                    <a:lnTo>
                      <a:pt x="48" y="167"/>
                    </a:lnTo>
                    <a:lnTo>
                      <a:pt x="46" y="167"/>
                    </a:lnTo>
                    <a:lnTo>
                      <a:pt x="45" y="169"/>
                    </a:lnTo>
                    <a:lnTo>
                      <a:pt x="46" y="171"/>
                    </a:lnTo>
                    <a:lnTo>
                      <a:pt x="52" y="178"/>
                    </a:lnTo>
                    <a:lnTo>
                      <a:pt x="58" y="186"/>
                    </a:lnTo>
                    <a:lnTo>
                      <a:pt x="61" y="188"/>
                    </a:lnTo>
                    <a:lnTo>
                      <a:pt x="59" y="195"/>
                    </a:lnTo>
                    <a:lnTo>
                      <a:pt x="58" y="198"/>
                    </a:lnTo>
                    <a:lnTo>
                      <a:pt x="56" y="199"/>
                    </a:lnTo>
                    <a:lnTo>
                      <a:pt x="53" y="198"/>
                    </a:lnTo>
                    <a:lnTo>
                      <a:pt x="51" y="198"/>
                    </a:lnTo>
                    <a:lnTo>
                      <a:pt x="48" y="201"/>
                    </a:lnTo>
                    <a:lnTo>
                      <a:pt x="43" y="204"/>
                    </a:lnTo>
                    <a:lnTo>
                      <a:pt x="40" y="204"/>
                    </a:lnTo>
                    <a:lnTo>
                      <a:pt x="37" y="205"/>
                    </a:lnTo>
                    <a:lnTo>
                      <a:pt x="35" y="205"/>
                    </a:lnTo>
                    <a:lnTo>
                      <a:pt x="34" y="202"/>
                    </a:lnTo>
                    <a:lnTo>
                      <a:pt x="31" y="202"/>
                    </a:lnTo>
                    <a:lnTo>
                      <a:pt x="27" y="206"/>
                    </a:lnTo>
                    <a:lnTo>
                      <a:pt x="29" y="209"/>
                    </a:lnTo>
                    <a:lnTo>
                      <a:pt x="32" y="210"/>
                    </a:lnTo>
                    <a:lnTo>
                      <a:pt x="34" y="215"/>
                    </a:lnTo>
                    <a:lnTo>
                      <a:pt x="35" y="218"/>
                    </a:lnTo>
                    <a:lnTo>
                      <a:pt x="35" y="223"/>
                    </a:lnTo>
                    <a:lnTo>
                      <a:pt x="34" y="226"/>
                    </a:lnTo>
                    <a:lnTo>
                      <a:pt x="31" y="226"/>
                    </a:lnTo>
                    <a:lnTo>
                      <a:pt x="30" y="223"/>
                    </a:lnTo>
                    <a:lnTo>
                      <a:pt x="29" y="218"/>
                    </a:lnTo>
                    <a:lnTo>
                      <a:pt x="26" y="217"/>
                    </a:lnTo>
                    <a:lnTo>
                      <a:pt x="23" y="217"/>
                    </a:lnTo>
                    <a:lnTo>
                      <a:pt x="14" y="225"/>
                    </a:lnTo>
                    <a:lnTo>
                      <a:pt x="13" y="229"/>
                    </a:lnTo>
                    <a:lnTo>
                      <a:pt x="11" y="232"/>
                    </a:lnTo>
                    <a:lnTo>
                      <a:pt x="11" y="239"/>
                    </a:lnTo>
                    <a:lnTo>
                      <a:pt x="9" y="242"/>
                    </a:lnTo>
                    <a:lnTo>
                      <a:pt x="4" y="242"/>
                    </a:lnTo>
                    <a:lnTo>
                      <a:pt x="2" y="244"/>
                    </a:lnTo>
                    <a:lnTo>
                      <a:pt x="2" y="253"/>
                    </a:lnTo>
                    <a:lnTo>
                      <a:pt x="0" y="254"/>
                    </a:lnTo>
                    <a:lnTo>
                      <a:pt x="0" y="258"/>
                    </a:lnTo>
                    <a:lnTo>
                      <a:pt x="3" y="263"/>
                    </a:lnTo>
                    <a:lnTo>
                      <a:pt x="5" y="265"/>
                    </a:lnTo>
                    <a:lnTo>
                      <a:pt x="5" y="270"/>
                    </a:lnTo>
                    <a:lnTo>
                      <a:pt x="0" y="277"/>
                    </a:lnTo>
                    <a:lnTo>
                      <a:pt x="0" y="285"/>
                    </a:lnTo>
                    <a:lnTo>
                      <a:pt x="16" y="297"/>
                    </a:lnTo>
                    <a:lnTo>
                      <a:pt x="27" y="308"/>
                    </a:lnTo>
                    <a:lnTo>
                      <a:pt x="36" y="314"/>
                    </a:lnTo>
                    <a:lnTo>
                      <a:pt x="42" y="326"/>
                    </a:lnTo>
                    <a:lnTo>
                      <a:pt x="48" y="331"/>
                    </a:lnTo>
                    <a:lnTo>
                      <a:pt x="53" y="315"/>
                    </a:lnTo>
                    <a:lnTo>
                      <a:pt x="51" y="304"/>
                    </a:lnTo>
                    <a:lnTo>
                      <a:pt x="56" y="290"/>
                    </a:lnTo>
                    <a:lnTo>
                      <a:pt x="63" y="285"/>
                    </a:lnTo>
                    <a:lnTo>
                      <a:pt x="69" y="275"/>
                    </a:lnTo>
                    <a:lnTo>
                      <a:pt x="77" y="282"/>
                    </a:lnTo>
                    <a:lnTo>
                      <a:pt x="91" y="284"/>
                    </a:lnTo>
                    <a:lnTo>
                      <a:pt x="97" y="295"/>
                    </a:lnTo>
                    <a:lnTo>
                      <a:pt x="107" y="299"/>
                    </a:lnTo>
                    <a:lnTo>
                      <a:pt x="120" y="315"/>
                    </a:lnTo>
                    <a:lnTo>
                      <a:pt x="121" y="317"/>
                    </a:lnTo>
                    <a:lnTo>
                      <a:pt x="126" y="317"/>
                    </a:lnTo>
                    <a:lnTo>
                      <a:pt x="129" y="314"/>
                    </a:lnTo>
                    <a:lnTo>
                      <a:pt x="129" y="306"/>
                    </a:lnTo>
                    <a:lnTo>
                      <a:pt x="147" y="299"/>
                    </a:lnTo>
                    <a:lnTo>
                      <a:pt x="150" y="301"/>
                    </a:lnTo>
                    <a:lnTo>
                      <a:pt x="156" y="308"/>
                    </a:lnTo>
                    <a:lnTo>
                      <a:pt x="159" y="308"/>
                    </a:lnTo>
                    <a:lnTo>
                      <a:pt x="159" y="303"/>
                    </a:lnTo>
                    <a:lnTo>
                      <a:pt x="166" y="298"/>
                    </a:lnTo>
                    <a:lnTo>
                      <a:pt x="182" y="302"/>
                    </a:lnTo>
                    <a:lnTo>
                      <a:pt x="186" y="298"/>
                    </a:lnTo>
                    <a:lnTo>
                      <a:pt x="201" y="301"/>
                    </a:lnTo>
                    <a:lnTo>
                      <a:pt x="212" y="299"/>
                    </a:lnTo>
                    <a:lnTo>
                      <a:pt x="218" y="302"/>
                    </a:lnTo>
                    <a:lnTo>
                      <a:pt x="218" y="277"/>
                    </a:lnTo>
                    <a:lnTo>
                      <a:pt x="230" y="253"/>
                    </a:lnTo>
                    <a:lnTo>
                      <a:pt x="241" y="241"/>
                    </a:lnTo>
                    <a:lnTo>
                      <a:pt x="226" y="225"/>
                    </a:lnTo>
                    <a:lnTo>
                      <a:pt x="218" y="210"/>
                    </a:lnTo>
                    <a:lnTo>
                      <a:pt x="215" y="188"/>
                    </a:lnTo>
                    <a:lnTo>
                      <a:pt x="218" y="167"/>
                    </a:lnTo>
                    <a:lnTo>
                      <a:pt x="235" y="159"/>
                    </a:lnTo>
                    <a:lnTo>
                      <a:pt x="225" y="157"/>
                    </a:lnTo>
                    <a:lnTo>
                      <a:pt x="218" y="141"/>
                    </a:lnTo>
                    <a:lnTo>
                      <a:pt x="228" y="130"/>
                    </a:lnTo>
                    <a:lnTo>
                      <a:pt x="220" y="119"/>
                    </a:lnTo>
                    <a:lnTo>
                      <a:pt x="209" y="128"/>
                    </a:lnTo>
                    <a:lnTo>
                      <a:pt x="181" y="118"/>
                    </a:lnTo>
                    <a:lnTo>
                      <a:pt x="166" y="105"/>
                    </a:lnTo>
                    <a:lnTo>
                      <a:pt x="165" y="91"/>
                    </a:lnTo>
                    <a:lnTo>
                      <a:pt x="163" y="81"/>
                    </a:lnTo>
                    <a:lnTo>
                      <a:pt x="154" y="76"/>
                    </a:lnTo>
                    <a:lnTo>
                      <a:pt x="143" y="73"/>
                    </a:lnTo>
                    <a:lnTo>
                      <a:pt x="134" y="60"/>
                    </a:lnTo>
                    <a:lnTo>
                      <a:pt x="129" y="42"/>
                    </a:lnTo>
                    <a:lnTo>
                      <a:pt x="124" y="29"/>
                    </a:lnTo>
                    <a:lnTo>
                      <a:pt x="113" y="17"/>
                    </a:lnTo>
                    <a:lnTo>
                      <a:pt x="99" y="11"/>
                    </a:lnTo>
                    <a:lnTo>
                      <a:pt x="94" y="7"/>
                    </a:lnTo>
                    <a:lnTo>
                      <a:pt x="90" y="0"/>
                    </a:lnTo>
                    <a:lnTo>
                      <a:pt x="78" y="5"/>
                    </a:lnTo>
                    <a:lnTo>
                      <a:pt x="66" y="5"/>
                    </a:lnTo>
                    <a:lnTo>
                      <a:pt x="50" y="16"/>
                    </a:lnTo>
                    <a:lnTo>
                      <a:pt x="35" y="16"/>
                    </a:lnTo>
                    <a:lnTo>
                      <a:pt x="29" y="21"/>
                    </a:lnTo>
                    <a:lnTo>
                      <a:pt x="14" y="2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" name="Slovakia"/>
              <p:cNvSpPr>
                <a:spLocks noChangeAspect="1"/>
              </p:cNvSpPr>
              <p:nvPr>
                <p:custDataLst>
                  <p:tags r:id="rId246"/>
                </p:custDataLst>
              </p:nvPr>
            </p:nvSpPr>
            <p:spPr bwMode="gray">
              <a:xfrm>
                <a:off x="4870308" y="3171532"/>
                <a:ext cx="140436" cy="70218"/>
              </a:xfrm>
              <a:custGeom>
                <a:avLst/>
                <a:gdLst/>
                <a:ahLst/>
                <a:cxnLst>
                  <a:cxn ang="0">
                    <a:pos x="285" y="96"/>
                  </a:cxn>
                  <a:cxn ang="0">
                    <a:pos x="273" y="100"/>
                  </a:cxn>
                  <a:cxn ang="0">
                    <a:pos x="256" y="89"/>
                  </a:cxn>
                  <a:cxn ang="0">
                    <a:pos x="241" y="84"/>
                  </a:cxn>
                  <a:cxn ang="0">
                    <a:pos x="229" y="88"/>
                  </a:cxn>
                  <a:cxn ang="0">
                    <a:pos x="211" y="85"/>
                  </a:cxn>
                  <a:cxn ang="0">
                    <a:pos x="196" y="94"/>
                  </a:cxn>
                  <a:cxn ang="0">
                    <a:pos x="191" y="106"/>
                  </a:cxn>
                  <a:cxn ang="0">
                    <a:pos x="181" y="108"/>
                  </a:cxn>
                  <a:cxn ang="0">
                    <a:pos x="167" y="116"/>
                  </a:cxn>
                  <a:cxn ang="0">
                    <a:pos x="150" y="110"/>
                  </a:cxn>
                  <a:cxn ang="0">
                    <a:pos x="134" y="119"/>
                  </a:cxn>
                  <a:cxn ang="0">
                    <a:pos x="103" y="128"/>
                  </a:cxn>
                  <a:cxn ang="0">
                    <a:pos x="90" y="148"/>
                  </a:cxn>
                  <a:cxn ang="0">
                    <a:pos x="84" y="148"/>
                  </a:cxn>
                  <a:cxn ang="0">
                    <a:pos x="51" y="149"/>
                  </a:cxn>
                  <a:cxn ang="0">
                    <a:pos x="27" y="131"/>
                  </a:cxn>
                  <a:cxn ang="0">
                    <a:pos x="12" y="123"/>
                  </a:cxn>
                  <a:cxn ang="0">
                    <a:pos x="6" y="110"/>
                  </a:cxn>
                  <a:cxn ang="0">
                    <a:pos x="0" y="88"/>
                  </a:cxn>
                  <a:cxn ang="0">
                    <a:pos x="5" y="76"/>
                  </a:cxn>
                  <a:cxn ang="0">
                    <a:pos x="12" y="67"/>
                  </a:cxn>
                  <a:cxn ang="0">
                    <a:pos x="20" y="67"/>
                  </a:cxn>
                  <a:cxn ang="0">
                    <a:pos x="25" y="72"/>
                  </a:cxn>
                  <a:cxn ang="0">
                    <a:pos x="40" y="69"/>
                  </a:cxn>
                  <a:cxn ang="0">
                    <a:pos x="53" y="59"/>
                  </a:cxn>
                  <a:cxn ang="0">
                    <a:pos x="53" y="53"/>
                  </a:cxn>
                  <a:cxn ang="0">
                    <a:pos x="62" y="51"/>
                  </a:cxn>
                  <a:cxn ang="0">
                    <a:pos x="67" y="42"/>
                  </a:cxn>
                  <a:cxn ang="0">
                    <a:pos x="68" y="30"/>
                  </a:cxn>
                  <a:cxn ang="0">
                    <a:pos x="70" y="25"/>
                  </a:cxn>
                  <a:cxn ang="0">
                    <a:pos x="79" y="22"/>
                  </a:cxn>
                  <a:cxn ang="0">
                    <a:pos x="84" y="15"/>
                  </a:cxn>
                  <a:cxn ang="0">
                    <a:pos x="89" y="8"/>
                  </a:cxn>
                  <a:cxn ang="0">
                    <a:pos x="100" y="9"/>
                  </a:cxn>
                  <a:cxn ang="0">
                    <a:pos x="107" y="2"/>
                  </a:cxn>
                  <a:cxn ang="0">
                    <a:pos x="118" y="8"/>
                  </a:cxn>
                  <a:cxn ang="0">
                    <a:pos x="129" y="5"/>
                  </a:cxn>
                  <a:cxn ang="0">
                    <a:pos x="139" y="0"/>
                  </a:cxn>
                  <a:cxn ang="0">
                    <a:pos x="148" y="6"/>
                  </a:cxn>
                  <a:cxn ang="0">
                    <a:pos x="157" y="16"/>
                  </a:cxn>
                  <a:cxn ang="0">
                    <a:pos x="165" y="25"/>
                  </a:cxn>
                  <a:cxn ang="0">
                    <a:pos x="172" y="27"/>
                  </a:cxn>
                  <a:cxn ang="0">
                    <a:pos x="182" y="22"/>
                  </a:cxn>
                  <a:cxn ang="0">
                    <a:pos x="191" y="14"/>
                  </a:cxn>
                  <a:cxn ang="0">
                    <a:pos x="210" y="14"/>
                  </a:cxn>
                  <a:cxn ang="0">
                    <a:pos x="220" y="21"/>
                  </a:cxn>
                  <a:cxn ang="0">
                    <a:pos x="227" y="15"/>
                  </a:cxn>
                  <a:cxn ang="0">
                    <a:pos x="239" y="10"/>
                  </a:cxn>
                  <a:cxn ang="0">
                    <a:pos x="251" y="9"/>
                  </a:cxn>
                  <a:cxn ang="0">
                    <a:pos x="264" y="10"/>
                  </a:cxn>
                  <a:cxn ang="0">
                    <a:pos x="274" y="18"/>
                  </a:cxn>
                  <a:cxn ang="0">
                    <a:pos x="283" y="25"/>
                  </a:cxn>
                  <a:cxn ang="0">
                    <a:pos x="294" y="33"/>
                  </a:cxn>
                  <a:cxn ang="0">
                    <a:pos x="304" y="37"/>
                  </a:cxn>
                  <a:cxn ang="0">
                    <a:pos x="302" y="43"/>
                  </a:cxn>
                  <a:cxn ang="0">
                    <a:pos x="291" y="73"/>
                  </a:cxn>
                  <a:cxn ang="0">
                    <a:pos x="285" y="96"/>
                  </a:cxn>
                </a:cxnLst>
                <a:rect l="0" t="0" r="r" b="b"/>
                <a:pathLst>
                  <a:path w="304" h="149">
                    <a:moveTo>
                      <a:pt x="285" y="96"/>
                    </a:moveTo>
                    <a:lnTo>
                      <a:pt x="273" y="100"/>
                    </a:lnTo>
                    <a:lnTo>
                      <a:pt x="256" y="89"/>
                    </a:lnTo>
                    <a:lnTo>
                      <a:pt x="241" y="84"/>
                    </a:lnTo>
                    <a:lnTo>
                      <a:pt x="229" y="88"/>
                    </a:lnTo>
                    <a:lnTo>
                      <a:pt x="211" y="85"/>
                    </a:lnTo>
                    <a:lnTo>
                      <a:pt x="196" y="94"/>
                    </a:lnTo>
                    <a:lnTo>
                      <a:pt x="191" y="106"/>
                    </a:lnTo>
                    <a:lnTo>
                      <a:pt x="181" y="108"/>
                    </a:lnTo>
                    <a:lnTo>
                      <a:pt x="167" y="116"/>
                    </a:lnTo>
                    <a:lnTo>
                      <a:pt x="150" y="110"/>
                    </a:lnTo>
                    <a:lnTo>
                      <a:pt x="134" y="119"/>
                    </a:lnTo>
                    <a:lnTo>
                      <a:pt x="103" y="128"/>
                    </a:lnTo>
                    <a:lnTo>
                      <a:pt x="90" y="148"/>
                    </a:lnTo>
                    <a:lnTo>
                      <a:pt x="84" y="148"/>
                    </a:lnTo>
                    <a:lnTo>
                      <a:pt x="51" y="149"/>
                    </a:lnTo>
                    <a:lnTo>
                      <a:pt x="27" y="131"/>
                    </a:lnTo>
                    <a:lnTo>
                      <a:pt x="12" y="123"/>
                    </a:lnTo>
                    <a:lnTo>
                      <a:pt x="6" y="110"/>
                    </a:lnTo>
                    <a:lnTo>
                      <a:pt x="0" y="88"/>
                    </a:lnTo>
                    <a:lnTo>
                      <a:pt x="5" y="76"/>
                    </a:lnTo>
                    <a:lnTo>
                      <a:pt x="12" y="67"/>
                    </a:lnTo>
                    <a:lnTo>
                      <a:pt x="20" y="67"/>
                    </a:lnTo>
                    <a:lnTo>
                      <a:pt x="25" y="72"/>
                    </a:lnTo>
                    <a:lnTo>
                      <a:pt x="40" y="69"/>
                    </a:lnTo>
                    <a:lnTo>
                      <a:pt x="53" y="59"/>
                    </a:lnTo>
                    <a:lnTo>
                      <a:pt x="53" y="53"/>
                    </a:lnTo>
                    <a:lnTo>
                      <a:pt x="62" y="51"/>
                    </a:lnTo>
                    <a:lnTo>
                      <a:pt x="67" y="42"/>
                    </a:lnTo>
                    <a:lnTo>
                      <a:pt x="68" y="30"/>
                    </a:lnTo>
                    <a:lnTo>
                      <a:pt x="70" y="25"/>
                    </a:lnTo>
                    <a:lnTo>
                      <a:pt x="79" y="22"/>
                    </a:lnTo>
                    <a:lnTo>
                      <a:pt x="84" y="15"/>
                    </a:lnTo>
                    <a:lnTo>
                      <a:pt x="89" y="8"/>
                    </a:lnTo>
                    <a:lnTo>
                      <a:pt x="100" y="9"/>
                    </a:lnTo>
                    <a:lnTo>
                      <a:pt x="107" y="2"/>
                    </a:lnTo>
                    <a:lnTo>
                      <a:pt x="118" y="8"/>
                    </a:lnTo>
                    <a:lnTo>
                      <a:pt x="129" y="5"/>
                    </a:lnTo>
                    <a:lnTo>
                      <a:pt x="139" y="0"/>
                    </a:lnTo>
                    <a:lnTo>
                      <a:pt x="148" y="6"/>
                    </a:lnTo>
                    <a:lnTo>
                      <a:pt x="157" y="16"/>
                    </a:lnTo>
                    <a:lnTo>
                      <a:pt x="165" y="25"/>
                    </a:lnTo>
                    <a:lnTo>
                      <a:pt x="172" y="27"/>
                    </a:lnTo>
                    <a:lnTo>
                      <a:pt x="182" y="22"/>
                    </a:lnTo>
                    <a:lnTo>
                      <a:pt x="191" y="14"/>
                    </a:lnTo>
                    <a:lnTo>
                      <a:pt x="210" y="14"/>
                    </a:lnTo>
                    <a:lnTo>
                      <a:pt x="220" y="21"/>
                    </a:lnTo>
                    <a:lnTo>
                      <a:pt x="227" y="15"/>
                    </a:lnTo>
                    <a:lnTo>
                      <a:pt x="239" y="10"/>
                    </a:lnTo>
                    <a:lnTo>
                      <a:pt x="251" y="9"/>
                    </a:lnTo>
                    <a:lnTo>
                      <a:pt x="264" y="10"/>
                    </a:lnTo>
                    <a:lnTo>
                      <a:pt x="274" y="18"/>
                    </a:lnTo>
                    <a:lnTo>
                      <a:pt x="283" y="25"/>
                    </a:lnTo>
                    <a:lnTo>
                      <a:pt x="294" y="33"/>
                    </a:lnTo>
                    <a:lnTo>
                      <a:pt x="304" y="37"/>
                    </a:lnTo>
                    <a:lnTo>
                      <a:pt x="302" y="43"/>
                    </a:lnTo>
                    <a:lnTo>
                      <a:pt x="291" y="73"/>
                    </a:lnTo>
                    <a:lnTo>
                      <a:pt x="285" y="9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" name="Slovenia"/>
              <p:cNvSpPr>
                <a:spLocks noChangeAspect="1"/>
              </p:cNvSpPr>
              <p:nvPr>
                <p:custDataLst>
                  <p:tags r:id="rId247"/>
                </p:custDataLst>
              </p:nvPr>
            </p:nvSpPr>
            <p:spPr bwMode="gray">
              <a:xfrm>
                <a:off x="4781365" y="3274518"/>
                <a:ext cx="79580" cy="58515"/>
              </a:xfrm>
              <a:custGeom>
                <a:avLst/>
                <a:gdLst/>
                <a:ahLst/>
                <a:cxnLst>
                  <a:cxn ang="0">
                    <a:pos x="136" y="4"/>
                  </a:cxn>
                  <a:cxn ang="0">
                    <a:pos x="117" y="10"/>
                  </a:cxn>
                  <a:cxn ang="0">
                    <a:pos x="108" y="19"/>
                  </a:cxn>
                  <a:cxn ang="0">
                    <a:pos x="75" y="17"/>
                  </a:cxn>
                  <a:cxn ang="0">
                    <a:pos x="58" y="33"/>
                  </a:cxn>
                  <a:cxn ang="0">
                    <a:pos x="14" y="31"/>
                  </a:cxn>
                  <a:cxn ang="0">
                    <a:pos x="0" y="48"/>
                  </a:cxn>
                  <a:cxn ang="0">
                    <a:pos x="2" y="54"/>
                  </a:cxn>
                  <a:cxn ang="0">
                    <a:pos x="5" y="60"/>
                  </a:cxn>
                  <a:cxn ang="0">
                    <a:pos x="9" y="74"/>
                  </a:cxn>
                  <a:cxn ang="0">
                    <a:pos x="11" y="85"/>
                  </a:cxn>
                  <a:cxn ang="0">
                    <a:pos x="21" y="94"/>
                  </a:cxn>
                  <a:cxn ang="0">
                    <a:pos x="27" y="98"/>
                  </a:cxn>
                  <a:cxn ang="0">
                    <a:pos x="22" y="106"/>
                  </a:cxn>
                  <a:cxn ang="0">
                    <a:pos x="12" y="106"/>
                  </a:cxn>
                  <a:cxn ang="0">
                    <a:pos x="14" y="117"/>
                  </a:cxn>
                  <a:cxn ang="0">
                    <a:pos x="30" y="111"/>
                  </a:cxn>
                  <a:cxn ang="0">
                    <a:pos x="53" y="116"/>
                  </a:cxn>
                  <a:cxn ang="0">
                    <a:pos x="63" y="100"/>
                  </a:cxn>
                  <a:cxn ang="0">
                    <a:pos x="79" y="118"/>
                  </a:cxn>
                  <a:cxn ang="0">
                    <a:pos x="81" y="114"/>
                  </a:cxn>
                  <a:cxn ang="0">
                    <a:pos x="87" y="117"/>
                  </a:cxn>
                  <a:cxn ang="0">
                    <a:pos x="96" y="123"/>
                  </a:cxn>
                  <a:cxn ang="0">
                    <a:pos x="100" y="107"/>
                  </a:cxn>
                  <a:cxn ang="0">
                    <a:pos x="100" y="97"/>
                  </a:cxn>
                  <a:cxn ang="0">
                    <a:pos x="119" y="87"/>
                  </a:cxn>
                  <a:cxn ang="0">
                    <a:pos x="124" y="69"/>
                  </a:cxn>
                  <a:cxn ang="0">
                    <a:pos x="117" y="58"/>
                  </a:cxn>
                  <a:cxn ang="0">
                    <a:pos x="140" y="46"/>
                  </a:cxn>
                  <a:cxn ang="0">
                    <a:pos x="144" y="38"/>
                  </a:cxn>
                  <a:cxn ang="0">
                    <a:pos x="155" y="39"/>
                  </a:cxn>
                  <a:cxn ang="0">
                    <a:pos x="154" y="32"/>
                  </a:cxn>
                  <a:cxn ang="0">
                    <a:pos x="157" y="24"/>
                  </a:cxn>
                  <a:cxn ang="0">
                    <a:pos x="170" y="31"/>
                  </a:cxn>
                  <a:cxn ang="0">
                    <a:pos x="173" y="31"/>
                  </a:cxn>
                  <a:cxn ang="0">
                    <a:pos x="160" y="4"/>
                  </a:cxn>
                  <a:cxn ang="0">
                    <a:pos x="145" y="0"/>
                  </a:cxn>
                </a:cxnLst>
                <a:rect l="0" t="0" r="r" b="b"/>
                <a:pathLst>
                  <a:path w="173" h="123">
                    <a:moveTo>
                      <a:pt x="145" y="0"/>
                    </a:moveTo>
                    <a:lnTo>
                      <a:pt x="136" y="4"/>
                    </a:lnTo>
                    <a:lnTo>
                      <a:pt x="134" y="12"/>
                    </a:lnTo>
                    <a:lnTo>
                      <a:pt x="117" y="10"/>
                    </a:lnTo>
                    <a:lnTo>
                      <a:pt x="113" y="10"/>
                    </a:lnTo>
                    <a:lnTo>
                      <a:pt x="108" y="19"/>
                    </a:lnTo>
                    <a:lnTo>
                      <a:pt x="88" y="15"/>
                    </a:lnTo>
                    <a:lnTo>
                      <a:pt x="75" y="17"/>
                    </a:lnTo>
                    <a:lnTo>
                      <a:pt x="66" y="28"/>
                    </a:lnTo>
                    <a:lnTo>
                      <a:pt x="58" y="33"/>
                    </a:lnTo>
                    <a:lnTo>
                      <a:pt x="30" y="31"/>
                    </a:lnTo>
                    <a:lnTo>
                      <a:pt x="14" y="31"/>
                    </a:lnTo>
                    <a:lnTo>
                      <a:pt x="2" y="41"/>
                    </a:lnTo>
                    <a:lnTo>
                      <a:pt x="0" y="48"/>
                    </a:lnTo>
                    <a:lnTo>
                      <a:pt x="0" y="53"/>
                    </a:lnTo>
                    <a:lnTo>
                      <a:pt x="2" y="54"/>
                    </a:lnTo>
                    <a:lnTo>
                      <a:pt x="7" y="53"/>
                    </a:lnTo>
                    <a:lnTo>
                      <a:pt x="5" y="60"/>
                    </a:lnTo>
                    <a:lnTo>
                      <a:pt x="4" y="68"/>
                    </a:lnTo>
                    <a:lnTo>
                      <a:pt x="9" y="74"/>
                    </a:lnTo>
                    <a:lnTo>
                      <a:pt x="9" y="82"/>
                    </a:lnTo>
                    <a:lnTo>
                      <a:pt x="11" y="85"/>
                    </a:lnTo>
                    <a:lnTo>
                      <a:pt x="18" y="89"/>
                    </a:lnTo>
                    <a:lnTo>
                      <a:pt x="21" y="94"/>
                    </a:lnTo>
                    <a:lnTo>
                      <a:pt x="25" y="95"/>
                    </a:lnTo>
                    <a:lnTo>
                      <a:pt x="27" y="98"/>
                    </a:lnTo>
                    <a:lnTo>
                      <a:pt x="26" y="103"/>
                    </a:lnTo>
                    <a:lnTo>
                      <a:pt x="22" y="106"/>
                    </a:lnTo>
                    <a:lnTo>
                      <a:pt x="17" y="107"/>
                    </a:lnTo>
                    <a:lnTo>
                      <a:pt x="12" y="106"/>
                    </a:lnTo>
                    <a:lnTo>
                      <a:pt x="6" y="111"/>
                    </a:lnTo>
                    <a:lnTo>
                      <a:pt x="14" y="117"/>
                    </a:lnTo>
                    <a:lnTo>
                      <a:pt x="27" y="116"/>
                    </a:lnTo>
                    <a:lnTo>
                      <a:pt x="30" y="111"/>
                    </a:lnTo>
                    <a:lnTo>
                      <a:pt x="36" y="116"/>
                    </a:lnTo>
                    <a:lnTo>
                      <a:pt x="53" y="116"/>
                    </a:lnTo>
                    <a:lnTo>
                      <a:pt x="60" y="100"/>
                    </a:lnTo>
                    <a:lnTo>
                      <a:pt x="63" y="100"/>
                    </a:lnTo>
                    <a:lnTo>
                      <a:pt x="74" y="119"/>
                    </a:lnTo>
                    <a:lnTo>
                      <a:pt x="79" y="118"/>
                    </a:lnTo>
                    <a:lnTo>
                      <a:pt x="79" y="114"/>
                    </a:lnTo>
                    <a:lnTo>
                      <a:pt x="81" y="114"/>
                    </a:lnTo>
                    <a:lnTo>
                      <a:pt x="84" y="117"/>
                    </a:lnTo>
                    <a:lnTo>
                      <a:pt x="87" y="117"/>
                    </a:lnTo>
                    <a:lnTo>
                      <a:pt x="92" y="123"/>
                    </a:lnTo>
                    <a:lnTo>
                      <a:pt x="96" y="123"/>
                    </a:lnTo>
                    <a:lnTo>
                      <a:pt x="101" y="119"/>
                    </a:lnTo>
                    <a:lnTo>
                      <a:pt x="100" y="107"/>
                    </a:lnTo>
                    <a:lnTo>
                      <a:pt x="103" y="102"/>
                    </a:lnTo>
                    <a:lnTo>
                      <a:pt x="100" y="97"/>
                    </a:lnTo>
                    <a:lnTo>
                      <a:pt x="111" y="89"/>
                    </a:lnTo>
                    <a:lnTo>
                      <a:pt x="119" y="87"/>
                    </a:lnTo>
                    <a:lnTo>
                      <a:pt x="124" y="80"/>
                    </a:lnTo>
                    <a:lnTo>
                      <a:pt x="124" y="69"/>
                    </a:lnTo>
                    <a:lnTo>
                      <a:pt x="118" y="62"/>
                    </a:lnTo>
                    <a:lnTo>
                      <a:pt x="117" y="58"/>
                    </a:lnTo>
                    <a:lnTo>
                      <a:pt x="120" y="53"/>
                    </a:lnTo>
                    <a:lnTo>
                      <a:pt x="140" y="46"/>
                    </a:lnTo>
                    <a:lnTo>
                      <a:pt x="144" y="43"/>
                    </a:lnTo>
                    <a:lnTo>
                      <a:pt x="144" y="38"/>
                    </a:lnTo>
                    <a:lnTo>
                      <a:pt x="151" y="38"/>
                    </a:lnTo>
                    <a:lnTo>
                      <a:pt x="155" y="39"/>
                    </a:lnTo>
                    <a:lnTo>
                      <a:pt x="155" y="38"/>
                    </a:lnTo>
                    <a:lnTo>
                      <a:pt x="154" y="32"/>
                    </a:lnTo>
                    <a:lnTo>
                      <a:pt x="154" y="27"/>
                    </a:lnTo>
                    <a:lnTo>
                      <a:pt x="157" y="24"/>
                    </a:lnTo>
                    <a:lnTo>
                      <a:pt x="161" y="25"/>
                    </a:lnTo>
                    <a:lnTo>
                      <a:pt x="170" y="31"/>
                    </a:lnTo>
                    <a:lnTo>
                      <a:pt x="173" y="28"/>
                    </a:lnTo>
                    <a:lnTo>
                      <a:pt x="173" y="31"/>
                    </a:lnTo>
                    <a:lnTo>
                      <a:pt x="165" y="17"/>
                    </a:lnTo>
                    <a:lnTo>
                      <a:pt x="160" y="4"/>
                    </a:lnTo>
                    <a:lnTo>
                      <a:pt x="152" y="0"/>
                    </a:lnTo>
                    <a:lnTo>
                      <a:pt x="145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6" name="Macedonia"/>
              <p:cNvSpPr>
                <a:spLocks noChangeAspect="1"/>
              </p:cNvSpPr>
              <p:nvPr>
                <p:custDataLst>
                  <p:tags r:id="rId248"/>
                </p:custDataLst>
              </p:nvPr>
            </p:nvSpPr>
            <p:spPr bwMode="gray">
              <a:xfrm>
                <a:off x="4963932" y="3438360"/>
                <a:ext cx="60856" cy="49153"/>
              </a:xfrm>
              <a:custGeom>
                <a:avLst/>
                <a:gdLst/>
                <a:ahLst/>
                <a:cxnLst>
                  <a:cxn ang="0">
                    <a:pos x="25" y="107"/>
                  </a:cxn>
                  <a:cxn ang="0">
                    <a:pos x="8" y="90"/>
                  </a:cxn>
                  <a:cxn ang="0">
                    <a:pos x="0" y="70"/>
                  </a:cxn>
                  <a:cxn ang="0">
                    <a:pos x="0" y="53"/>
                  </a:cxn>
                  <a:cxn ang="0">
                    <a:pos x="5" y="17"/>
                  </a:cxn>
                  <a:cxn ang="0">
                    <a:pos x="6" y="19"/>
                  </a:cxn>
                  <a:cxn ang="0">
                    <a:pos x="11" y="19"/>
                  </a:cxn>
                  <a:cxn ang="0">
                    <a:pos x="14" y="16"/>
                  </a:cxn>
                  <a:cxn ang="0">
                    <a:pos x="14" y="8"/>
                  </a:cxn>
                  <a:cxn ang="0">
                    <a:pos x="32" y="1"/>
                  </a:cxn>
                  <a:cxn ang="0">
                    <a:pos x="35" y="3"/>
                  </a:cxn>
                  <a:cxn ang="0">
                    <a:pos x="41" y="10"/>
                  </a:cxn>
                  <a:cxn ang="0">
                    <a:pos x="44" y="10"/>
                  </a:cxn>
                  <a:cxn ang="0">
                    <a:pos x="44" y="5"/>
                  </a:cxn>
                  <a:cxn ang="0">
                    <a:pos x="51" y="0"/>
                  </a:cxn>
                  <a:cxn ang="0">
                    <a:pos x="67" y="4"/>
                  </a:cxn>
                  <a:cxn ang="0">
                    <a:pos x="71" y="0"/>
                  </a:cxn>
                  <a:cxn ang="0">
                    <a:pos x="86" y="3"/>
                  </a:cxn>
                  <a:cxn ang="0">
                    <a:pos x="97" y="1"/>
                  </a:cxn>
                  <a:cxn ang="0">
                    <a:pos x="103" y="4"/>
                  </a:cxn>
                  <a:cxn ang="0">
                    <a:pos x="126" y="24"/>
                  </a:cxn>
                  <a:cxn ang="0">
                    <a:pos x="131" y="53"/>
                  </a:cxn>
                  <a:cxn ang="0">
                    <a:pos x="132" y="69"/>
                  </a:cxn>
                  <a:cxn ang="0">
                    <a:pos x="126" y="71"/>
                  </a:cxn>
                  <a:cxn ang="0">
                    <a:pos x="111" y="85"/>
                  </a:cxn>
                  <a:cxn ang="0">
                    <a:pos x="91" y="85"/>
                  </a:cxn>
                  <a:cxn ang="0">
                    <a:pos x="72" y="92"/>
                  </a:cxn>
                  <a:cxn ang="0">
                    <a:pos x="61" y="102"/>
                  </a:cxn>
                  <a:cxn ang="0">
                    <a:pos x="25" y="107"/>
                  </a:cxn>
                </a:cxnLst>
                <a:rect l="0" t="0" r="r" b="b"/>
                <a:pathLst>
                  <a:path w="132" h="107">
                    <a:moveTo>
                      <a:pt x="25" y="107"/>
                    </a:moveTo>
                    <a:lnTo>
                      <a:pt x="8" y="90"/>
                    </a:lnTo>
                    <a:lnTo>
                      <a:pt x="0" y="70"/>
                    </a:lnTo>
                    <a:lnTo>
                      <a:pt x="0" y="53"/>
                    </a:lnTo>
                    <a:lnTo>
                      <a:pt x="5" y="17"/>
                    </a:lnTo>
                    <a:lnTo>
                      <a:pt x="6" y="19"/>
                    </a:lnTo>
                    <a:lnTo>
                      <a:pt x="11" y="19"/>
                    </a:lnTo>
                    <a:lnTo>
                      <a:pt x="14" y="16"/>
                    </a:lnTo>
                    <a:lnTo>
                      <a:pt x="14" y="8"/>
                    </a:lnTo>
                    <a:lnTo>
                      <a:pt x="32" y="1"/>
                    </a:lnTo>
                    <a:lnTo>
                      <a:pt x="35" y="3"/>
                    </a:lnTo>
                    <a:lnTo>
                      <a:pt x="41" y="10"/>
                    </a:lnTo>
                    <a:lnTo>
                      <a:pt x="44" y="10"/>
                    </a:lnTo>
                    <a:lnTo>
                      <a:pt x="44" y="5"/>
                    </a:lnTo>
                    <a:lnTo>
                      <a:pt x="51" y="0"/>
                    </a:lnTo>
                    <a:lnTo>
                      <a:pt x="67" y="4"/>
                    </a:lnTo>
                    <a:lnTo>
                      <a:pt x="71" y="0"/>
                    </a:lnTo>
                    <a:lnTo>
                      <a:pt x="86" y="3"/>
                    </a:lnTo>
                    <a:lnTo>
                      <a:pt x="97" y="1"/>
                    </a:lnTo>
                    <a:lnTo>
                      <a:pt x="103" y="4"/>
                    </a:lnTo>
                    <a:lnTo>
                      <a:pt x="126" y="24"/>
                    </a:lnTo>
                    <a:lnTo>
                      <a:pt x="131" y="53"/>
                    </a:lnTo>
                    <a:lnTo>
                      <a:pt x="132" y="69"/>
                    </a:lnTo>
                    <a:lnTo>
                      <a:pt x="126" y="71"/>
                    </a:lnTo>
                    <a:lnTo>
                      <a:pt x="111" y="85"/>
                    </a:lnTo>
                    <a:lnTo>
                      <a:pt x="91" y="85"/>
                    </a:lnTo>
                    <a:lnTo>
                      <a:pt x="72" y="92"/>
                    </a:lnTo>
                    <a:lnTo>
                      <a:pt x="61" y="102"/>
                    </a:lnTo>
                    <a:lnTo>
                      <a:pt x="25" y="10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" name="Romania"/>
              <p:cNvSpPr>
                <a:spLocks noChangeAspect="1"/>
              </p:cNvSpPr>
              <p:nvPr>
                <p:custDataLst>
                  <p:tags r:id="rId249"/>
                </p:custDataLst>
              </p:nvPr>
            </p:nvSpPr>
            <p:spPr bwMode="gray">
              <a:xfrm>
                <a:off x="4954570" y="3220685"/>
                <a:ext cx="243423" cy="170864"/>
              </a:xfrm>
              <a:custGeom>
                <a:avLst/>
                <a:gdLst/>
                <a:ahLst/>
                <a:cxnLst>
                  <a:cxn ang="0">
                    <a:pos x="449" y="356"/>
                  </a:cxn>
                  <a:cxn ang="0">
                    <a:pos x="399" y="334"/>
                  </a:cxn>
                  <a:cxn ang="0">
                    <a:pos x="373" y="328"/>
                  </a:cxn>
                  <a:cxn ang="0">
                    <a:pos x="327" y="347"/>
                  </a:cxn>
                  <a:cxn ang="0">
                    <a:pos x="291" y="364"/>
                  </a:cxn>
                  <a:cxn ang="0">
                    <a:pos x="206" y="355"/>
                  </a:cxn>
                  <a:cxn ang="0">
                    <a:pos x="158" y="351"/>
                  </a:cxn>
                  <a:cxn ang="0">
                    <a:pos x="153" y="328"/>
                  </a:cxn>
                  <a:cxn ang="0">
                    <a:pos x="131" y="322"/>
                  </a:cxn>
                  <a:cxn ang="0">
                    <a:pos x="134" y="295"/>
                  </a:cxn>
                  <a:cxn ang="0">
                    <a:pos x="115" y="293"/>
                  </a:cxn>
                  <a:cxn ang="0">
                    <a:pos x="72" y="270"/>
                  </a:cxn>
                  <a:cxn ang="0">
                    <a:pos x="69" y="246"/>
                  </a:cxn>
                  <a:cxn ang="0">
                    <a:pos x="49" y="238"/>
                  </a:cxn>
                  <a:cxn ang="0">
                    <a:pos x="35" y="207"/>
                  </a:cxn>
                  <a:cxn ang="0">
                    <a:pos x="19" y="182"/>
                  </a:cxn>
                  <a:cxn ang="0">
                    <a:pos x="0" y="172"/>
                  </a:cxn>
                  <a:cxn ang="0">
                    <a:pos x="35" y="162"/>
                  </a:cxn>
                  <a:cxn ang="0">
                    <a:pos x="59" y="138"/>
                  </a:cxn>
                  <a:cxn ang="0">
                    <a:pos x="73" y="112"/>
                  </a:cxn>
                  <a:cxn ang="0">
                    <a:pos x="91" y="85"/>
                  </a:cxn>
                  <a:cxn ang="0">
                    <a:pos x="99" y="63"/>
                  </a:cxn>
                  <a:cxn ang="0">
                    <a:pos x="110" y="46"/>
                  </a:cxn>
                  <a:cxn ang="0">
                    <a:pos x="132" y="39"/>
                  </a:cxn>
                  <a:cxn ang="0">
                    <a:pos x="144" y="25"/>
                  </a:cxn>
                  <a:cxn ang="0">
                    <a:pos x="168" y="22"/>
                  </a:cxn>
                  <a:cxn ang="0">
                    <a:pos x="210" y="27"/>
                  </a:cxn>
                  <a:cxn ang="0">
                    <a:pos x="241" y="22"/>
                  </a:cxn>
                  <a:cxn ang="0">
                    <a:pos x="261" y="37"/>
                  </a:cxn>
                  <a:cxn ang="0">
                    <a:pos x="295" y="21"/>
                  </a:cxn>
                  <a:cxn ang="0">
                    <a:pos x="346" y="0"/>
                  </a:cxn>
                  <a:cxn ang="0">
                    <a:pos x="360" y="1"/>
                  </a:cxn>
                  <a:cxn ang="0">
                    <a:pos x="386" y="25"/>
                  </a:cxn>
                  <a:cxn ang="0">
                    <a:pos x="397" y="55"/>
                  </a:cxn>
                  <a:cxn ang="0">
                    <a:pos x="422" y="97"/>
                  </a:cxn>
                  <a:cxn ang="0">
                    <a:pos x="438" y="146"/>
                  </a:cxn>
                  <a:cxn ang="0">
                    <a:pos x="436" y="182"/>
                  </a:cxn>
                  <a:cxn ang="0">
                    <a:pos x="440" y="207"/>
                  </a:cxn>
                  <a:cxn ang="0">
                    <a:pos x="440" y="225"/>
                  </a:cxn>
                  <a:cxn ang="0">
                    <a:pos x="462" y="241"/>
                  </a:cxn>
                  <a:cxn ang="0">
                    <a:pos x="483" y="232"/>
                  </a:cxn>
                  <a:cxn ang="0">
                    <a:pos x="506" y="226"/>
                  </a:cxn>
                  <a:cxn ang="0">
                    <a:pos x="521" y="230"/>
                  </a:cxn>
                  <a:cxn ang="0">
                    <a:pos x="523" y="254"/>
                  </a:cxn>
                  <a:cxn ang="0">
                    <a:pos x="518" y="270"/>
                  </a:cxn>
                  <a:cxn ang="0">
                    <a:pos x="502" y="279"/>
                  </a:cxn>
                  <a:cxn ang="0">
                    <a:pos x="485" y="296"/>
                  </a:cxn>
                  <a:cxn ang="0">
                    <a:pos x="475" y="296"/>
                  </a:cxn>
                  <a:cxn ang="0">
                    <a:pos x="487" y="277"/>
                  </a:cxn>
                  <a:cxn ang="0">
                    <a:pos x="480" y="263"/>
                  </a:cxn>
                  <a:cxn ang="0">
                    <a:pos x="472" y="299"/>
                  </a:cxn>
                  <a:cxn ang="0">
                    <a:pos x="467" y="317"/>
                  </a:cxn>
                  <a:cxn ang="0">
                    <a:pos x="465" y="344"/>
                  </a:cxn>
                </a:cxnLst>
                <a:rect l="0" t="0" r="r" b="b"/>
                <a:pathLst>
                  <a:path w="523" h="364">
                    <a:moveTo>
                      <a:pt x="467" y="355"/>
                    </a:moveTo>
                    <a:lnTo>
                      <a:pt x="449" y="356"/>
                    </a:lnTo>
                    <a:lnTo>
                      <a:pt x="429" y="343"/>
                    </a:lnTo>
                    <a:lnTo>
                      <a:pt x="399" y="334"/>
                    </a:lnTo>
                    <a:lnTo>
                      <a:pt x="393" y="329"/>
                    </a:lnTo>
                    <a:lnTo>
                      <a:pt x="373" y="328"/>
                    </a:lnTo>
                    <a:lnTo>
                      <a:pt x="347" y="337"/>
                    </a:lnTo>
                    <a:lnTo>
                      <a:pt x="327" y="347"/>
                    </a:lnTo>
                    <a:lnTo>
                      <a:pt x="308" y="359"/>
                    </a:lnTo>
                    <a:lnTo>
                      <a:pt x="291" y="364"/>
                    </a:lnTo>
                    <a:lnTo>
                      <a:pt x="247" y="356"/>
                    </a:lnTo>
                    <a:lnTo>
                      <a:pt x="206" y="355"/>
                    </a:lnTo>
                    <a:lnTo>
                      <a:pt x="172" y="351"/>
                    </a:lnTo>
                    <a:lnTo>
                      <a:pt x="158" y="351"/>
                    </a:lnTo>
                    <a:lnTo>
                      <a:pt x="147" y="343"/>
                    </a:lnTo>
                    <a:lnTo>
                      <a:pt x="153" y="328"/>
                    </a:lnTo>
                    <a:lnTo>
                      <a:pt x="141" y="324"/>
                    </a:lnTo>
                    <a:lnTo>
                      <a:pt x="131" y="322"/>
                    </a:lnTo>
                    <a:lnTo>
                      <a:pt x="124" y="306"/>
                    </a:lnTo>
                    <a:lnTo>
                      <a:pt x="134" y="295"/>
                    </a:lnTo>
                    <a:lnTo>
                      <a:pt x="126" y="284"/>
                    </a:lnTo>
                    <a:lnTo>
                      <a:pt x="115" y="293"/>
                    </a:lnTo>
                    <a:lnTo>
                      <a:pt x="87" y="283"/>
                    </a:lnTo>
                    <a:lnTo>
                      <a:pt x="72" y="270"/>
                    </a:lnTo>
                    <a:lnTo>
                      <a:pt x="71" y="256"/>
                    </a:lnTo>
                    <a:lnTo>
                      <a:pt x="69" y="246"/>
                    </a:lnTo>
                    <a:lnTo>
                      <a:pt x="60" y="241"/>
                    </a:lnTo>
                    <a:lnTo>
                      <a:pt x="49" y="238"/>
                    </a:lnTo>
                    <a:lnTo>
                      <a:pt x="40" y="225"/>
                    </a:lnTo>
                    <a:lnTo>
                      <a:pt x="35" y="207"/>
                    </a:lnTo>
                    <a:lnTo>
                      <a:pt x="30" y="194"/>
                    </a:lnTo>
                    <a:lnTo>
                      <a:pt x="19" y="182"/>
                    </a:lnTo>
                    <a:lnTo>
                      <a:pt x="5" y="176"/>
                    </a:lnTo>
                    <a:lnTo>
                      <a:pt x="0" y="172"/>
                    </a:lnTo>
                    <a:lnTo>
                      <a:pt x="3" y="172"/>
                    </a:lnTo>
                    <a:lnTo>
                      <a:pt x="35" y="162"/>
                    </a:lnTo>
                    <a:lnTo>
                      <a:pt x="51" y="155"/>
                    </a:lnTo>
                    <a:lnTo>
                      <a:pt x="59" y="138"/>
                    </a:lnTo>
                    <a:lnTo>
                      <a:pt x="66" y="128"/>
                    </a:lnTo>
                    <a:lnTo>
                      <a:pt x="73" y="112"/>
                    </a:lnTo>
                    <a:lnTo>
                      <a:pt x="78" y="98"/>
                    </a:lnTo>
                    <a:lnTo>
                      <a:pt x="91" y="85"/>
                    </a:lnTo>
                    <a:lnTo>
                      <a:pt x="93" y="74"/>
                    </a:lnTo>
                    <a:lnTo>
                      <a:pt x="99" y="63"/>
                    </a:lnTo>
                    <a:lnTo>
                      <a:pt x="101" y="55"/>
                    </a:lnTo>
                    <a:lnTo>
                      <a:pt x="110" y="46"/>
                    </a:lnTo>
                    <a:lnTo>
                      <a:pt x="125" y="39"/>
                    </a:lnTo>
                    <a:lnTo>
                      <a:pt x="132" y="39"/>
                    </a:lnTo>
                    <a:lnTo>
                      <a:pt x="140" y="32"/>
                    </a:lnTo>
                    <a:lnTo>
                      <a:pt x="144" y="25"/>
                    </a:lnTo>
                    <a:lnTo>
                      <a:pt x="151" y="22"/>
                    </a:lnTo>
                    <a:lnTo>
                      <a:pt x="168" y="22"/>
                    </a:lnTo>
                    <a:lnTo>
                      <a:pt x="187" y="25"/>
                    </a:lnTo>
                    <a:lnTo>
                      <a:pt x="210" y="27"/>
                    </a:lnTo>
                    <a:lnTo>
                      <a:pt x="225" y="24"/>
                    </a:lnTo>
                    <a:lnTo>
                      <a:pt x="241" y="22"/>
                    </a:lnTo>
                    <a:lnTo>
                      <a:pt x="252" y="32"/>
                    </a:lnTo>
                    <a:lnTo>
                      <a:pt x="261" y="37"/>
                    </a:lnTo>
                    <a:lnTo>
                      <a:pt x="277" y="26"/>
                    </a:lnTo>
                    <a:lnTo>
                      <a:pt x="295" y="21"/>
                    </a:lnTo>
                    <a:lnTo>
                      <a:pt x="312" y="21"/>
                    </a:lnTo>
                    <a:lnTo>
                      <a:pt x="346" y="0"/>
                    </a:lnTo>
                    <a:lnTo>
                      <a:pt x="352" y="1"/>
                    </a:lnTo>
                    <a:lnTo>
                      <a:pt x="360" y="1"/>
                    </a:lnTo>
                    <a:lnTo>
                      <a:pt x="372" y="11"/>
                    </a:lnTo>
                    <a:lnTo>
                      <a:pt x="386" y="25"/>
                    </a:lnTo>
                    <a:lnTo>
                      <a:pt x="394" y="38"/>
                    </a:lnTo>
                    <a:lnTo>
                      <a:pt x="397" y="55"/>
                    </a:lnTo>
                    <a:lnTo>
                      <a:pt x="409" y="76"/>
                    </a:lnTo>
                    <a:lnTo>
                      <a:pt x="422" y="97"/>
                    </a:lnTo>
                    <a:lnTo>
                      <a:pt x="433" y="117"/>
                    </a:lnTo>
                    <a:lnTo>
                      <a:pt x="438" y="146"/>
                    </a:lnTo>
                    <a:lnTo>
                      <a:pt x="438" y="166"/>
                    </a:lnTo>
                    <a:lnTo>
                      <a:pt x="436" y="182"/>
                    </a:lnTo>
                    <a:lnTo>
                      <a:pt x="438" y="194"/>
                    </a:lnTo>
                    <a:lnTo>
                      <a:pt x="440" y="207"/>
                    </a:lnTo>
                    <a:lnTo>
                      <a:pt x="440" y="221"/>
                    </a:lnTo>
                    <a:lnTo>
                      <a:pt x="440" y="225"/>
                    </a:lnTo>
                    <a:lnTo>
                      <a:pt x="448" y="224"/>
                    </a:lnTo>
                    <a:lnTo>
                      <a:pt x="462" y="241"/>
                    </a:lnTo>
                    <a:lnTo>
                      <a:pt x="472" y="240"/>
                    </a:lnTo>
                    <a:lnTo>
                      <a:pt x="483" y="232"/>
                    </a:lnTo>
                    <a:lnTo>
                      <a:pt x="497" y="230"/>
                    </a:lnTo>
                    <a:lnTo>
                      <a:pt x="506" y="226"/>
                    </a:lnTo>
                    <a:lnTo>
                      <a:pt x="515" y="226"/>
                    </a:lnTo>
                    <a:lnTo>
                      <a:pt x="521" y="230"/>
                    </a:lnTo>
                    <a:lnTo>
                      <a:pt x="523" y="237"/>
                    </a:lnTo>
                    <a:lnTo>
                      <a:pt x="523" y="254"/>
                    </a:lnTo>
                    <a:lnTo>
                      <a:pt x="521" y="265"/>
                    </a:lnTo>
                    <a:lnTo>
                      <a:pt x="518" y="270"/>
                    </a:lnTo>
                    <a:lnTo>
                      <a:pt x="513" y="277"/>
                    </a:lnTo>
                    <a:lnTo>
                      <a:pt x="502" y="279"/>
                    </a:lnTo>
                    <a:lnTo>
                      <a:pt x="492" y="286"/>
                    </a:lnTo>
                    <a:lnTo>
                      <a:pt x="485" y="296"/>
                    </a:lnTo>
                    <a:lnTo>
                      <a:pt x="478" y="302"/>
                    </a:lnTo>
                    <a:lnTo>
                      <a:pt x="475" y="296"/>
                    </a:lnTo>
                    <a:lnTo>
                      <a:pt x="481" y="289"/>
                    </a:lnTo>
                    <a:lnTo>
                      <a:pt x="487" y="277"/>
                    </a:lnTo>
                    <a:lnTo>
                      <a:pt x="487" y="263"/>
                    </a:lnTo>
                    <a:lnTo>
                      <a:pt x="480" y="263"/>
                    </a:lnTo>
                    <a:lnTo>
                      <a:pt x="476" y="286"/>
                    </a:lnTo>
                    <a:lnTo>
                      <a:pt x="472" y="299"/>
                    </a:lnTo>
                    <a:lnTo>
                      <a:pt x="469" y="310"/>
                    </a:lnTo>
                    <a:lnTo>
                      <a:pt x="467" y="317"/>
                    </a:lnTo>
                    <a:lnTo>
                      <a:pt x="467" y="336"/>
                    </a:lnTo>
                    <a:lnTo>
                      <a:pt x="465" y="344"/>
                    </a:lnTo>
                    <a:lnTo>
                      <a:pt x="467" y="35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" name="Estonia"/>
              <p:cNvSpPr>
                <a:spLocks noChangeAspect="1"/>
              </p:cNvSpPr>
              <p:nvPr>
                <p:custDataLst>
                  <p:tags r:id="rId250"/>
                </p:custDataLst>
              </p:nvPr>
            </p:nvSpPr>
            <p:spPr bwMode="gray">
              <a:xfrm>
                <a:off x="5036491" y="2724477"/>
                <a:ext cx="126392" cy="102986"/>
              </a:xfrm>
              <a:custGeom>
                <a:avLst/>
                <a:gdLst/>
                <a:ahLst/>
                <a:cxnLst>
                  <a:cxn ang="0">
                    <a:pos x="124" y="0"/>
                  </a:cxn>
                  <a:cxn ang="0">
                    <a:pos x="140" y="5"/>
                  </a:cxn>
                  <a:cxn ang="0">
                    <a:pos x="159" y="13"/>
                  </a:cxn>
                  <a:cxn ang="0">
                    <a:pos x="184" y="21"/>
                  </a:cxn>
                  <a:cxn ang="0">
                    <a:pos x="239" y="26"/>
                  </a:cxn>
                  <a:cxn ang="0">
                    <a:pos x="253" y="15"/>
                  </a:cxn>
                  <a:cxn ang="0">
                    <a:pos x="265" y="22"/>
                  </a:cxn>
                  <a:cxn ang="0">
                    <a:pos x="264" y="38"/>
                  </a:cxn>
                  <a:cxn ang="0">
                    <a:pos x="244" y="64"/>
                  </a:cxn>
                  <a:cxn ang="0">
                    <a:pos x="242" y="91"/>
                  </a:cxn>
                  <a:cxn ang="0">
                    <a:pos x="240" y="116"/>
                  </a:cxn>
                  <a:cxn ang="0">
                    <a:pos x="243" y="127"/>
                  </a:cxn>
                  <a:cxn ang="0">
                    <a:pos x="232" y="143"/>
                  </a:cxn>
                  <a:cxn ang="0">
                    <a:pos x="224" y="154"/>
                  </a:cxn>
                  <a:cxn ang="0">
                    <a:pos x="237" y="162"/>
                  </a:cxn>
                  <a:cxn ang="0">
                    <a:pos x="261" y="178"/>
                  </a:cxn>
                  <a:cxn ang="0">
                    <a:pos x="250" y="194"/>
                  </a:cxn>
                  <a:cxn ang="0">
                    <a:pos x="233" y="176"/>
                  </a:cxn>
                  <a:cxn ang="0">
                    <a:pos x="229" y="198"/>
                  </a:cxn>
                  <a:cxn ang="0">
                    <a:pos x="224" y="220"/>
                  </a:cxn>
                  <a:cxn ang="0">
                    <a:pos x="206" y="215"/>
                  </a:cxn>
                  <a:cxn ang="0">
                    <a:pos x="183" y="220"/>
                  </a:cxn>
                  <a:cxn ang="0">
                    <a:pos x="153" y="201"/>
                  </a:cxn>
                  <a:cxn ang="0">
                    <a:pos x="134" y="186"/>
                  </a:cxn>
                  <a:cxn ang="0">
                    <a:pos x="104" y="171"/>
                  </a:cxn>
                  <a:cxn ang="0">
                    <a:pos x="65" y="185"/>
                  </a:cxn>
                  <a:cxn ang="0">
                    <a:pos x="50" y="192"/>
                  </a:cxn>
                  <a:cxn ang="0">
                    <a:pos x="56" y="155"/>
                  </a:cxn>
                  <a:cxn ang="0">
                    <a:pos x="60" y="139"/>
                  </a:cxn>
                  <a:cxn ang="0">
                    <a:pos x="43" y="144"/>
                  </a:cxn>
                  <a:cxn ang="0">
                    <a:pos x="28" y="140"/>
                  </a:cxn>
                  <a:cxn ang="0">
                    <a:pos x="14" y="139"/>
                  </a:cxn>
                  <a:cxn ang="0">
                    <a:pos x="5" y="119"/>
                  </a:cxn>
                  <a:cxn ang="0">
                    <a:pos x="7" y="100"/>
                  </a:cxn>
                  <a:cxn ang="0">
                    <a:pos x="16" y="94"/>
                  </a:cxn>
                  <a:cxn ang="0">
                    <a:pos x="3" y="79"/>
                  </a:cxn>
                  <a:cxn ang="0">
                    <a:pos x="5" y="72"/>
                  </a:cxn>
                  <a:cxn ang="0">
                    <a:pos x="3" y="49"/>
                  </a:cxn>
                  <a:cxn ang="0">
                    <a:pos x="35" y="38"/>
                  </a:cxn>
                  <a:cxn ang="0">
                    <a:pos x="39" y="30"/>
                  </a:cxn>
                  <a:cxn ang="0">
                    <a:pos x="54" y="21"/>
                  </a:cxn>
                  <a:cxn ang="0">
                    <a:pos x="77" y="13"/>
                  </a:cxn>
                  <a:cxn ang="0">
                    <a:pos x="108" y="16"/>
                  </a:cxn>
                  <a:cxn ang="0">
                    <a:pos x="111" y="5"/>
                  </a:cxn>
                </a:cxnLst>
                <a:rect l="0" t="0" r="r" b="b"/>
                <a:pathLst>
                  <a:path w="267" h="220">
                    <a:moveTo>
                      <a:pt x="121" y="5"/>
                    </a:moveTo>
                    <a:lnTo>
                      <a:pt x="124" y="0"/>
                    </a:lnTo>
                    <a:lnTo>
                      <a:pt x="131" y="9"/>
                    </a:lnTo>
                    <a:lnTo>
                      <a:pt x="140" y="5"/>
                    </a:lnTo>
                    <a:lnTo>
                      <a:pt x="147" y="6"/>
                    </a:lnTo>
                    <a:lnTo>
                      <a:pt x="159" y="13"/>
                    </a:lnTo>
                    <a:lnTo>
                      <a:pt x="179" y="15"/>
                    </a:lnTo>
                    <a:lnTo>
                      <a:pt x="184" y="21"/>
                    </a:lnTo>
                    <a:lnTo>
                      <a:pt x="196" y="25"/>
                    </a:lnTo>
                    <a:lnTo>
                      <a:pt x="239" y="26"/>
                    </a:lnTo>
                    <a:lnTo>
                      <a:pt x="250" y="22"/>
                    </a:lnTo>
                    <a:lnTo>
                      <a:pt x="253" y="15"/>
                    </a:lnTo>
                    <a:lnTo>
                      <a:pt x="260" y="16"/>
                    </a:lnTo>
                    <a:lnTo>
                      <a:pt x="265" y="22"/>
                    </a:lnTo>
                    <a:lnTo>
                      <a:pt x="267" y="30"/>
                    </a:lnTo>
                    <a:lnTo>
                      <a:pt x="264" y="38"/>
                    </a:lnTo>
                    <a:lnTo>
                      <a:pt x="253" y="49"/>
                    </a:lnTo>
                    <a:lnTo>
                      <a:pt x="244" y="64"/>
                    </a:lnTo>
                    <a:lnTo>
                      <a:pt x="238" y="78"/>
                    </a:lnTo>
                    <a:lnTo>
                      <a:pt x="242" y="91"/>
                    </a:lnTo>
                    <a:lnTo>
                      <a:pt x="239" y="110"/>
                    </a:lnTo>
                    <a:lnTo>
                      <a:pt x="240" y="116"/>
                    </a:lnTo>
                    <a:lnTo>
                      <a:pt x="243" y="121"/>
                    </a:lnTo>
                    <a:lnTo>
                      <a:pt x="243" y="127"/>
                    </a:lnTo>
                    <a:lnTo>
                      <a:pt x="240" y="134"/>
                    </a:lnTo>
                    <a:lnTo>
                      <a:pt x="232" y="143"/>
                    </a:lnTo>
                    <a:lnTo>
                      <a:pt x="227" y="146"/>
                    </a:lnTo>
                    <a:lnTo>
                      <a:pt x="224" y="154"/>
                    </a:lnTo>
                    <a:lnTo>
                      <a:pt x="228" y="161"/>
                    </a:lnTo>
                    <a:lnTo>
                      <a:pt x="237" y="162"/>
                    </a:lnTo>
                    <a:lnTo>
                      <a:pt x="250" y="161"/>
                    </a:lnTo>
                    <a:lnTo>
                      <a:pt x="261" y="178"/>
                    </a:lnTo>
                    <a:lnTo>
                      <a:pt x="260" y="194"/>
                    </a:lnTo>
                    <a:lnTo>
                      <a:pt x="250" y="194"/>
                    </a:lnTo>
                    <a:lnTo>
                      <a:pt x="242" y="183"/>
                    </a:lnTo>
                    <a:lnTo>
                      <a:pt x="233" y="176"/>
                    </a:lnTo>
                    <a:lnTo>
                      <a:pt x="233" y="191"/>
                    </a:lnTo>
                    <a:lnTo>
                      <a:pt x="229" y="198"/>
                    </a:lnTo>
                    <a:lnTo>
                      <a:pt x="223" y="213"/>
                    </a:lnTo>
                    <a:lnTo>
                      <a:pt x="224" y="220"/>
                    </a:lnTo>
                    <a:lnTo>
                      <a:pt x="223" y="219"/>
                    </a:lnTo>
                    <a:lnTo>
                      <a:pt x="206" y="215"/>
                    </a:lnTo>
                    <a:lnTo>
                      <a:pt x="191" y="217"/>
                    </a:lnTo>
                    <a:lnTo>
                      <a:pt x="183" y="220"/>
                    </a:lnTo>
                    <a:lnTo>
                      <a:pt x="175" y="220"/>
                    </a:lnTo>
                    <a:lnTo>
                      <a:pt x="153" y="201"/>
                    </a:lnTo>
                    <a:lnTo>
                      <a:pt x="148" y="191"/>
                    </a:lnTo>
                    <a:lnTo>
                      <a:pt x="134" y="186"/>
                    </a:lnTo>
                    <a:lnTo>
                      <a:pt x="120" y="175"/>
                    </a:lnTo>
                    <a:lnTo>
                      <a:pt x="104" y="171"/>
                    </a:lnTo>
                    <a:lnTo>
                      <a:pt x="78" y="175"/>
                    </a:lnTo>
                    <a:lnTo>
                      <a:pt x="65" y="185"/>
                    </a:lnTo>
                    <a:lnTo>
                      <a:pt x="56" y="186"/>
                    </a:lnTo>
                    <a:lnTo>
                      <a:pt x="50" y="192"/>
                    </a:lnTo>
                    <a:lnTo>
                      <a:pt x="54" y="180"/>
                    </a:lnTo>
                    <a:lnTo>
                      <a:pt x="56" y="155"/>
                    </a:lnTo>
                    <a:lnTo>
                      <a:pt x="60" y="144"/>
                    </a:lnTo>
                    <a:lnTo>
                      <a:pt x="60" y="139"/>
                    </a:lnTo>
                    <a:lnTo>
                      <a:pt x="45" y="137"/>
                    </a:lnTo>
                    <a:lnTo>
                      <a:pt x="43" y="144"/>
                    </a:lnTo>
                    <a:lnTo>
                      <a:pt x="34" y="149"/>
                    </a:lnTo>
                    <a:lnTo>
                      <a:pt x="28" y="140"/>
                    </a:lnTo>
                    <a:lnTo>
                      <a:pt x="22" y="142"/>
                    </a:lnTo>
                    <a:lnTo>
                      <a:pt x="14" y="139"/>
                    </a:lnTo>
                    <a:lnTo>
                      <a:pt x="11" y="128"/>
                    </a:lnTo>
                    <a:lnTo>
                      <a:pt x="5" y="119"/>
                    </a:lnTo>
                    <a:lnTo>
                      <a:pt x="3" y="110"/>
                    </a:lnTo>
                    <a:lnTo>
                      <a:pt x="7" y="100"/>
                    </a:lnTo>
                    <a:lnTo>
                      <a:pt x="18" y="97"/>
                    </a:lnTo>
                    <a:lnTo>
                      <a:pt x="16" y="94"/>
                    </a:lnTo>
                    <a:lnTo>
                      <a:pt x="2" y="92"/>
                    </a:lnTo>
                    <a:lnTo>
                      <a:pt x="3" y="79"/>
                    </a:lnTo>
                    <a:lnTo>
                      <a:pt x="6" y="75"/>
                    </a:lnTo>
                    <a:lnTo>
                      <a:pt x="5" y="72"/>
                    </a:lnTo>
                    <a:lnTo>
                      <a:pt x="0" y="70"/>
                    </a:lnTo>
                    <a:lnTo>
                      <a:pt x="3" y="49"/>
                    </a:lnTo>
                    <a:lnTo>
                      <a:pt x="8" y="46"/>
                    </a:lnTo>
                    <a:lnTo>
                      <a:pt x="35" y="38"/>
                    </a:lnTo>
                    <a:lnTo>
                      <a:pt x="35" y="33"/>
                    </a:lnTo>
                    <a:lnTo>
                      <a:pt x="39" y="30"/>
                    </a:lnTo>
                    <a:lnTo>
                      <a:pt x="48" y="27"/>
                    </a:lnTo>
                    <a:lnTo>
                      <a:pt x="54" y="21"/>
                    </a:lnTo>
                    <a:lnTo>
                      <a:pt x="75" y="22"/>
                    </a:lnTo>
                    <a:lnTo>
                      <a:pt x="77" y="13"/>
                    </a:lnTo>
                    <a:lnTo>
                      <a:pt x="87" y="19"/>
                    </a:lnTo>
                    <a:lnTo>
                      <a:pt x="108" y="16"/>
                    </a:lnTo>
                    <a:lnTo>
                      <a:pt x="113" y="13"/>
                    </a:lnTo>
                    <a:lnTo>
                      <a:pt x="111" y="5"/>
                    </a:lnTo>
                    <a:lnTo>
                      <a:pt x="121" y="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" name="Finland"/>
              <p:cNvSpPr>
                <a:spLocks noChangeAspect="1"/>
              </p:cNvSpPr>
              <p:nvPr>
                <p:custDataLst>
                  <p:tags r:id="rId251"/>
                </p:custDataLst>
              </p:nvPr>
            </p:nvSpPr>
            <p:spPr bwMode="gray">
              <a:xfrm>
                <a:off x="4963932" y="2085494"/>
                <a:ext cx="278532" cy="627281"/>
              </a:xfrm>
              <a:custGeom>
                <a:avLst/>
                <a:gdLst/>
                <a:ahLst/>
                <a:cxnLst>
                  <a:cxn ang="0">
                    <a:pos x="46" y="207"/>
                  </a:cxn>
                  <a:cxn ang="0">
                    <a:pos x="162" y="322"/>
                  </a:cxn>
                  <a:cxn ang="0">
                    <a:pos x="159" y="379"/>
                  </a:cxn>
                  <a:cxn ang="0">
                    <a:pos x="161" y="435"/>
                  </a:cxn>
                  <a:cxn ang="0">
                    <a:pos x="183" y="520"/>
                  </a:cxn>
                  <a:cxn ang="0">
                    <a:pos x="189" y="605"/>
                  </a:cxn>
                  <a:cxn ang="0">
                    <a:pos x="211" y="625"/>
                  </a:cxn>
                  <a:cxn ang="0">
                    <a:pos x="240" y="648"/>
                  </a:cxn>
                  <a:cxn ang="0">
                    <a:pos x="270" y="734"/>
                  </a:cxn>
                  <a:cxn ang="0">
                    <a:pos x="251" y="743"/>
                  </a:cxn>
                  <a:cxn ang="0">
                    <a:pos x="200" y="801"/>
                  </a:cxn>
                  <a:cxn ang="0">
                    <a:pos x="118" y="918"/>
                  </a:cxn>
                  <a:cxn ang="0">
                    <a:pos x="90" y="949"/>
                  </a:cxn>
                  <a:cxn ang="0">
                    <a:pos x="63" y="972"/>
                  </a:cxn>
                  <a:cxn ang="0">
                    <a:pos x="39" y="990"/>
                  </a:cxn>
                  <a:cxn ang="0">
                    <a:pos x="21" y="1019"/>
                  </a:cxn>
                  <a:cxn ang="0">
                    <a:pos x="33" y="1065"/>
                  </a:cxn>
                  <a:cxn ang="0">
                    <a:pos x="43" y="1120"/>
                  </a:cxn>
                  <a:cxn ang="0">
                    <a:pos x="57" y="1152"/>
                  </a:cxn>
                  <a:cxn ang="0">
                    <a:pos x="44" y="1159"/>
                  </a:cxn>
                  <a:cxn ang="0">
                    <a:pos x="39" y="1202"/>
                  </a:cxn>
                  <a:cxn ang="0">
                    <a:pos x="37" y="1224"/>
                  </a:cxn>
                  <a:cxn ang="0">
                    <a:pos x="43" y="1241"/>
                  </a:cxn>
                  <a:cxn ang="0">
                    <a:pos x="64" y="1257"/>
                  </a:cxn>
                  <a:cxn ang="0">
                    <a:pos x="100" y="1278"/>
                  </a:cxn>
                  <a:cxn ang="0">
                    <a:pos x="122" y="1288"/>
                  </a:cxn>
                  <a:cxn ang="0">
                    <a:pos x="136" y="1324"/>
                  </a:cxn>
                  <a:cxn ang="0">
                    <a:pos x="139" y="1333"/>
                  </a:cxn>
                  <a:cxn ang="0">
                    <a:pos x="157" y="1327"/>
                  </a:cxn>
                  <a:cxn ang="0">
                    <a:pos x="200" y="1316"/>
                  </a:cxn>
                  <a:cxn ang="0">
                    <a:pos x="229" y="1299"/>
                  </a:cxn>
                  <a:cxn ang="0">
                    <a:pos x="268" y="1276"/>
                  </a:cxn>
                  <a:cxn ang="0">
                    <a:pos x="290" y="1272"/>
                  </a:cxn>
                  <a:cxn ang="0">
                    <a:pos x="329" y="1268"/>
                  </a:cxn>
                  <a:cxn ang="0">
                    <a:pos x="377" y="1265"/>
                  </a:cxn>
                  <a:cxn ang="0">
                    <a:pos x="423" y="1231"/>
                  </a:cxn>
                  <a:cxn ang="0">
                    <a:pos x="576" y="1050"/>
                  </a:cxn>
                  <a:cxn ang="0">
                    <a:pos x="579" y="962"/>
                  </a:cxn>
                  <a:cxn ang="0">
                    <a:pos x="530" y="891"/>
                  </a:cxn>
                  <a:cxn ang="0">
                    <a:pos x="549" y="822"/>
                  </a:cxn>
                  <a:cxn ang="0">
                    <a:pos x="520" y="753"/>
                  </a:cxn>
                  <a:cxn ang="0">
                    <a:pos x="507" y="699"/>
                  </a:cxn>
                  <a:cxn ang="0">
                    <a:pos x="525" y="639"/>
                  </a:cxn>
                  <a:cxn ang="0">
                    <a:pos x="495" y="546"/>
                  </a:cxn>
                  <a:cxn ang="0">
                    <a:pos x="474" y="469"/>
                  </a:cxn>
                  <a:cxn ang="0">
                    <a:pos x="514" y="354"/>
                  </a:cxn>
                  <a:cxn ang="0">
                    <a:pos x="456" y="291"/>
                  </a:cxn>
                  <a:cxn ang="0">
                    <a:pos x="434" y="232"/>
                  </a:cxn>
                  <a:cxn ang="0">
                    <a:pos x="436" y="185"/>
                  </a:cxn>
                  <a:cxn ang="0">
                    <a:pos x="460" y="126"/>
                  </a:cxn>
                  <a:cxn ang="0">
                    <a:pos x="453" y="41"/>
                  </a:cxn>
                  <a:cxn ang="0">
                    <a:pos x="409" y="0"/>
                  </a:cxn>
                  <a:cxn ang="0">
                    <a:pos x="310" y="32"/>
                  </a:cxn>
                  <a:cxn ang="0">
                    <a:pos x="283" y="132"/>
                  </a:cxn>
                  <a:cxn ang="0">
                    <a:pos x="248" y="201"/>
                  </a:cxn>
                  <a:cxn ang="0">
                    <a:pos x="207" y="205"/>
                  </a:cxn>
                  <a:cxn ang="0">
                    <a:pos x="156" y="214"/>
                  </a:cxn>
                  <a:cxn ang="0">
                    <a:pos x="98" y="196"/>
                  </a:cxn>
                  <a:cxn ang="0">
                    <a:pos x="37" y="116"/>
                  </a:cxn>
                  <a:cxn ang="0">
                    <a:pos x="20" y="150"/>
                  </a:cxn>
                </a:cxnLst>
                <a:rect l="0" t="0" r="r" b="b"/>
                <a:pathLst>
                  <a:path w="593" h="1339">
                    <a:moveTo>
                      <a:pt x="0" y="156"/>
                    </a:moveTo>
                    <a:lnTo>
                      <a:pt x="3" y="156"/>
                    </a:lnTo>
                    <a:lnTo>
                      <a:pt x="5" y="161"/>
                    </a:lnTo>
                    <a:lnTo>
                      <a:pt x="46" y="207"/>
                    </a:lnTo>
                    <a:lnTo>
                      <a:pt x="76" y="237"/>
                    </a:lnTo>
                    <a:lnTo>
                      <a:pt x="112" y="248"/>
                    </a:lnTo>
                    <a:lnTo>
                      <a:pt x="130" y="266"/>
                    </a:lnTo>
                    <a:lnTo>
                      <a:pt x="162" y="322"/>
                    </a:lnTo>
                    <a:lnTo>
                      <a:pt x="165" y="329"/>
                    </a:lnTo>
                    <a:lnTo>
                      <a:pt x="160" y="342"/>
                    </a:lnTo>
                    <a:lnTo>
                      <a:pt x="159" y="358"/>
                    </a:lnTo>
                    <a:lnTo>
                      <a:pt x="159" y="379"/>
                    </a:lnTo>
                    <a:lnTo>
                      <a:pt x="160" y="393"/>
                    </a:lnTo>
                    <a:lnTo>
                      <a:pt x="165" y="399"/>
                    </a:lnTo>
                    <a:lnTo>
                      <a:pt x="167" y="414"/>
                    </a:lnTo>
                    <a:lnTo>
                      <a:pt x="161" y="435"/>
                    </a:lnTo>
                    <a:lnTo>
                      <a:pt x="164" y="452"/>
                    </a:lnTo>
                    <a:lnTo>
                      <a:pt x="184" y="498"/>
                    </a:lnTo>
                    <a:lnTo>
                      <a:pt x="184" y="510"/>
                    </a:lnTo>
                    <a:lnTo>
                      <a:pt x="183" y="520"/>
                    </a:lnTo>
                    <a:lnTo>
                      <a:pt x="175" y="533"/>
                    </a:lnTo>
                    <a:lnTo>
                      <a:pt x="171" y="551"/>
                    </a:lnTo>
                    <a:lnTo>
                      <a:pt x="175" y="571"/>
                    </a:lnTo>
                    <a:lnTo>
                      <a:pt x="189" y="605"/>
                    </a:lnTo>
                    <a:lnTo>
                      <a:pt x="197" y="613"/>
                    </a:lnTo>
                    <a:lnTo>
                      <a:pt x="202" y="614"/>
                    </a:lnTo>
                    <a:lnTo>
                      <a:pt x="205" y="622"/>
                    </a:lnTo>
                    <a:lnTo>
                      <a:pt x="211" y="625"/>
                    </a:lnTo>
                    <a:lnTo>
                      <a:pt x="216" y="619"/>
                    </a:lnTo>
                    <a:lnTo>
                      <a:pt x="220" y="623"/>
                    </a:lnTo>
                    <a:lnTo>
                      <a:pt x="224" y="637"/>
                    </a:lnTo>
                    <a:lnTo>
                      <a:pt x="240" y="648"/>
                    </a:lnTo>
                    <a:lnTo>
                      <a:pt x="257" y="671"/>
                    </a:lnTo>
                    <a:lnTo>
                      <a:pt x="262" y="684"/>
                    </a:lnTo>
                    <a:lnTo>
                      <a:pt x="259" y="714"/>
                    </a:lnTo>
                    <a:lnTo>
                      <a:pt x="270" y="734"/>
                    </a:lnTo>
                    <a:lnTo>
                      <a:pt x="262" y="732"/>
                    </a:lnTo>
                    <a:lnTo>
                      <a:pt x="258" y="740"/>
                    </a:lnTo>
                    <a:lnTo>
                      <a:pt x="262" y="750"/>
                    </a:lnTo>
                    <a:lnTo>
                      <a:pt x="251" y="743"/>
                    </a:lnTo>
                    <a:lnTo>
                      <a:pt x="241" y="745"/>
                    </a:lnTo>
                    <a:lnTo>
                      <a:pt x="222" y="752"/>
                    </a:lnTo>
                    <a:lnTo>
                      <a:pt x="214" y="788"/>
                    </a:lnTo>
                    <a:lnTo>
                      <a:pt x="200" y="801"/>
                    </a:lnTo>
                    <a:lnTo>
                      <a:pt x="181" y="828"/>
                    </a:lnTo>
                    <a:lnTo>
                      <a:pt x="156" y="855"/>
                    </a:lnTo>
                    <a:lnTo>
                      <a:pt x="140" y="879"/>
                    </a:lnTo>
                    <a:lnTo>
                      <a:pt x="118" y="918"/>
                    </a:lnTo>
                    <a:lnTo>
                      <a:pt x="108" y="925"/>
                    </a:lnTo>
                    <a:lnTo>
                      <a:pt x="102" y="935"/>
                    </a:lnTo>
                    <a:lnTo>
                      <a:pt x="97" y="940"/>
                    </a:lnTo>
                    <a:lnTo>
                      <a:pt x="90" y="949"/>
                    </a:lnTo>
                    <a:lnTo>
                      <a:pt x="70" y="952"/>
                    </a:lnTo>
                    <a:lnTo>
                      <a:pt x="62" y="949"/>
                    </a:lnTo>
                    <a:lnTo>
                      <a:pt x="55" y="962"/>
                    </a:lnTo>
                    <a:lnTo>
                      <a:pt x="63" y="972"/>
                    </a:lnTo>
                    <a:lnTo>
                      <a:pt x="59" y="974"/>
                    </a:lnTo>
                    <a:lnTo>
                      <a:pt x="42" y="976"/>
                    </a:lnTo>
                    <a:lnTo>
                      <a:pt x="43" y="982"/>
                    </a:lnTo>
                    <a:lnTo>
                      <a:pt x="39" y="990"/>
                    </a:lnTo>
                    <a:lnTo>
                      <a:pt x="33" y="990"/>
                    </a:lnTo>
                    <a:lnTo>
                      <a:pt x="30" y="993"/>
                    </a:lnTo>
                    <a:lnTo>
                      <a:pt x="26" y="1000"/>
                    </a:lnTo>
                    <a:lnTo>
                      <a:pt x="21" y="1019"/>
                    </a:lnTo>
                    <a:lnTo>
                      <a:pt x="23" y="1039"/>
                    </a:lnTo>
                    <a:lnTo>
                      <a:pt x="26" y="1047"/>
                    </a:lnTo>
                    <a:lnTo>
                      <a:pt x="30" y="1053"/>
                    </a:lnTo>
                    <a:lnTo>
                      <a:pt x="33" y="1065"/>
                    </a:lnTo>
                    <a:lnTo>
                      <a:pt x="30" y="1091"/>
                    </a:lnTo>
                    <a:lnTo>
                      <a:pt x="35" y="1101"/>
                    </a:lnTo>
                    <a:lnTo>
                      <a:pt x="42" y="1109"/>
                    </a:lnTo>
                    <a:lnTo>
                      <a:pt x="43" y="1120"/>
                    </a:lnTo>
                    <a:lnTo>
                      <a:pt x="47" y="1135"/>
                    </a:lnTo>
                    <a:lnTo>
                      <a:pt x="50" y="1144"/>
                    </a:lnTo>
                    <a:lnTo>
                      <a:pt x="55" y="1150"/>
                    </a:lnTo>
                    <a:lnTo>
                      <a:pt x="57" y="1152"/>
                    </a:lnTo>
                    <a:lnTo>
                      <a:pt x="52" y="1148"/>
                    </a:lnTo>
                    <a:lnTo>
                      <a:pt x="47" y="1148"/>
                    </a:lnTo>
                    <a:lnTo>
                      <a:pt x="43" y="1152"/>
                    </a:lnTo>
                    <a:lnTo>
                      <a:pt x="44" y="1159"/>
                    </a:lnTo>
                    <a:lnTo>
                      <a:pt x="43" y="1165"/>
                    </a:lnTo>
                    <a:lnTo>
                      <a:pt x="44" y="1173"/>
                    </a:lnTo>
                    <a:lnTo>
                      <a:pt x="44" y="1188"/>
                    </a:lnTo>
                    <a:lnTo>
                      <a:pt x="39" y="1202"/>
                    </a:lnTo>
                    <a:lnTo>
                      <a:pt x="36" y="1202"/>
                    </a:lnTo>
                    <a:lnTo>
                      <a:pt x="33" y="1211"/>
                    </a:lnTo>
                    <a:lnTo>
                      <a:pt x="37" y="1218"/>
                    </a:lnTo>
                    <a:lnTo>
                      <a:pt x="37" y="1224"/>
                    </a:lnTo>
                    <a:lnTo>
                      <a:pt x="36" y="1229"/>
                    </a:lnTo>
                    <a:lnTo>
                      <a:pt x="37" y="1234"/>
                    </a:lnTo>
                    <a:lnTo>
                      <a:pt x="44" y="1237"/>
                    </a:lnTo>
                    <a:lnTo>
                      <a:pt x="43" y="1241"/>
                    </a:lnTo>
                    <a:lnTo>
                      <a:pt x="38" y="1242"/>
                    </a:lnTo>
                    <a:lnTo>
                      <a:pt x="39" y="1249"/>
                    </a:lnTo>
                    <a:lnTo>
                      <a:pt x="53" y="1249"/>
                    </a:lnTo>
                    <a:lnTo>
                      <a:pt x="64" y="1257"/>
                    </a:lnTo>
                    <a:lnTo>
                      <a:pt x="69" y="1264"/>
                    </a:lnTo>
                    <a:lnTo>
                      <a:pt x="80" y="1269"/>
                    </a:lnTo>
                    <a:lnTo>
                      <a:pt x="97" y="1274"/>
                    </a:lnTo>
                    <a:lnTo>
                      <a:pt x="100" y="1278"/>
                    </a:lnTo>
                    <a:lnTo>
                      <a:pt x="97" y="1285"/>
                    </a:lnTo>
                    <a:lnTo>
                      <a:pt x="106" y="1291"/>
                    </a:lnTo>
                    <a:lnTo>
                      <a:pt x="121" y="1283"/>
                    </a:lnTo>
                    <a:lnTo>
                      <a:pt x="122" y="1288"/>
                    </a:lnTo>
                    <a:lnTo>
                      <a:pt x="122" y="1300"/>
                    </a:lnTo>
                    <a:lnTo>
                      <a:pt x="130" y="1313"/>
                    </a:lnTo>
                    <a:lnTo>
                      <a:pt x="129" y="1321"/>
                    </a:lnTo>
                    <a:lnTo>
                      <a:pt x="136" y="1324"/>
                    </a:lnTo>
                    <a:lnTo>
                      <a:pt x="134" y="1331"/>
                    </a:lnTo>
                    <a:lnTo>
                      <a:pt x="124" y="1338"/>
                    </a:lnTo>
                    <a:lnTo>
                      <a:pt x="129" y="1339"/>
                    </a:lnTo>
                    <a:lnTo>
                      <a:pt x="139" y="1333"/>
                    </a:lnTo>
                    <a:lnTo>
                      <a:pt x="150" y="1313"/>
                    </a:lnTo>
                    <a:lnTo>
                      <a:pt x="152" y="1316"/>
                    </a:lnTo>
                    <a:lnTo>
                      <a:pt x="152" y="1326"/>
                    </a:lnTo>
                    <a:lnTo>
                      <a:pt x="157" y="1327"/>
                    </a:lnTo>
                    <a:lnTo>
                      <a:pt x="181" y="1315"/>
                    </a:lnTo>
                    <a:lnTo>
                      <a:pt x="189" y="1315"/>
                    </a:lnTo>
                    <a:lnTo>
                      <a:pt x="197" y="1311"/>
                    </a:lnTo>
                    <a:lnTo>
                      <a:pt x="200" y="1316"/>
                    </a:lnTo>
                    <a:lnTo>
                      <a:pt x="203" y="1316"/>
                    </a:lnTo>
                    <a:lnTo>
                      <a:pt x="213" y="1306"/>
                    </a:lnTo>
                    <a:lnTo>
                      <a:pt x="221" y="1300"/>
                    </a:lnTo>
                    <a:lnTo>
                      <a:pt x="229" y="1299"/>
                    </a:lnTo>
                    <a:lnTo>
                      <a:pt x="235" y="1301"/>
                    </a:lnTo>
                    <a:lnTo>
                      <a:pt x="251" y="1291"/>
                    </a:lnTo>
                    <a:lnTo>
                      <a:pt x="261" y="1290"/>
                    </a:lnTo>
                    <a:lnTo>
                      <a:pt x="268" y="1276"/>
                    </a:lnTo>
                    <a:lnTo>
                      <a:pt x="273" y="1286"/>
                    </a:lnTo>
                    <a:lnTo>
                      <a:pt x="291" y="1279"/>
                    </a:lnTo>
                    <a:lnTo>
                      <a:pt x="289" y="1269"/>
                    </a:lnTo>
                    <a:lnTo>
                      <a:pt x="290" y="1272"/>
                    </a:lnTo>
                    <a:lnTo>
                      <a:pt x="299" y="1275"/>
                    </a:lnTo>
                    <a:lnTo>
                      <a:pt x="305" y="1275"/>
                    </a:lnTo>
                    <a:lnTo>
                      <a:pt x="311" y="1269"/>
                    </a:lnTo>
                    <a:lnTo>
                      <a:pt x="329" y="1268"/>
                    </a:lnTo>
                    <a:lnTo>
                      <a:pt x="342" y="1263"/>
                    </a:lnTo>
                    <a:lnTo>
                      <a:pt x="351" y="1258"/>
                    </a:lnTo>
                    <a:lnTo>
                      <a:pt x="359" y="1263"/>
                    </a:lnTo>
                    <a:lnTo>
                      <a:pt x="377" y="1265"/>
                    </a:lnTo>
                    <a:lnTo>
                      <a:pt x="382" y="1262"/>
                    </a:lnTo>
                    <a:lnTo>
                      <a:pt x="386" y="1257"/>
                    </a:lnTo>
                    <a:lnTo>
                      <a:pt x="387" y="1258"/>
                    </a:lnTo>
                    <a:lnTo>
                      <a:pt x="423" y="1231"/>
                    </a:lnTo>
                    <a:lnTo>
                      <a:pt x="473" y="1182"/>
                    </a:lnTo>
                    <a:lnTo>
                      <a:pt x="511" y="1139"/>
                    </a:lnTo>
                    <a:lnTo>
                      <a:pt x="563" y="1070"/>
                    </a:lnTo>
                    <a:lnTo>
                      <a:pt x="576" y="1050"/>
                    </a:lnTo>
                    <a:lnTo>
                      <a:pt x="592" y="1012"/>
                    </a:lnTo>
                    <a:lnTo>
                      <a:pt x="593" y="973"/>
                    </a:lnTo>
                    <a:lnTo>
                      <a:pt x="589" y="979"/>
                    </a:lnTo>
                    <a:lnTo>
                      <a:pt x="579" y="962"/>
                    </a:lnTo>
                    <a:lnTo>
                      <a:pt x="574" y="945"/>
                    </a:lnTo>
                    <a:lnTo>
                      <a:pt x="544" y="922"/>
                    </a:lnTo>
                    <a:lnTo>
                      <a:pt x="536" y="909"/>
                    </a:lnTo>
                    <a:lnTo>
                      <a:pt x="530" y="891"/>
                    </a:lnTo>
                    <a:lnTo>
                      <a:pt x="534" y="875"/>
                    </a:lnTo>
                    <a:lnTo>
                      <a:pt x="544" y="860"/>
                    </a:lnTo>
                    <a:lnTo>
                      <a:pt x="550" y="842"/>
                    </a:lnTo>
                    <a:lnTo>
                      <a:pt x="549" y="822"/>
                    </a:lnTo>
                    <a:lnTo>
                      <a:pt x="533" y="807"/>
                    </a:lnTo>
                    <a:lnTo>
                      <a:pt x="526" y="791"/>
                    </a:lnTo>
                    <a:lnTo>
                      <a:pt x="528" y="770"/>
                    </a:lnTo>
                    <a:lnTo>
                      <a:pt x="520" y="753"/>
                    </a:lnTo>
                    <a:lnTo>
                      <a:pt x="504" y="750"/>
                    </a:lnTo>
                    <a:lnTo>
                      <a:pt x="503" y="729"/>
                    </a:lnTo>
                    <a:lnTo>
                      <a:pt x="509" y="718"/>
                    </a:lnTo>
                    <a:lnTo>
                      <a:pt x="507" y="699"/>
                    </a:lnTo>
                    <a:lnTo>
                      <a:pt x="504" y="689"/>
                    </a:lnTo>
                    <a:lnTo>
                      <a:pt x="509" y="673"/>
                    </a:lnTo>
                    <a:lnTo>
                      <a:pt x="511" y="651"/>
                    </a:lnTo>
                    <a:lnTo>
                      <a:pt x="525" y="639"/>
                    </a:lnTo>
                    <a:lnTo>
                      <a:pt x="523" y="624"/>
                    </a:lnTo>
                    <a:lnTo>
                      <a:pt x="521" y="607"/>
                    </a:lnTo>
                    <a:lnTo>
                      <a:pt x="510" y="573"/>
                    </a:lnTo>
                    <a:lnTo>
                      <a:pt x="495" y="546"/>
                    </a:lnTo>
                    <a:lnTo>
                      <a:pt x="493" y="527"/>
                    </a:lnTo>
                    <a:lnTo>
                      <a:pt x="485" y="510"/>
                    </a:lnTo>
                    <a:lnTo>
                      <a:pt x="476" y="490"/>
                    </a:lnTo>
                    <a:lnTo>
                      <a:pt x="474" y="469"/>
                    </a:lnTo>
                    <a:lnTo>
                      <a:pt x="480" y="456"/>
                    </a:lnTo>
                    <a:lnTo>
                      <a:pt x="499" y="413"/>
                    </a:lnTo>
                    <a:lnTo>
                      <a:pt x="517" y="376"/>
                    </a:lnTo>
                    <a:lnTo>
                      <a:pt x="514" y="354"/>
                    </a:lnTo>
                    <a:lnTo>
                      <a:pt x="504" y="339"/>
                    </a:lnTo>
                    <a:lnTo>
                      <a:pt x="484" y="301"/>
                    </a:lnTo>
                    <a:lnTo>
                      <a:pt x="469" y="294"/>
                    </a:lnTo>
                    <a:lnTo>
                      <a:pt x="456" y="291"/>
                    </a:lnTo>
                    <a:lnTo>
                      <a:pt x="446" y="285"/>
                    </a:lnTo>
                    <a:lnTo>
                      <a:pt x="441" y="278"/>
                    </a:lnTo>
                    <a:lnTo>
                      <a:pt x="436" y="258"/>
                    </a:lnTo>
                    <a:lnTo>
                      <a:pt x="434" y="232"/>
                    </a:lnTo>
                    <a:lnTo>
                      <a:pt x="435" y="223"/>
                    </a:lnTo>
                    <a:lnTo>
                      <a:pt x="446" y="194"/>
                    </a:lnTo>
                    <a:lnTo>
                      <a:pt x="446" y="189"/>
                    </a:lnTo>
                    <a:lnTo>
                      <a:pt x="436" y="185"/>
                    </a:lnTo>
                    <a:lnTo>
                      <a:pt x="467" y="158"/>
                    </a:lnTo>
                    <a:lnTo>
                      <a:pt x="457" y="150"/>
                    </a:lnTo>
                    <a:lnTo>
                      <a:pt x="456" y="139"/>
                    </a:lnTo>
                    <a:lnTo>
                      <a:pt x="460" y="126"/>
                    </a:lnTo>
                    <a:lnTo>
                      <a:pt x="479" y="102"/>
                    </a:lnTo>
                    <a:lnTo>
                      <a:pt x="478" y="86"/>
                    </a:lnTo>
                    <a:lnTo>
                      <a:pt x="471" y="58"/>
                    </a:lnTo>
                    <a:lnTo>
                      <a:pt x="453" y="41"/>
                    </a:lnTo>
                    <a:lnTo>
                      <a:pt x="435" y="35"/>
                    </a:lnTo>
                    <a:lnTo>
                      <a:pt x="425" y="26"/>
                    </a:lnTo>
                    <a:lnTo>
                      <a:pt x="415" y="5"/>
                    </a:lnTo>
                    <a:lnTo>
                      <a:pt x="409" y="0"/>
                    </a:lnTo>
                    <a:lnTo>
                      <a:pt x="386" y="5"/>
                    </a:lnTo>
                    <a:lnTo>
                      <a:pt x="348" y="22"/>
                    </a:lnTo>
                    <a:lnTo>
                      <a:pt x="323" y="25"/>
                    </a:lnTo>
                    <a:lnTo>
                      <a:pt x="310" y="32"/>
                    </a:lnTo>
                    <a:lnTo>
                      <a:pt x="300" y="45"/>
                    </a:lnTo>
                    <a:lnTo>
                      <a:pt x="286" y="76"/>
                    </a:lnTo>
                    <a:lnTo>
                      <a:pt x="283" y="118"/>
                    </a:lnTo>
                    <a:lnTo>
                      <a:pt x="283" y="132"/>
                    </a:lnTo>
                    <a:lnTo>
                      <a:pt x="285" y="155"/>
                    </a:lnTo>
                    <a:lnTo>
                      <a:pt x="283" y="167"/>
                    </a:lnTo>
                    <a:lnTo>
                      <a:pt x="257" y="187"/>
                    </a:lnTo>
                    <a:lnTo>
                      <a:pt x="248" y="201"/>
                    </a:lnTo>
                    <a:lnTo>
                      <a:pt x="236" y="210"/>
                    </a:lnTo>
                    <a:lnTo>
                      <a:pt x="220" y="218"/>
                    </a:lnTo>
                    <a:lnTo>
                      <a:pt x="210" y="214"/>
                    </a:lnTo>
                    <a:lnTo>
                      <a:pt x="207" y="205"/>
                    </a:lnTo>
                    <a:lnTo>
                      <a:pt x="198" y="193"/>
                    </a:lnTo>
                    <a:lnTo>
                      <a:pt x="188" y="186"/>
                    </a:lnTo>
                    <a:lnTo>
                      <a:pt x="171" y="205"/>
                    </a:lnTo>
                    <a:lnTo>
                      <a:pt x="156" y="214"/>
                    </a:lnTo>
                    <a:lnTo>
                      <a:pt x="144" y="215"/>
                    </a:lnTo>
                    <a:lnTo>
                      <a:pt x="129" y="208"/>
                    </a:lnTo>
                    <a:lnTo>
                      <a:pt x="103" y="204"/>
                    </a:lnTo>
                    <a:lnTo>
                      <a:pt x="98" y="196"/>
                    </a:lnTo>
                    <a:lnTo>
                      <a:pt x="93" y="177"/>
                    </a:lnTo>
                    <a:lnTo>
                      <a:pt x="63" y="133"/>
                    </a:lnTo>
                    <a:lnTo>
                      <a:pt x="52" y="122"/>
                    </a:lnTo>
                    <a:lnTo>
                      <a:pt x="37" y="116"/>
                    </a:lnTo>
                    <a:lnTo>
                      <a:pt x="25" y="122"/>
                    </a:lnTo>
                    <a:lnTo>
                      <a:pt x="26" y="134"/>
                    </a:lnTo>
                    <a:lnTo>
                      <a:pt x="28" y="146"/>
                    </a:lnTo>
                    <a:lnTo>
                      <a:pt x="20" y="150"/>
                    </a:lnTo>
                    <a:lnTo>
                      <a:pt x="11" y="145"/>
                    </a:lnTo>
                    <a:lnTo>
                      <a:pt x="3" y="149"/>
                    </a:lnTo>
                    <a:lnTo>
                      <a:pt x="0" y="15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" name="Denmark"/>
              <p:cNvSpPr>
                <a:spLocks noChangeAspect="1"/>
              </p:cNvSpPr>
              <p:nvPr>
                <p:custDataLst>
                  <p:tags r:id="rId252"/>
                </p:custDataLst>
              </p:nvPr>
            </p:nvSpPr>
            <p:spPr bwMode="gray">
              <a:xfrm>
                <a:off x="4643270" y="2818101"/>
                <a:ext cx="72559" cy="133414"/>
              </a:xfrm>
              <a:custGeom>
                <a:avLst/>
                <a:gdLst/>
                <a:ahLst/>
                <a:cxnLst>
                  <a:cxn ang="0">
                    <a:pos x="43" y="278"/>
                  </a:cxn>
                  <a:cxn ang="0">
                    <a:pos x="75" y="280"/>
                  </a:cxn>
                  <a:cxn ang="0">
                    <a:pos x="80" y="276"/>
                  </a:cxn>
                  <a:cxn ang="0">
                    <a:pos x="84" y="279"/>
                  </a:cxn>
                  <a:cxn ang="0">
                    <a:pos x="89" y="275"/>
                  </a:cxn>
                  <a:cxn ang="0">
                    <a:pos x="83" y="266"/>
                  </a:cxn>
                  <a:cxn ang="0">
                    <a:pos x="75" y="262"/>
                  </a:cxn>
                  <a:cxn ang="0">
                    <a:pos x="85" y="247"/>
                  </a:cxn>
                  <a:cxn ang="0">
                    <a:pos x="83" y="243"/>
                  </a:cxn>
                  <a:cxn ang="0">
                    <a:pos x="84" y="223"/>
                  </a:cxn>
                  <a:cxn ang="0">
                    <a:pos x="91" y="210"/>
                  </a:cxn>
                  <a:cxn ang="0">
                    <a:pos x="84" y="200"/>
                  </a:cxn>
                  <a:cxn ang="0">
                    <a:pos x="102" y="199"/>
                  </a:cxn>
                  <a:cxn ang="0">
                    <a:pos x="98" y="185"/>
                  </a:cxn>
                  <a:cxn ang="0">
                    <a:pos x="116" y="182"/>
                  </a:cxn>
                  <a:cxn ang="0">
                    <a:pos x="118" y="163"/>
                  </a:cxn>
                  <a:cxn ang="0">
                    <a:pos x="127" y="149"/>
                  </a:cxn>
                  <a:cxn ang="0">
                    <a:pos x="130" y="161"/>
                  </a:cxn>
                  <a:cxn ang="0">
                    <a:pos x="138" y="156"/>
                  </a:cxn>
                  <a:cxn ang="0">
                    <a:pos x="154" y="133"/>
                  </a:cxn>
                  <a:cxn ang="0">
                    <a:pos x="146" y="123"/>
                  </a:cxn>
                  <a:cxn ang="0">
                    <a:pos x="129" y="126"/>
                  </a:cxn>
                  <a:cxn ang="0">
                    <a:pos x="119" y="120"/>
                  </a:cxn>
                  <a:cxn ang="0">
                    <a:pos x="112" y="123"/>
                  </a:cxn>
                  <a:cxn ang="0">
                    <a:pos x="119" y="109"/>
                  </a:cxn>
                  <a:cxn ang="0">
                    <a:pos x="108" y="109"/>
                  </a:cxn>
                  <a:cxn ang="0">
                    <a:pos x="117" y="102"/>
                  </a:cxn>
                  <a:cxn ang="0">
                    <a:pos x="118" y="92"/>
                  </a:cxn>
                  <a:cxn ang="0">
                    <a:pos x="122" y="66"/>
                  </a:cxn>
                  <a:cxn ang="0">
                    <a:pos x="132" y="39"/>
                  </a:cxn>
                  <a:cxn ang="0">
                    <a:pos x="128" y="10"/>
                  </a:cxn>
                  <a:cxn ang="0">
                    <a:pos x="129" y="0"/>
                  </a:cxn>
                  <a:cxn ang="0">
                    <a:pos x="101" y="17"/>
                  </a:cxn>
                  <a:cxn ang="0">
                    <a:pos x="83" y="45"/>
                  </a:cxn>
                  <a:cxn ang="0">
                    <a:pos x="28" y="63"/>
                  </a:cxn>
                  <a:cxn ang="0">
                    <a:pos x="15" y="82"/>
                  </a:cxn>
                  <a:cxn ang="0">
                    <a:pos x="6" y="119"/>
                  </a:cxn>
                  <a:cxn ang="0">
                    <a:pos x="0" y="146"/>
                  </a:cxn>
                  <a:cxn ang="0">
                    <a:pos x="6" y="185"/>
                  </a:cxn>
                  <a:cxn ang="0">
                    <a:pos x="4" y="216"/>
                  </a:cxn>
                  <a:cxn ang="0">
                    <a:pos x="12" y="214"/>
                  </a:cxn>
                  <a:cxn ang="0">
                    <a:pos x="28" y="226"/>
                  </a:cxn>
                  <a:cxn ang="0">
                    <a:pos x="33" y="269"/>
                  </a:cxn>
                </a:cxnLst>
                <a:rect l="0" t="0" r="r" b="b"/>
                <a:pathLst>
                  <a:path w="154" h="284">
                    <a:moveTo>
                      <a:pt x="35" y="279"/>
                    </a:moveTo>
                    <a:lnTo>
                      <a:pt x="43" y="278"/>
                    </a:lnTo>
                    <a:lnTo>
                      <a:pt x="67" y="284"/>
                    </a:lnTo>
                    <a:lnTo>
                      <a:pt x="75" y="280"/>
                    </a:lnTo>
                    <a:lnTo>
                      <a:pt x="79" y="279"/>
                    </a:lnTo>
                    <a:lnTo>
                      <a:pt x="80" y="276"/>
                    </a:lnTo>
                    <a:lnTo>
                      <a:pt x="83" y="276"/>
                    </a:lnTo>
                    <a:lnTo>
                      <a:pt x="84" y="279"/>
                    </a:lnTo>
                    <a:lnTo>
                      <a:pt x="89" y="279"/>
                    </a:lnTo>
                    <a:lnTo>
                      <a:pt x="89" y="275"/>
                    </a:lnTo>
                    <a:lnTo>
                      <a:pt x="86" y="270"/>
                    </a:lnTo>
                    <a:lnTo>
                      <a:pt x="83" y="266"/>
                    </a:lnTo>
                    <a:lnTo>
                      <a:pt x="75" y="266"/>
                    </a:lnTo>
                    <a:lnTo>
                      <a:pt x="75" y="262"/>
                    </a:lnTo>
                    <a:lnTo>
                      <a:pt x="75" y="253"/>
                    </a:lnTo>
                    <a:lnTo>
                      <a:pt x="85" y="247"/>
                    </a:lnTo>
                    <a:lnTo>
                      <a:pt x="85" y="243"/>
                    </a:lnTo>
                    <a:lnTo>
                      <a:pt x="83" y="243"/>
                    </a:lnTo>
                    <a:lnTo>
                      <a:pt x="81" y="235"/>
                    </a:lnTo>
                    <a:lnTo>
                      <a:pt x="84" y="223"/>
                    </a:lnTo>
                    <a:lnTo>
                      <a:pt x="81" y="220"/>
                    </a:lnTo>
                    <a:lnTo>
                      <a:pt x="91" y="210"/>
                    </a:lnTo>
                    <a:lnTo>
                      <a:pt x="90" y="206"/>
                    </a:lnTo>
                    <a:lnTo>
                      <a:pt x="84" y="200"/>
                    </a:lnTo>
                    <a:lnTo>
                      <a:pt x="90" y="198"/>
                    </a:lnTo>
                    <a:lnTo>
                      <a:pt x="102" y="199"/>
                    </a:lnTo>
                    <a:lnTo>
                      <a:pt x="103" y="193"/>
                    </a:lnTo>
                    <a:lnTo>
                      <a:pt x="98" y="185"/>
                    </a:lnTo>
                    <a:lnTo>
                      <a:pt x="102" y="180"/>
                    </a:lnTo>
                    <a:lnTo>
                      <a:pt x="116" y="182"/>
                    </a:lnTo>
                    <a:lnTo>
                      <a:pt x="121" y="176"/>
                    </a:lnTo>
                    <a:lnTo>
                      <a:pt x="118" y="163"/>
                    </a:lnTo>
                    <a:lnTo>
                      <a:pt x="122" y="151"/>
                    </a:lnTo>
                    <a:lnTo>
                      <a:pt x="127" y="149"/>
                    </a:lnTo>
                    <a:lnTo>
                      <a:pt x="127" y="153"/>
                    </a:lnTo>
                    <a:lnTo>
                      <a:pt x="130" y="161"/>
                    </a:lnTo>
                    <a:lnTo>
                      <a:pt x="137" y="152"/>
                    </a:lnTo>
                    <a:lnTo>
                      <a:pt x="138" y="156"/>
                    </a:lnTo>
                    <a:lnTo>
                      <a:pt x="153" y="144"/>
                    </a:lnTo>
                    <a:lnTo>
                      <a:pt x="154" y="133"/>
                    </a:lnTo>
                    <a:lnTo>
                      <a:pt x="151" y="125"/>
                    </a:lnTo>
                    <a:lnTo>
                      <a:pt x="146" y="123"/>
                    </a:lnTo>
                    <a:lnTo>
                      <a:pt x="137" y="124"/>
                    </a:lnTo>
                    <a:lnTo>
                      <a:pt x="129" y="126"/>
                    </a:lnTo>
                    <a:lnTo>
                      <a:pt x="126" y="120"/>
                    </a:lnTo>
                    <a:lnTo>
                      <a:pt x="119" y="120"/>
                    </a:lnTo>
                    <a:lnTo>
                      <a:pt x="114" y="128"/>
                    </a:lnTo>
                    <a:lnTo>
                      <a:pt x="112" y="123"/>
                    </a:lnTo>
                    <a:lnTo>
                      <a:pt x="113" y="117"/>
                    </a:lnTo>
                    <a:lnTo>
                      <a:pt x="119" y="109"/>
                    </a:lnTo>
                    <a:lnTo>
                      <a:pt x="118" y="107"/>
                    </a:lnTo>
                    <a:lnTo>
                      <a:pt x="108" y="109"/>
                    </a:lnTo>
                    <a:lnTo>
                      <a:pt x="108" y="106"/>
                    </a:lnTo>
                    <a:lnTo>
                      <a:pt x="117" y="102"/>
                    </a:lnTo>
                    <a:lnTo>
                      <a:pt x="117" y="93"/>
                    </a:lnTo>
                    <a:lnTo>
                      <a:pt x="118" y="92"/>
                    </a:lnTo>
                    <a:lnTo>
                      <a:pt x="118" y="80"/>
                    </a:lnTo>
                    <a:lnTo>
                      <a:pt x="122" y="66"/>
                    </a:lnTo>
                    <a:lnTo>
                      <a:pt x="132" y="48"/>
                    </a:lnTo>
                    <a:lnTo>
                      <a:pt x="132" y="39"/>
                    </a:lnTo>
                    <a:lnTo>
                      <a:pt x="126" y="20"/>
                    </a:lnTo>
                    <a:lnTo>
                      <a:pt x="128" y="10"/>
                    </a:lnTo>
                    <a:lnTo>
                      <a:pt x="130" y="2"/>
                    </a:lnTo>
                    <a:lnTo>
                      <a:pt x="129" y="0"/>
                    </a:lnTo>
                    <a:lnTo>
                      <a:pt x="123" y="6"/>
                    </a:lnTo>
                    <a:lnTo>
                      <a:pt x="101" y="17"/>
                    </a:lnTo>
                    <a:lnTo>
                      <a:pt x="85" y="34"/>
                    </a:lnTo>
                    <a:lnTo>
                      <a:pt x="83" y="45"/>
                    </a:lnTo>
                    <a:lnTo>
                      <a:pt x="71" y="54"/>
                    </a:lnTo>
                    <a:lnTo>
                      <a:pt x="28" y="63"/>
                    </a:lnTo>
                    <a:lnTo>
                      <a:pt x="20" y="71"/>
                    </a:lnTo>
                    <a:lnTo>
                      <a:pt x="15" y="82"/>
                    </a:lnTo>
                    <a:lnTo>
                      <a:pt x="8" y="107"/>
                    </a:lnTo>
                    <a:lnTo>
                      <a:pt x="6" y="119"/>
                    </a:lnTo>
                    <a:lnTo>
                      <a:pt x="0" y="134"/>
                    </a:lnTo>
                    <a:lnTo>
                      <a:pt x="0" y="146"/>
                    </a:lnTo>
                    <a:lnTo>
                      <a:pt x="3" y="174"/>
                    </a:lnTo>
                    <a:lnTo>
                      <a:pt x="6" y="185"/>
                    </a:lnTo>
                    <a:lnTo>
                      <a:pt x="6" y="199"/>
                    </a:lnTo>
                    <a:lnTo>
                      <a:pt x="4" y="216"/>
                    </a:lnTo>
                    <a:lnTo>
                      <a:pt x="9" y="216"/>
                    </a:lnTo>
                    <a:lnTo>
                      <a:pt x="12" y="214"/>
                    </a:lnTo>
                    <a:lnTo>
                      <a:pt x="21" y="219"/>
                    </a:lnTo>
                    <a:lnTo>
                      <a:pt x="28" y="226"/>
                    </a:lnTo>
                    <a:lnTo>
                      <a:pt x="33" y="236"/>
                    </a:lnTo>
                    <a:lnTo>
                      <a:pt x="33" y="269"/>
                    </a:lnTo>
                    <a:lnTo>
                      <a:pt x="35" y="27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" name="Norway"/>
              <p:cNvSpPr>
                <a:spLocks noChangeAspect="1"/>
              </p:cNvSpPr>
              <p:nvPr>
                <p:custDataLst>
                  <p:tags r:id="rId253"/>
                </p:custDataLst>
              </p:nvPr>
            </p:nvSpPr>
            <p:spPr bwMode="gray">
              <a:xfrm>
                <a:off x="4566030" y="2008254"/>
                <a:ext cx="667071" cy="795804"/>
              </a:xfrm>
              <a:custGeom>
                <a:avLst/>
                <a:gdLst/>
                <a:ahLst/>
                <a:cxnLst>
                  <a:cxn ang="0">
                    <a:pos x="1358" y="214"/>
                  </a:cxn>
                  <a:cxn ang="0">
                    <a:pos x="1321" y="157"/>
                  </a:cxn>
                  <a:cxn ang="0">
                    <a:pos x="1355" y="75"/>
                  </a:cxn>
                  <a:cxn ang="0">
                    <a:pos x="1290" y="70"/>
                  </a:cxn>
                  <a:cxn ang="0">
                    <a:pos x="1260" y="47"/>
                  </a:cxn>
                  <a:cxn ang="0">
                    <a:pos x="1218" y="67"/>
                  </a:cxn>
                  <a:cxn ang="0">
                    <a:pos x="1176" y="31"/>
                  </a:cxn>
                  <a:cxn ang="0">
                    <a:pos x="1106" y="112"/>
                  </a:cxn>
                  <a:cxn ang="0">
                    <a:pos x="1074" y="26"/>
                  </a:cxn>
                  <a:cxn ang="0">
                    <a:pos x="1003" y="159"/>
                  </a:cxn>
                  <a:cxn ang="0">
                    <a:pos x="944" y="150"/>
                  </a:cxn>
                  <a:cxn ang="0">
                    <a:pos x="930" y="178"/>
                  </a:cxn>
                  <a:cxn ang="0">
                    <a:pos x="874" y="202"/>
                  </a:cxn>
                  <a:cxn ang="0">
                    <a:pos x="841" y="212"/>
                  </a:cxn>
                  <a:cxn ang="0">
                    <a:pos x="795" y="291"/>
                  </a:cxn>
                  <a:cxn ang="0">
                    <a:pos x="726" y="285"/>
                  </a:cxn>
                  <a:cxn ang="0">
                    <a:pos x="704" y="355"/>
                  </a:cxn>
                  <a:cxn ang="0">
                    <a:pos x="632" y="407"/>
                  </a:cxn>
                  <a:cxn ang="0">
                    <a:pos x="633" y="422"/>
                  </a:cxn>
                  <a:cxn ang="0">
                    <a:pos x="586" y="471"/>
                  </a:cxn>
                  <a:cxn ang="0">
                    <a:pos x="561" y="542"/>
                  </a:cxn>
                  <a:cxn ang="0">
                    <a:pos x="520" y="591"/>
                  </a:cxn>
                  <a:cxn ang="0">
                    <a:pos x="459" y="673"/>
                  </a:cxn>
                  <a:cxn ang="0">
                    <a:pos x="436" y="734"/>
                  </a:cxn>
                  <a:cxn ang="0">
                    <a:pos x="420" y="796"/>
                  </a:cxn>
                  <a:cxn ang="0">
                    <a:pos x="387" y="856"/>
                  </a:cxn>
                  <a:cxn ang="0">
                    <a:pos x="360" y="902"/>
                  </a:cxn>
                  <a:cxn ang="0">
                    <a:pos x="305" y="969"/>
                  </a:cxn>
                  <a:cxn ang="0">
                    <a:pos x="320" y="1052"/>
                  </a:cxn>
                  <a:cxn ang="0">
                    <a:pos x="284" y="1096"/>
                  </a:cxn>
                  <a:cxn ang="0">
                    <a:pos x="228" y="1097"/>
                  </a:cxn>
                  <a:cxn ang="0">
                    <a:pos x="167" y="1122"/>
                  </a:cxn>
                  <a:cxn ang="0">
                    <a:pos x="137" y="1182"/>
                  </a:cxn>
                  <a:cxn ang="0">
                    <a:pos x="75" y="1214"/>
                  </a:cxn>
                  <a:cxn ang="0">
                    <a:pos x="53" y="1253"/>
                  </a:cxn>
                  <a:cxn ang="0">
                    <a:pos x="53" y="1279"/>
                  </a:cxn>
                  <a:cxn ang="0">
                    <a:pos x="16" y="1310"/>
                  </a:cxn>
                  <a:cxn ang="0">
                    <a:pos x="74" y="1349"/>
                  </a:cxn>
                  <a:cxn ang="0">
                    <a:pos x="127" y="1354"/>
                  </a:cxn>
                  <a:cxn ang="0">
                    <a:pos x="57" y="1370"/>
                  </a:cxn>
                  <a:cxn ang="0">
                    <a:pos x="0" y="1407"/>
                  </a:cxn>
                  <a:cxn ang="0">
                    <a:pos x="30" y="1461"/>
                  </a:cxn>
                  <a:cxn ang="0">
                    <a:pos x="88" y="1428"/>
                  </a:cxn>
                  <a:cxn ang="0">
                    <a:pos x="40" y="1506"/>
                  </a:cxn>
                  <a:cxn ang="0">
                    <a:pos x="16" y="1560"/>
                  </a:cxn>
                  <a:cxn ang="0">
                    <a:pos x="64" y="1571"/>
                  </a:cxn>
                  <a:cxn ang="0">
                    <a:pos x="85" y="1677"/>
                  </a:cxn>
                  <a:cxn ang="0">
                    <a:pos x="190" y="1671"/>
                  </a:cxn>
                  <a:cxn ang="0">
                    <a:pos x="293" y="1556"/>
                  </a:cxn>
                  <a:cxn ang="0">
                    <a:pos x="299" y="1506"/>
                  </a:cxn>
                  <a:cxn ang="0">
                    <a:pos x="339" y="1614"/>
                  </a:cxn>
                  <a:cxn ang="0">
                    <a:pos x="400" y="1394"/>
                  </a:cxn>
                  <a:cxn ang="0">
                    <a:pos x="386" y="1186"/>
                  </a:cxn>
                  <a:cxn ang="0">
                    <a:pos x="488" y="1020"/>
                  </a:cxn>
                  <a:cxn ang="0">
                    <a:pos x="542" y="750"/>
                  </a:cxn>
                  <a:cxn ang="0">
                    <a:pos x="633" y="532"/>
                  </a:cxn>
                  <a:cxn ang="0">
                    <a:pos x="729" y="404"/>
                  </a:cxn>
                  <a:cxn ang="0">
                    <a:pos x="826" y="326"/>
                  </a:cxn>
                  <a:cxn ang="0">
                    <a:pos x="957" y="371"/>
                  </a:cxn>
                  <a:cxn ang="0">
                    <a:pos x="1139" y="322"/>
                  </a:cxn>
                  <a:cxn ang="0">
                    <a:pos x="1325" y="225"/>
                  </a:cxn>
                  <a:cxn ang="0">
                    <a:pos x="1381" y="239"/>
                  </a:cxn>
                </a:cxnLst>
                <a:rect l="0" t="0" r="r" b="b"/>
                <a:pathLst>
                  <a:path w="1427" h="1701">
                    <a:moveTo>
                      <a:pt x="1419" y="216"/>
                    </a:moveTo>
                    <a:lnTo>
                      <a:pt x="1397" y="212"/>
                    </a:lnTo>
                    <a:lnTo>
                      <a:pt x="1395" y="232"/>
                    </a:lnTo>
                    <a:lnTo>
                      <a:pt x="1388" y="232"/>
                    </a:lnTo>
                    <a:lnTo>
                      <a:pt x="1390" y="229"/>
                    </a:lnTo>
                    <a:lnTo>
                      <a:pt x="1380" y="225"/>
                    </a:lnTo>
                    <a:lnTo>
                      <a:pt x="1376" y="219"/>
                    </a:lnTo>
                    <a:lnTo>
                      <a:pt x="1376" y="231"/>
                    </a:lnTo>
                    <a:lnTo>
                      <a:pt x="1375" y="234"/>
                    </a:lnTo>
                    <a:lnTo>
                      <a:pt x="1370" y="224"/>
                    </a:lnTo>
                    <a:lnTo>
                      <a:pt x="1357" y="226"/>
                    </a:lnTo>
                    <a:lnTo>
                      <a:pt x="1347" y="232"/>
                    </a:lnTo>
                    <a:lnTo>
                      <a:pt x="1350" y="220"/>
                    </a:lnTo>
                    <a:lnTo>
                      <a:pt x="1358" y="214"/>
                    </a:lnTo>
                    <a:lnTo>
                      <a:pt x="1365" y="212"/>
                    </a:lnTo>
                    <a:lnTo>
                      <a:pt x="1368" y="205"/>
                    </a:lnTo>
                    <a:lnTo>
                      <a:pt x="1366" y="200"/>
                    </a:lnTo>
                    <a:lnTo>
                      <a:pt x="1361" y="193"/>
                    </a:lnTo>
                    <a:lnTo>
                      <a:pt x="1341" y="196"/>
                    </a:lnTo>
                    <a:lnTo>
                      <a:pt x="1344" y="189"/>
                    </a:lnTo>
                    <a:lnTo>
                      <a:pt x="1338" y="183"/>
                    </a:lnTo>
                    <a:lnTo>
                      <a:pt x="1326" y="177"/>
                    </a:lnTo>
                    <a:lnTo>
                      <a:pt x="1315" y="166"/>
                    </a:lnTo>
                    <a:lnTo>
                      <a:pt x="1301" y="162"/>
                    </a:lnTo>
                    <a:lnTo>
                      <a:pt x="1296" y="156"/>
                    </a:lnTo>
                    <a:lnTo>
                      <a:pt x="1299" y="153"/>
                    </a:lnTo>
                    <a:lnTo>
                      <a:pt x="1299" y="149"/>
                    </a:lnTo>
                    <a:lnTo>
                      <a:pt x="1321" y="157"/>
                    </a:lnTo>
                    <a:lnTo>
                      <a:pt x="1371" y="166"/>
                    </a:lnTo>
                    <a:lnTo>
                      <a:pt x="1407" y="137"/>
                    </a:lnTo>
                    <a:lnTo>
                      <a:pt x="1419" y="132"/>
                    </a:lnTo>
                    <a:lnTo>
                      <a:pt x="1427" y="126"/>
                    </a:lnTo>
                    <a:lnTo>
                      <a:pt x="1424" y="112"/>
                    </a:lnTo>
                    <a:lnTo>
                      <a:pt x="1412" y="106"/>
                    </a:lnTo>
                    <a:lnTo>
                      <a:pt x="1404" y="92"/>
                    </a:lnTo>
                    <a:lnTo>
                      <a:pt x="1388" y="91"/>
                    </a:lnTo>
                    <a:lnTo>
                      <a:pt x="1380" y="87"/>
                    </a:lnTo>
                    <a:lnTo>
                      <a:pt x="1388" y="80"/>
                    </a:lnTo>
                    <a:lnTo>
                      <a:pt x="1374" y="73"/>
                    </a:lnTo>
                    <a:lnTo>
                      <a:pt x="1369" y="63"/>
                    </a:lnTo>
                    <a:lnTo>
                      <a:pt x="1361" y="71"/>
                    </a:lnTo>
                    <a:lnTo>
                      <a:pt x="1355" y="75"/>
                    </a:lnTo>
                    <a:lnTo>
                      <a:pt x="1355" y="68"/>
                    </a:lnTo>
                    <a:lnTo>
                      <a:pt x="1353" y="63"/>
                    </a:lnTo>
                    <a:lnTo>
                      <a:pt x="1333" y="70"/>
                    </a:lnTo>
                    <a:lnTo>
                      <a:pt x="1332" y="68"/>
                    </a:lnTo>
                    <a:lnTo>
                      <a:pt x="1331" y="63"/>
                    </a:lnTo>
                    <a:lnTo>
                      <a:pt x="1332" y="59"/>
                    </a:lnTo>
                    <a:lnTo>
                      <a:pt x="1332" y="49"/>
                    </a:lnTo>
                    <a:lnTo>
                      <a:pt x="1327" y="46"/>
                    </a:lnTo>
                    <a:lnTo>
                      <a:pt x="1325" y="38"/>
                    </a:lnTo>
                    <a:lnTo>
                      <a:pt x="1316" y="42"/>
                    </a:lnTo>
                    <a:lnTo>
                      <a:pt x="1310" y="38"/>
                    </a:lnTo>
                    <a:lnTo>
                      <a:pt x="1301" y="41"/>
                    </a:lnTo>
                    <a:lnTo>
                      <a:pt x="1293" y="56"/>
                    </a:lnTo>
                    <a:lnTo>
                      <a:pt x="1290" y="70"/>
                    </a:lnTo>
                    <a:lnTo>
                      <a:pt x="1290" y="89"/>
                    </a:lnTo>
                    <a:lnTo>
                      <a:pt x="1293" y="103"/>
                    </a:lnTo>
                    <a:lnTo>
                      <a:pt x="1280" y="110"/>
                    </a:lnTo>
                    <a:lnTo>
                      <a:pt x="1271" y="102"/>
                    </a:lnTo>
                    <a:lnTo>
                      <a:pt x="1260" y="105"/>
                    </a:lnTo>
                    <a:lnTo>
                      <a:pt x="1257" y="101"/>
                    </a:lnTo>
                    <a:lnTo>
                      <a:pt x="1267" y="91"/>
                    </a:lnTo>
                    <a:lnTo>
                      <a:pt x="1277" y="76"/>
                    </a:lnTo>
                    <a:lnTo>
                      <a:pt x="1272" y="67"/>
                    </a:lnTo>
                    <a:lnTo>
                      <a:pt x="1257" y="78"/>
                    </a:lnTo>
                    <a:lnTo>
                      <a:pt x="1247" y="78"/>
                    </a:lnTo>
                    <a:lnTo>
                      <a:pt x="1262" y="67"/>
                    </a:lnTo>
                    <a:lnTo>
                      <a:pt x="1253" y="56"/>
                    </a:lnTo>
                    <a:lnTo>
                      <a:pt x="1260" y="47"/>
                    </a:lnTo>
                    <a:lnTo>
                      <a:pt x="1277" y="49"/>
                    </a:lnTo>
                    <a:lnTo>
                      <a:pt x="1284" y="35"/>
                    </a:lnTo>
                    <a:lnTo>
                      <a:pt x="1285" y="19"/>
                    </a:lnTo>
                    <a:lnTo>
                      <a:pt x="1273" y="19"/>
                    </a:lnTo>
                    <a:lnTo>
                      <a:pt x="1275" y="9"/>
                    </a:lnTo>
                    <a:lnTo>
                      <a:pt x="1268" y="3"/>
                    </a:lnTo>
                    <a:lnTo>
                      <a:pt x="1262" y="3"/>
                    </a:lnTo>
                    <a:lnTo>
                      <a:pt x="1250" y="13"/>
                    </a:lnTo>
                    <a:lnTo>
                      <a:pt x="1239" y="0"/>
                    </a:lnTo>
                    <a:lnTo>
                      <a:pt x="1236" y="17"/>
                    </a:lnTo>
                    <a:lnTo>
                      <a:pt x="1231" y="37"/>
                    </a:lnTo>
                    <a:lnTo>
                      <a:pt x="1226" y="49"/>
                    </a:lnTo>
                    <a:lnTo>
                      <a:pt x="1220" y="59"/>
                    </a:lnTo>
                    <a:lnTo>
                      <a:pt x="1218" y="67"/>
                    </a:lnTo>
                    <a:lnTo>
                      <a:pt x="1219" y="78"/>
                    </a:lnTo>
                    <a:lnTo>
                      <a:pt x="1212" y="79"/>
                    </a:lnTo>
                    <a:lnTo>
                      <a:pt x="1208" y="89"/>
                    </a:lnTo>
                    <a:lnTo>
                      <a:pt x="1208" y="103"/>
                    </a:lnTo>
                    <a:lnTo>
                      <a:pt x="1197" y="103"/>
                    </a:lnTo>
                    <a:lnTo>
                      <a:pt x="1182" y="118"/>
                    </a:lnTo>
                    <a:lnTo>
                      <a:pt x="1183" y="102"/>
                    </a:lnTo>
                    <a:lnTo>
                      <a:pt x="1188" y="85"/>
                    </a:lnTo>
                    <a:lnTo>
                      <a:pt x="1178" y="70"/>
                    </a:lnTo>
                    <a:lnTo>
                      <a:pt x="1188" y="62"/>
                    </a:lnTo>
                    <a:lnTo>
                      <a:pt x="1188" y="41"/>
                    </a:lnTo>
                    <a:lnTo>
                      <a:pt x="1187" y="28"/>
                    </a:lnTo>
                    <a:lnTo>
                      <a:pt x="1182" y="27"/>
                    </a:lnTo>
                    <a:lnTo>
                      <a:pt x="1176" y="31"/>
                    </a:lnTo>
                    <a:lnTo>
                      <a:pt x="1142" y="90"/>
                    </a:lnTo>
                    <a:lnTo>
                      <a:pt x="1135" y="96"/>
                    </a:lnTo>
                    <a:lnTo>
                      <a:pt x="1129" y="111"/>
                    </a:lnTo>
                    <a:lnTo>
                      <a:pt x="1121" y="122"/>
                    </a:lnTo>
                    <a:lnTo>
                      <a:pt x="1115" y="140"/>
                    </a:lnTo>
                    <a:lnTo>
                      <a:pt x="1123" y="132"/>
                    </a:lnTo>
                    <a:lnTo>
                      <a:pt x="1101" y="167"/>
                    </a:lnTo>
                    <a:lnTo>
                      <a:pt x="1092" y="172"/>
                    </a:lnTo>
                    <a:lnTo>
                      <a:pt x="1091" y="160"/>
                    </a:lnTo>
                    <a:lnTo>
                      <a:pt x="1092" y="148"/>
                    </a:lnTo>
                    <a:lnTo>
                      <a:pt x="1099" y="139"/>
                    </a:lnTo>
                    <a:lnTo>
                      <a:pt x="1104" y="137"/>
                    </a:lnTo>
                    <a:lnTo>
                      <a:pt x="1104" y="129"/>
                    </a:lnTo>
                    <a:lnTo>
                      <a:pt x="1106" y="112"/>
                    </a:lnTo>
                    <a:lnTo>
                      <a:pt x="1105" y="105"/>
                    </a:lnTo>
                    <a:lnTo>
                      <a:pt x="1111" y="87"/>
                    </a:lnTo>
                    <a:lnTo>
                      <a:pt x="1133" y="58"/>
                    </a:lnTo>
                    <a:lnTo>
                      <a:pt x="1140" y="42"/>
                    </a:lnTo>
                    <a:lnTo>
                      <a:pt x="1131" y="37"/>
                    </a:lnTo>
                    <a:lnTo>
                      <a:pt x="1116" y="48"/>
                    </a:lnTo>
                    <a:lnTo>
                      <a:pt x="1107" y="51"/>
                    </a:lnTo>
                    <a:lnTo>
                      <a:pt x="1106" y="37"/>
                    </a:lnTo>
                    <a:lnTo>
                      <a:pt x="1100" y="33"/>
                    </a:lnTo>
                    <a:lnTo>
                      <a:pt x="1096" y="27"/>
                    </a:lnTo>
                    <a:lnTo>
                      <a:pt x="1095" y="20"/>
                    </a:lnTo>
                    <a:lnTo>
                      <a:pt x="1085" y="32"/>
                    </a:lnTo>
                    <a:lnTo>
                      <a:pt x="1081" y="26"/>
                    </a:lnTo>
                    <a:lnTo>
                      <a:pt x="1074" y="26"/>
                    </a:lnTo>
                    <a:lnTo>
                      <a:pt x="1073" y="51"/>
                    </a:lnTo>
                    <a:lnTo>
                      <a:pt x="1059" y="46"/>
                    </a:lnTo>
                    <a:lnTo>
                      <a:pt x="1065" y="59"/>
                    </a:lnTo>
                    <a:lnTo>
                      <a:pt x="1073" y="67"/>
                    </a:lnTo>
                    <a:lnTo>
                      <a:pt x="1074" y="71"/>
                    </a:lnTo>
                    <a:lnTo>
                      <a:pt x="1061" y="79"/>
                    </a:lnTo>
                    <a:lnTo>
                      <a:pt x="1053" y="91"/>
                    </a:lnTo>
                    <a:lnTo>
                      <a:pt x="1057" y="105"/>
                    </a:lnTo>
                    <a:lnTo>
                      <a:pt x="1032" y="105"/>
                    </a:lnTo>
                    <a:lnTo>
                      <a:pt x="1020" y="118"/>
                    </a:lnTo>
                    <a:lnTo>
                      <a:pt x="1015" y="129"/>
                    </a:lnTo>
                    <a:lnTo>
                      <a:pt x="1002" y="144"/>
                    </a:lnTo>
                    <a:lnTo>
                      <a:pt x="1000" y="150"/>
                    </a:lnTo>
                    <a:lnTo>
                      <a:pt x="1003" y="159"/>
                    </a:lnTo>
                    <a:lnTo>
                      <a:pt x="1000" y="169"/>
                    </a:lnTo>
                    <a:lnTo>
                      <a:pt x="1000" y="183"/>
                    </a:lnTo>
                    <a:lnTo>
                      <a:pt x="992" y="184"/>
                    </a:lnTo>
                    <a:lnTo>
                      <a:pt x="987" y="178"/>
                    </a:lnTo>
                    <a:lnTo>
                      <a:pt x="987" y="170"/>
                    </a:lnTo>
                    <a:lnTo>
                      <a:pt x="992" y="166"/>
                    </a:lnTo>
                    <a:lnTo>
                      <a:pt x="978" y="162"/>
                    </a:lnTo>
                    <a:lnTo>
                      <a:pt x="986" y="151"/>
                    </a:lnTo>
                    <a:lnTo>
                      <a:pt x="984" y="150"/>
                    </a:lnTo>
                    <a:lnTo>
                      <a:pt x="954" y="145"/>
                    </a:lnTo>
                    <a:lnTo>
                      <a:pt x="956" y="159"/>
                    </a:lnTo>
                    <a:lnTo>
                      <a:pt x="952" y="160"/>
                    </a:lnTo>
                    <a:lnTo>
                      <a:pt x="944" y="156"/>
                    </a:lnTo>
                    <a:lnTo>
                      <a:pt x="944" y="150"/>
                    </a:lnTo>
                    <a:lnTo>
                      <a:pt x="941" y="140"/>
                    </a:lnTo>
                    <a:lnTo>
                      <a:pt x="938" y="143"/>
                    </a:lnTo>
                    <a:lnTo>
                      <a:pt x="935" y="133"/>
                    </a:lnTo>
                    <a:lnTo>
                      <a:pt x="929" y="138"/>
                    </a:lnTo>
                    <a:lnTo>
                      <a:pt x="927" y="133"/>
                    </a:lnTo>
                    <a:lnTo>
                      <a:pt x="922" y="138"/>
                    </a:lnTo>
                    <a:lnTo>
                      <a:pt x="920" y="155"/>
                    </a:lnTo>
                    <a:lnTo>
                      <a:pt x="916" y="146"/>
                    </a:lnTo>
                    <a:lnTo>
                      <a:pt x="911" y="135"/>
                    </a:lnTo>
                    <a:lnTo>
                      <a:pt x="907" y="132"/>
                    </a:lnTo>
                    <a:lnTo>
                      <a:pt x="907" y="157"/>
                    </a:lnTo>
                    <a:lnTo>
                      <a:pt x="924" y="167"/>
                    </a:lnTo>
                    <a:lnTo>
                      <a:pt x="930" y="167"/>
                    </a:lnTo>
                    <a:lnTo>
                      <a:pt x="930" y="178"/>
                    </a:lnTo>
                    <a:lnTo>
                      <a:pt x="928" y="188"/>
                    </a:lnTo>
                    <a:lnTo>
                      <a:pt x="928" y="199"/>
                    </a:lnTo>
                    <a:lnTo>
                      <a:pt x="933" y="210"/>
                    </a:lnTo>
                    <a:lnTo>
                      <a:pt x="933" y="225"/>
                    </a:lnTo>
                    <a:lnTo>
                      <a:pt x="925" y="219"/>
                    </a:lnTo>
                    <a:lnTo>
                      <a:pt x="907" y="191"/>
                    </a:lnTo>
                    <a:lnTo>
                      <a:pt x="891" y="175"/>
                    </a:lnTo>
                    <a:lnTo>
                      <a:pt x="895" y="194"/>
                    </a:lnTo>
                    <a:lnTo>
                      <a:pt x="890" y="194"/>
                    </a:lnTo>
                    <a:lnTo>
                      <a:pt x="886" y="205"/>
                    </a:lnTo>
                    <a:lnTo>
                      <a:pt x="881" y="204"/>
                    </a:lnTo>
                    <a:lnTo>
                      <a:pt x="877" y="212"/>
                    </a:lnTo>
                    <a:lnTo>
                      <a:pt x="874" y="208"/>
                    </a:lnTo>
                    <a:lnTo>
                      <a:pt x="874" y="202"/>
                    </a:lnTo>
                    <a:lnTo>
                      <a:pt x="877" y="191"/>
                    </a:lnTo>
                    <a:lnTo>
                      <a:pt x="870" y="194"/>
                    </a:lnTo>
                    <a:lnTo>
                      <a:pt x="863" y="204"/>
                    </a:lnTo>
                    <a:lnTo>
                      <a:pt x="859" y="218"/>
                    </a:lnTo>
                    <a:lnTo>
                      <a:pt x="853" y="220"/>
                    </a:lnTo>
                    <a:lnTo>
                      <a:pt x="855" y="235"/>
                    </a:lnTo>
                    <a:lnTo>
                      <a:pt x="857" y="241"/>
                    </a:lnTo>
                    <a:lnTo>
                      <a:pt x="841" y="256"/>
                    </a:lnTo>
                    <a:lnTo>
                      <a:pt x="834" y="275"/>
                    </a:lnTo>
                    <a:lnTo>
                      <a:pt x="827" y="285"/>
                    </a:lnTo>
                    <a:lnTo>
                      <a:pt x="837" y="264"/>
                    </a:lnTo>
                    <a:lnTo>
                      <a:pt x="838" y="252"/>
                    </a:lnTo>
                    <a:lnTo>
                      <a:pt x="839" y="229"/>
                    </a:lnTo>
                    <a:lnTo>
                      <a:pt x="841" y="212"/>
                    </a:lnTo>
                    <a:lnTo>
                      <a:pt x="838" y="191"/>
                    </a:lnTo>
                    <a:lnTo>
                      <a:pt x="828" y="194"/>
                    </a:lnTo>
                    <a:lnTo>
                      <a:pt x="822" y="208"/>
                    </a:lnTo>
                    <a:lnTo>
                      <a:pt x="812" y="223"/>
                    </a:lnTo>
                    <a:lnTo>
                      <a:pt x="809" y="246"/>
                    </a:lnTo>
                    <a:lnTo>
                      <a:pt x="804" y="266"/>
                    </a:lnTo>
                    <a:lnTo>
                      <a:pt x="803" y="214"/>
                    </a:lnTo>
                    <a:lnTo>
                      <a:pt x="777" y="218"/>
                    </a:lnTo>
                    <a:lnTo>
                      <a:pt x="768" y="235"/>
                    </a:lnTo>
                    <a:lnTo>
                      <a:pt x="767" y="240"/>
                    </a:lnTo>
                    <a:lnTo>
                      <a:pt x="769" y="261"/>
                    </a:lnTo>
                    <a:lnTo>
                      <a:pt x="779" y="274"/>
                    </a:lnTo>
                    <a:lnTo>
                      <a:pt x="788" y="278"/>
                    </a:lnTo>
                    <a:lnTo>
                      <a:pt x="795" y="291"/>
                    </a:lnTo>
                    <a:lnTo>
                      <a:pt x="794" y="301"/>
                    </a:lnTo>
                    <a:lnTo>
                      <a:pt x="785" y="300"/>
                    </a:lnTo>
                    <a:lnTo>
                      <a:pt x="779" y="284"/>
                    </a:lnTo>
                    <a:lnTo>
                      <a:pt x="768" y="277"/>
                    </a:lnTo>
                    <a:lnTo>
                      <a:pt x="760" y="261"/>
                    </a:lnTo>
                    <a:lnTo>
                      <a:pt x="751" y="252"/>
                    </a:lnTo>
                    <a:lnTo>
                      <a:pt x="739" y="254"/>
                    </a:lnTo>
                    <a:lnTo>
                      <a:pt x="746" y="272"/>
                    </a:lnTo>
                    <a:lnTo>
                      <a:pt x="760" y="284"/>
                    </a:lnTo>
                    <a:lnTo>
                      <a:pt x="750" y="294"/>
                    </a:lnTo>
                    <a:lnTo>
                      <a:pt x="741" y="286"/>
                    </a:lnTo>
                    <a:lnTo>
                      <a:pt x="737" y="293"/>
                    </a:lnTo>
                    <a:lnTo>
                      <a:pt x="735" y="280"/>
                    </a:lnTo>
                    <a:lnTo>
                      <a:pt x="726" y="285"/>
                    </a:lnTo>
                    <a:lnTo>
                      <a:pt x="726" y="280"/>
                    </a:lnTo>
                    <a:lnTo>
                      <a:pt x="729" y="267"/>
                    </a:lnTo>
                    <a:lnTo>
                      <a:pt x="724" y="261"/>
                    </a:lnTo>
                    <a:lnTo>
                      <a:pt x="721" y="266"/>
                    </a:lnTo>
                    <a:lnTo>
                      <a:pt x="714" y="290"/>
                    </a:lnTo>
                    <a:lnTo>
                      <a:pt x="715" y="299"/>
                    </a:lnTo>
                    <a:lnTo>
                      <a:pt x="720" y="306"/>
                    </a:lnTo>
                    <a:lnTo>
                      <a:pt x="697" y="318"/>
                    </a:lnTo>
                    <a:lnTo>
                      <a:pt x="691" y="325"/>
                    </a:lnTo>
                    <a:lnTo>
                      <a:pt x="688" y="332"/>
                    </a:lnTo>
                    <a:lnTo>
                      <a:pt x="687" y="343"/>
                    </a:lnTo>
                    <a:lnTo>
                      <a:pt x="690" y="350"/>
                    </a:lnTo>
                    <a:lnTo>
                      <a:pt x="698" y="347"/>
                    </a:lnTo>
                    <a:lnTo>
                      <a:pt x="704" y="355"/>
                    </a:lnTo>
                    <a:lnTo>
                      <a:pt x="692" y="355"/>
                    </a:lnTo>
                    <a:lnTo>
                      <a:pt x="696" y="365"/>
                    </a:lnTo>
                    <a:lnTo>
                      <a:pt x="696" y="372"/>
                    </a:lnTo>
                    <a:lnTo>
                      <a:pt x="683" y="368"/>
                    </a:lnTo>
                    <a:lnTo>
                      <a:pt x="678" y="370"/>
                    </a:lnTo>
                    <a:lnTo>
                      <a:pt x="686" y="377"/>
                    </a:lnTo>
                    <a:lnTo>
                      <a:pt x="681" y="383"/>
                    </a:lnTo>
                    <a:lnTo>
                      <a:pt x="670" y="380"/>
                    </a:lnTo>
                    <a:lnTo>
                      <a:pt x="667" y="386"/>
                    </a:lnTo>
                    <a:lnTo>
                      <a:pt x="659" y="383"/>
                    </a:lnTo>
                    <a:lnTo>
                      <a:pt x="643" y="390"/>
                    </a:lnTo>
                    <a:lnTo>
                      <a:pt x="639" y="399"/>
                    </a:lnTo>
                    <a:lnTo>
                      <a:pt x="633" y="403"/>
                    </a:lnTo>
                    <a:lnTo>
                      <a:pt x="632" y="407"/>
                    </a:lnTo>
                    <a:lnTo>
                      <a:pt x="642" y="414"/>
                    </a:lnTo>
                    <a:lnTo>
                      <a:pt x="651" y="410"/>
                    </a:lnTo>
                    <a:lnTo>
                      <a:pt x="656" y="404"/>
                    </a:lnTo>
                    <a:lnTo>
                      <a:pt x="672" y="414"/>
                    </a:lnTo>
                    <a:lnTo>
                      <a:pt x="685" y="406"/>
                    </a:lnTo>
                    <a:lnTo>
                      <a:pt x="687" y="409"/>
                    </a:lnTo>
                    <a:lnTo>
                      <a:pt x="691" y="418"/>
                    </a:lnTo>
                    <a:lnTo>
                      <a:pt x="681" y="418"/>
                    </a:lnTo>
                    <a:lnTo>
                      <a:pt x="676" y="425"/>
                    </a:lnTo>
                    <a:lnTo>
                      <a:pt x="674" y="439"/>
                    </a:lnTo>
                    <a:lnTo>
                      <a:pt x="659" y="430"/>
                    </a:lnTo>
                    <a:lnTo>
                      <a:pt x="648" y="430"/>
                    </a:lnTo>
                    <a:lnTo>
                      <a:pt x="645" y="424"/>
                    </a:lnTo>
                    <a:lnTo>
                      <a:pt x="633" y="422"/>
                    </a:lnTo>
                    <a:lnTo>
                      <a:pt x="619" y="430"/>
                    </a:lnTo>
                    <a:lnTo>
                      <a:pt x="616" y="438"/>
                    </a:lnTo>
                    <a:lnTo>
                      <a:pt x="626" y="453"/>
                    </a:lnTo>
                    <a:lnTo>
                      <a:pt x="626" y="462"/>
                    </a:lnTo>
                    <a:lnTo>
                      <a:pt x="619" y="461"/>
                    </a:lnTo>
                    <a:lnTo>
                      <a:pt x="624" y="476"/>
                    </a:lnTo>
                    <a:lnTo>
                      <a:pt x="626" y="487"/>
                    </a:lnTo>
                    <a:lnTo>
                      <a:pt x="617" y="483"/>
                    </a:lnTo>
                    <a:lnTo>
                      <a:pt x="617" y="494"/>
                    </a:lnTo>
                    <a:lnTo>
                      <a:pt x="610" y="495"/>
                    </a:lnTo>
                    <a:lnTo>
                      <a:pt x="605" y="457"/>
                    </a:lnTo>
                    <a:lnTo>
                      <a:pt x="597" y="460"/>
                    </a:lnTo>
                    <a:lnTo>
                      <a:pt x="594" y="473"/>
                    </a:lnTo>
                    <a:lnTo>
                      <a:pt x="586" y="471"/>
                    </a:lnTo>
                    <a:lnTo>
                      <a:pt x="583" y="474"/>
                    </a:lnTo>
                    <a:lnTo>
                      <a:pt x="594" y="479"/>
                    </a:lnTo>
                    <a:lnTo>
                      <a:pt x="591" y="483"/>
                    </a:lnTo>
                    <a:lnTo>
                      <a:pt x="583" y="485"/>
                    </a:lnTo>
                    <a:lnTo>
                      <a:pt x="575" y="490"/>
                    </a:lnTo>
                    <a:lnTo>
                      <a:pt x="573" y="499"/>
                    </a:lnTo>
                    <a:lnTo>
                      <a:pt x="574" y="509"/>
                    </a:lnTo>
                    <a:lnTo>
                      <a:pt x="583" y="516"/>
                    </a:lnTo>
                    <a:lnTo>
                      <a:pt x="575" y="520"/>
                    </a:lnTo>
                    <a:lnTo>
                      <a:pt x="580" y="525"/>
                    </a:lnTo>
                    <a:lnTo>
                      <a:pt x="574" y="527"/>
                    </a:lnTo>
                    <a:lnTo>
                      <a:pt x="570" y="539"/>
                    </a:lnTo>
                    <a:lnTo>
                      <a:pt x="567" y="542"/>
                    </a:lnTo>
                    <a:lnTo>
                      <a:pt x="561" y="542"/>
                    </a:lnTo>
                    <a:lnTo>
                      <a:pt x="562" y="546"/>
                    </a:lnTo>
                    <a:lnTo>
                      <a:pt x="572" y="549"/>
                    </a:lnTo>
                    <a:lnTo>
                      <a:pt x="591" y="542"/>
                    </a:lnTo>
                    <a:lnTo>
                      <a:pt x="578" y="558"/>
                    </a:lnTo>
                    <a:lnTo>
                      <a:pt x="572" y="562"/>
                    </a:lnTo>
                    <a:lnTo>
                      <a:pt x="553" y="558"/>
                    </a:lnTo>
                    <a:lnTo>
                      <a:pt x="548" y="553"/>
                    </a:lnTo>
                    <a:lnTo>
                      <a:pt x="547" y="546"/>
                    </a:lnTo>
                    <a:lnTo>
                      <a:pt x="540" y="547"/>
                    </a:lnTo>
                    <a:lnTo>
                      <a:pt x="529" y="557"/>
                    </a:lnTo>
                    <a:lnTo>
                      <a:pt x="524" y="574"/>
                    </a:lnTo>
                    <a:lnTo>
                      <a:pt x="514" y="581"/>
                    </a:lnTo>
                    <a:lnTo>
                      <a:pt x="513" y="591"/>
                    </a:lnTo>
                    <a:lnTo>
                      <a:pt x="520" y="591"/>
                    </a:lnTo>
                    <a:lnTo>
                      <a:pt x="519" y="598"/>
                    </a:lnTo>
                    <a:lnTo>
                      <a:pt x="518" y="603"/>
                    </a:lnTo>
                    <a:lnTo>
                      <a:pt x="509" y="607"/>
                    </a:lnTo>
                    <a:lnTo>
                      <a:pt x="504" y="625"/>
                    </a:lnTo>
                    <a:lnTo>
                      <a:pt x="497" y="624"/>
                    </a:lnTo>
                    <a:lnTo>
                      <a:pt x="491" y="628"/>
                    </a:lnTo>
                    <a:lnTo>
                      <a:pt x="484" y="629"/>
                    </a:lnTo>
                    <a:lnTo>
                      <a:pt x="476" y="640"/>
                    </a:lnTo>
                    <a:lnTo>
                      <a:pt x="482" y="650"/>
                    </a:lnTo>
                    <a:lnTo>
                      <a:pt x="478" y="654"/>
                    </a:lnTo>
                    <a:lnTo>
                      <a:pt x="467" y="656"/>
                    </a:lnTo>
                    <a:lnTo>
                      <a:pt x="467" y="666"/>
                    </a:lnTo>
                    <a:lnTo>
                      <a:pt x="456" y="667"/>
                    </a:lnTo>
                    <a:lnTo>
                      <a:pt x="459" y="673"/>
                    </a:lnTo>
                    <a:lnTo>
                      <a:pt x="454" y="677"/>
                    </a:lnTo>
                    <a:lnTo>
                      <a:pt x="452" y="686"/>
                    </a:lnTo>
                    <a:lnTo>
                      <a:pt x="465" y="688"/>
                    </a:lnTo>
                    <a:lnTo>
                      <a:pt x="462" y="694"/>
                    </a:lnTo>
                    <a:lnTo>
                      <a:pt x="454" y="699"/>
                    </a:lnTo>
                    <a:lnTo>
                      <a:pt x="448" y="694"/>
                    </a:lnTo>
                    <a:lnTo>
                      <a:pt x="448" y="697"/>
                    </a:lnTo>
                    <a:lnTo>
                      <a:pt x="448" y="711"/>
                    </a:lnTo>
                    <a:lnTo>
                      <a:pt x="454" y="720"/>
                    </a:lnTo>
                    <a:lnTo>
                      <a:pt x="459" y="713"/>
                    </a:lnTo>
                    <a:lnTo>
                      <a:pt x="463" y="716"/>
                    </a:lnTo>
                    <a:lnTo>
                      <a:pt x="461" y="726"/>
                    </a:lnTo>
                    <a:lnTo>
                      <a:pt x="440" y="729"/>
                    </a:lnTo>
                    <a:lnTo>
                      <a:pt x="436" y="734"/>
                    </a:lnTo>
                    <a:lnTo>
                      <a:pt x="435" y="748"/>
                    </a:lnTo>
                    <a:lnTo>
                      <a:pt x="427" y="754"/>
                    </a:lnTo>
                    <a:lnTo>
                      <a:pt x="418" y="757"/>
                    </a:lnTo>
                    <a:lnTo>
                      <a:pt x="412" y="772"/>
                    </a:lnTo>
                    <a:lnTo>
                      <a:pt x="420" y="770"/>
                    </a:lnTo>
                    <a:lnTo>
                      <a:pt x="429" y="762"/>
                    </a:lnTo>
                    <a:lnTo>
                      <a:pt x="440" y="757"/>
                    </a:lnTo>
                    <a:lnTo>
                      <a:pt x="440" y="767"/>
                    </a:lnTo>
                    <a:lnTo>
                      <a:pt x="446" y="779"/>
                    </a:lnTo>
                    <a:lnTo>
                      <a:pt x="427" y="773"/>
                    </a:lnTo>
                    <a:lnTo>
                      <a:pt x="425" y="781"/>
                    </a:lnTo>
                    <a:lnTo>
                      <a:pt x="429" y="785"/>
                    </a:lnTo>
                    <a:lnTo>
                      <a:pt x="423" y="790"/>
                    </a:lnTo>
                    <a:lnTo>
                      <a:pt x="420" y="796"/>
                    </a:lnTo>
                    <a:lnTo>
                      <a:pt x="423" y="806"/>
                    </a:lnTo>
                    <a:lnTo>
                      <a:pt x="419" y="808"/>
                    </a:lnTo>
                    <a:lnTo>
                      <a:pt x="413" y="805"/>
                    </a:lnTo>
                    <a:lnTo>
                      <a:pt x="409" y="811"/>
                    </a:lnTo>
                    <a:lnTo>
                      <a:pt x="412" y="821"/>
                    </a:lnTo>
                    <a:lnTo>
                      <a:pt x="418" y="826"/>
                    </a:lnTo>
                    <a:lnTo>
                      <a:pt x="420" y="845"/>
                    </a:lnTo>
                    <a:lnTo>
                      <a:pt x="413" y="837"/>
                    </a:lnTo>
                    <a:lnTo>
                      <a:pt x="406" y="834"/>
                    </a:lnTo>
                    <a:lnTo>
                      <a:pt x="400" y="821"/>
                    </a:lnTo>
                    <a:lnTo>
                      <a:pt x="401" y="838"/>
                    </a:lnTo>
                    <a:lnTo>
                      <a:pt x="397" y="844"/>
                    </a:lnTo>
                    <a:lnTo>
                      <a:pt x="391" y="847"/>
                    </a:lnTo>
                    <a:lnTo>
                      <a:pt x="387" y="856"/>
                    </a:lnTo>
                    <a:lnTo>
                      <a:pt x="392" y="859"/>
                    </a:lnTo>
                    <a:lnTo>
                      <a:pt x="398" y="856"/>
                    </a:lnTo>
                    <a:lnTo>
                      <a:pt x="403" y="848"/>
                    </a:lnTo>
                    <a:lnTo>
                      <a:pt x="405" y="851"/>
                    </a:lnTo>
                    <a:lnTo>
                      <a:pt x="403" y="856"/>
                    </a:lnTo>
                    <a:lnTo>
                      <a:pt x="403" y="864"/>
                    </a:lnTo>
                    <a:lnTo>
                      <a:pt x="406" y="871"/>
                    </a:lnTo>
                    <a:lnTo>
                      <a:pt x="398" y="877"/>
                    </a:lnTo>
                    <a:lnTo>
                      <a:pt x="387" y="872"/>
                    </a:lnTo>
                    <a:lnTo>
                      <a:pt x="382" y="880"/>
                    </a:lnTo>
                    <a:lnTo>
                      <a:pt x="376" y="876"/>
                    </a:lnTo>
                    <a:lnTo>
                      <a:pt x="369" y="886"/>
                    </a:lnTo>
                    <a:lnTo>
                      <a:pt x="368" y="896"/>
                    </a:lnTo>
                    <a:lnTo>
                      <a:pt x="360" y="902"/>
                    </a:lnTo>
                    <a:lnTo>
                      <a:pt x="352" y="904"/>
                    </a:lnTo>
                    <a:lnTo>
                      <a:pt x="347" y="925"/>
                    </a:lnTo>
                    <a:lnTo>
                      <a:pt x="357" y="921"/>
                    </a:lnTo>
                    <a:lnTo>
                      <a:pt x="366" y="915"/>
                    </a:lnTo>
                    <a:lnTo>
                      <a:pt x="370" y="919"/>
                    </a:lnTo>
                    <a:lnTo>
                      <a:pt x="353" y="926"/>
                    </a:lnTo>
                    <a:lnTo>
                      <a:pt x="353" y="937"/>
                    </a:lnTo>
                    <a:lnTo>
                      <a:pt x="355" y="948"/>
                    </a:lnTo>
                    <a:lnTo>
                      <a:pt x="352" y="955"/>
                    </a:lnTo>
                    <a:lnTo>
                      <a:pt x="341" y="958"/>
                    </a:lnTo>
                    <a:lnTo>
                      <a:pt x="327" y="947"/>
                    </a:lnTo>
                    <a:lnTo>
                      <a:pt x="323" y="947"/>
                    </a:lnTo>
                    <a:lnTo>
                      <a:pt x="315" y="962"/>
                    </a:lnTo>
                    <a:lnTo>
                      <a:pt x="305" y="969"/>
                    </a:lnTo>
                    <a:lnTo>
                      <a:pt x="304" y="976"/>
                    </a:lnTo>
                    <a:lnTo>
                      <a:pt x="296" y="980"/>
                    </a:lnTo>
                    <a:lnTo>
                      <a:pt x="280" y="1006"/>
                    </a:lnTo>
                    <a:lnTo>
                      <a:pt x="277" y="1012"/>
                    </a:lnTo>
                    <a:lnTo>
                      <a:pt x="280" y="1022"/>
                    </a:lnTo>
                    <a:lnTo>
                      <a:pt x="280" y="1026"/>
                    </a:lnTo>
                    <a:lnTo>
                      <a:pt x="258" y="1038"/>
                    </a:lnTo>
                    <a:lnTo>
                      <a:pt x="258" y="1048"/>
                    </a:lnTo>
                    <a:lnTo>
                      <a:pt x="263" y="1053"/>
                    </a:lnTo>
                    <a:lnTo>
                      <a:pt x="274" y="1048"/>
                    </a:lnTo>
                    <a:lnTo>
                      <a:pt x="269" y="1064"/>
                    </a:lnTo>
                    <a:lnTo>
                      <a:pt x="277" y="1075"/>
                    </a:lnTo>
                    <a:lnTo>
                      <a:pt x="283" y="1079"/>
                    </a:lnTo>
                    <a:lnTo>
                      <a:pt x="320" y="1052"/>
                    </a:lnTo>
                    <a:lnTo>
                      <a:pt x="342" y="1042"/>
                    </a:lnTo>
                    <a:lnTo>
                      <a:pt x="347" y="1036"/>
                    </a:lnTo>
                    <a:lnTo>
                      <a:pt x="352" y="1038"/>
                    </a:lnTo>
                    <a:lnTo>
                      <a:pt x="348" y="1044"/>
                    </a:lnTo>
                    <a:lnTo>
                      <a:pt x="335" y="1052"/>
                    </a:lnTo>
                    <a:lnTo>
                      <a:pt x="327" y="1053"/>
                    </a:lnTo>
                    <a:lnTo>
                      <a:pt x="316" y="1060"/>
                    </a:lnTo>
                    <a:lnTo>
                      <a:pt x="307" y="1068"/>
                    </a:lnTo>
                    <a:lnTo>
                      <a:pt x="314" y="1075"/>
                    </a:lnTo>
                    <a:lnTo>
                      <a:pt x="312" y="1079"/>
                    </a:lnTo>
                    <a:lnTo>
                      <a:pt x="295" y="1086"/>
                    </a:lnTo>
                    <a:lnTo>
                      <a:pt x="285" y="1086"/>
                    </a:lnTo>
                    <a:lnTo>
                      <a:pt x="282" y="1090"/>
                    </a:lnTo>
                    <a:lnTo>
                      <a:pt x="284" y="1096"/>
                    </a:lnTo>
                    <a:lnTo>
                      <a:pt x="280" y="1097"/>
                    </a:lnTo>
                    <a:lnTo>
                      <a:pt x="271" y="1096"/>
                    </a:lnTo>
                    <a:lnTo>
                      <a:pt x="271" y="1086"/>
                    </a:lnTo>
                    <a:lnTo>
                      <a:pt x="263" y="1071"/>
                    </a:lnTo>
                    <a:lnTo>
                      <a:pt x="258" y="1066"/>
                    </a:lnTo>
                    <a:lnTo>
                      <a:pt x="253" y="1066"/>
                    </a:lnTo>
                    <a:lnTo>
                      <a:pt x="250" y="1073"/>
                    </a:lnTo>
                    <a:lnTo>
                      <a:pt x="242" y="1074"/>
                    </a:lnTo>
                    <a:lnTo>
                      <a:pt x="236" y="1080"/>
                    </a:lnTo>
                    <a:lnTo>
                      <a:pt x="235" y="1087"/>
                    </a:lnTo>
                    <a:lnTo>
                      <a:pt x="241" y="1092"/>
                    </a:lnTo>
                    <a:lnTo>
                      <a:pt x="242" y="1097"/>
                    </a:lnTo>
                    <a:lnTo>
                      <a:pt x="231" y="1103"/>
                    </a:lnTo>
                    <a:lnTo>
                      <a:pt x="228" y="1097"/>
                    </a:lnTo>
                    <a:lnTo>
                      <a:pt x="228" y="1089"/>
                    </a:lnTo>
                    <a:lnTo>
                      <a:pt x="225" y="1082"/>
                    </a:lnTo>
                    <a:lnTo>
                      <a:pt x="198" y="1093"/>
                    </a:lnTo>
                    <a:lnTo>
                      <a:pt x="194" y="1098"/>
                    </a:lnTo>
                    <a:lnTo>
                      <a:pt x="190" y="1109"/>
                    </a:lnTo>
                    <a:lnTo>
                      <a:pt x="183" y="1108"/>
                    </a:lnTo>
                    <a:lnTo>
                      <a:pt x="185" y="1116"/>
                    </a:lnTo>
                    <a:lnTo>
                      <a:pt x="183" y="1119"/>
                    </a:lnTo>
                    <a:lnTo>
                      <a:pt x="175" y="1120"/>
                    </a:lnTo>
                    <a:lnTo>
                      <a:pt x="175" y="1117"/>
                    </a:lnTo>
                    <a:lnTo>
                      <a:pt x="174" y="1112"/>
                    </a:lnTo>
                    <a:lnTo>
                      <a:pt x="169" y="1113"/>
                    </a:lnTo>
                    <a:lnTo>
                      <a:pt x="166" y="1117"/>
                    </a:lnTo>
                    <a:lnTo>
                      <a:pt x="167" y="1122"/>
                    </a:lnTo>
                    <a:lnTo>
                      <a:pt x="166" y="1124"/>
                    </a:lnTo>
                    <a:lnTo>
                      <a:pt x="156" y="1124"/>
                    </a:lnTo>
                    <a:lnTo>
                      <a:pt x="143" y="1132"/>
                    </a:lnTo>
                    <a:lnTo>
                      <a:pt x="140" y="1145"/>
                    </a:lnTo>
                    <a:lnTo>
                      <a:pt x="135" y="1156"/>
                    </a:lnTo>
                    <a:lnTo>
                      <a:pt x="128" y="1151"/>
                    </a:lnTo>
                    <a:lnTo>
                      <a:pt x="118" y="1150"/>
                    </a:lnTo>
                    <a:lnTo>
                      <a:pt x="110" y="1157"/>
                    </a:lnTo>
                    <a:lnTo>
                      <a:pt x="107" y="1163"/>
                    </a:lnTo>
                    <a:lnTo>
                      <a:pt x="117" y="1171"/>
                    </a:lnTo>
                    <a:lnTo>
                      <a:pt x="111" y="1177"/>
                    </a:lnTo>
                    <a:lnTo>
                      <a:pt x="121" y="1178"/>
                    </a:lnTo>
                    <a:lnTo>
                      <a:pt x="132" y="1176"/>
                    </a:lnTo>
                    <a:lnTo>
                      <a:pt x="137" y="1182"/>
                    </a:lnTo>
                    <a:lnTo>
                      <a:pt x="142" y="1184"/>
                    </a:lnTo>
                    <a:lnTo>
                      <a:pt x="135" y="1193"/>
                    </a:lnTo>
                    <a:lnTo>
                      <a:pt x="138" y="1199"/>
                    </a:lnTo>
                    <a:lnTo>
                      <a:pt x="131" y="1195"/>
                    </a:lnTo>
                    <a:lnTo>
                      <a:pt x="122" y="1195"/>
                    </a:lnTo>
                    <a:lnTo>
                      <a:pt x="99" y="1192"/>
                    </a:lnTo>
                    <a:lnTo>
                      <a:pt x="91" y="1193"/>
                    </a:lnTo>
                    <a:lnTo>
                      <a:pt x="86" y="1197"/>
                    </a:lnTo>
                    <a:lnTo>
                      <a:pt x="80" y="1195"/>
                    </a:lnTo>
                    <a:lnTo>
                      <a:pt x="74" y="1200"/>
                    </a:lnTo>
                    <a:lnTo>
                      <a:pt x="75" y="1203"/>
                    </a:lnTo>
                    <a:lnTo>
                      <a:pt x="81" y="1205"/>
                    </a:lnTo>
                    <a:lnTo>
                      <a:pt x="75" y="1208"/>
                    </a:lnTo>
                    <a:lnTo>
                      <a:pt x="75" y="1214"/>
                    </a:lnTo>
                    <a:lnTo>
                      <a:pt x="83" y="1213"/>
                    </a:lnTo>
                    <a:lnTo>
                      <a:pt x="89" y="1210"/>
                    </a:lnTo>
                    <a:lnTo>
                      <a:pt x="81" y="1220"/>
                    </a:lnTo>
                    <a:lnTo>
                      <a:pt x="81" y="1227"/>
                    </a:lnTo>
                    <a:lnTo>
                      <a:pt x="86" y="1243"/>
                    </a:lnTo>
                    <a:lnTo>
                      <a:pt x="83" y="1245"/>
                    </a:lnTo>
                    <a:lnTo>
                      <a:pt x="78" y="1230"/>
                    </a:lnTo>
                    <a:lnTo>
                      <a:pt x="74" y="1224"/>
                    </a:lnTo>
                    <a:lnTo>
                      <a:pt x="64" y="1230"/>
                    </a:lnTo>
                    <a:lnTo>
                      <a:pt x="59" y="1238"/>
                    </a:lnTo>
                    <a:lnTo>
                      <a:pt x="56" y="1248"/>
                    </a:lnTo>
                    <a:lnTo>
                      <a:pt x="61" y="1253"/>
                    </a:lnTo>
                    <a:lnTo>
                      <a:pt x="62" y="1259"/>
                    </a:lnTo>
                    <a:lnTo>
                      <a:pt x="53" y="1253"/>
                    </a:lnTo>
                    <a:lnTo>
                      <a:pt x="50" y="1246"/>
                    </a:lnTo>
                    <a:lnTo>
                      <a:pt x="41" y="1248"/>
                    </a:lnTo>
                    <a:lnTo>
                      <a:pt x="27" y="1248"/>
                    </a:lnTo>
                    <a:lnTo>
                      <a:pt x="27" y="1254"/>
                    </a:lnTo>
                    <a:lnTo>
                      <a:pt x="29" y="1259"/>
                    </a:lnTo>
                    <a:lnTo>
                      <a:pt x="13" y="1247"/>
                    </a:lnTo>
                    <a:lnTo>
                      <a:pt x="9" y="1251"/>
                    </a:lnTo>
                    <a:lnTo>
                      <a:pt x="15" y="1265"/>
                    </a:lnTo>
                    <a:lnTo>
                      <a:pt x="11" y="1272"/>
                    </a:lnTo>
                    <a:lnTo>
                      <a:pt x="13" y="1274"/>
                    </a:lnTo>
                    <a:lnTo>
                      <a:pt x="41" y="1274"/>
                    </a:lnTo>
                    <a:lnTo>
                      <a:pt x="67" y="1268"/>
                    </a:lnTo>
                    <a:lnTo>
                      <a:pt x="51" y="1275"/>
                    </a:lnTo>
                    <a:lnTo>
                      <a:pt x="53" y="1279"/>
                    </a:lnTo>
                    <a:lnTo>
                      <a:pt x="65" y="1279"/>
                    </a:lnTo>
                    <a:lnTo>
                      <a:pt x="74" y="1275"/>
                    </a:lnTo>
                    <a:lnTo>
                      <a:pt x="77" y="1278"/>
                    </a:lnTo>
                    <a:lnTo>
                      <a:pt x="67" y="1284"/>
                    </a:lnTo>
                    <a:lnTo>
                      <a:pt x="52" y="1286"/>
                    </a:lnTo>
                    <a:lnTo>
                      <a:pt x="36" y="1286"/>
                    </a:lnTo>
                    <a:lnTo>
                      <a:pt x="30" y="1281"/>
                    </a:lnTo>
                    <a:lnTo>
                      <a:pt x="24" y="1281"/>
                    </a:lnTo>
                    <a:lnTo>
                      <a:pt x="13" y="1291"/>
                    </a:lnTo>
                    <a:lnTo>
                      <a:pt x="11" y="1296"/>
                    </a:lnTo>
                    <a:lnTo>
                      <a:pt x="4" y="1295"/>
                    </a:lnTo>
                    <a:lnTo>
                      <a:pt x="2" y="1297"/>
                    </a:lnTo>
                    <a:lnTo>
                      <a:pt x="0" y="1305"/>
                    </a:lnTo>
                    <a:lnTo>
                      <a:pt x="16" y="1310"/>
                    </a:lnTo>
                    <a:lnTo>
                      <a:pt x="15" y="1316"/>
                    </a:lnTo>
                    <a:lnTo>
                      <a:pt x="15" y="1322"/>
                    </a:lnTo>
                    <a:lnTo>
                      <a:pt x="10" y="1327"/>
                    </a:lnTo>
                    <a:lnTo>
                      <a:pt x="3" y="1335"/>
                    </a:lnTo>
                    <a:lnTo>
                      <a:pt x="5" y="1343"/>
                    </a:lnTo>
                    <a:lnTo>
                      <a:pt x="3" y="1346"/>
                    </a:lnTo>
                    <a:lnTo>
                      <a:pt x="3" y="1354"/>
                    </a:lnTo>
                    <a:lnTo>
                      <a:pt x="7" y="1358"/>
                    </a:lnTo>
                    <a:lnTo>
                      <a:pt x="7" y="1365"/>
                    </a:lnTo>
                    <a:lnTo>
                      <a:pt x="22" y="1367"/>
                    </a:lnTo>
                    <a:lnTo>
                      <a:pt x="53" y="1356"/>
                    </a:lnTo>
                    <a:lnTo>
                      <a:pt x="59" y="1360"/>
                    </a:lnTo>
                    <a:lnTo>
                      <a:pt x="72" y="1360"/>
                    </a:lnTo>
                    <a:lnTo>
                      <a:pt x="74" y="1349"/>
                    </a:lnTo>
                    <a:lnTo>
                      <a:pt x="83" y="1333"/>
                    </a:lnTo>
                    <a:lnTo>
                      <a:pt x="85" y="1343"/>
                    </a:lnTo>
                    <a:lnTo>
                      <a:pt x="81" y="1356"/>
                    </a:lnTo>
                    <a:lnTo>
                      <a:pt x="88" y="1359"/>
                    </a:lnTo>
                    <a:lnTo>
                      <a:pt x="99" y="1359"/>
                    </a:lnTo>
                    <a:lnTo>
                      <a:pt x="106" y="1356"/>
                    </a:lnTo>
                    <a:lnTo>
                      <a:pt x="111" y="1360"/>
                    </a:lnTo>
                    <a:lnTo>
                      <a:pt x="122" y="1348"/>
                    </a:lnTo>
                    <a:lnTo>
                      <a:pt x="126" y="1324"/>
                    </a:lnTo>
                    <a:lnTo>
                      <a:pt x="138" y="1317"/>
                    </a:lnTo>
                    <a:lnTo>
                      <a:pt x="139" y="1322"/>
                    </a:lnTo>
                    <a:lnTo>
                      <a:pt x="131" y="1338"/>
                    </a:lnTo>
                    <a:lnTo>
                      <a:pt x="129" y="1349"/>
                    </a:lnTo>
                    <a:lnTo>
                      <a:pt x="127" y="1354"/>
                    </a:lnTo>
                    <a:lnTo>
                      <a:pt x="133" y="1353"/>
                    </a:lnTo>
                    <a:lnTo>
                      <a:pt x="140" y="1349"/>
                    </a:lnTo>
                    <a:lnTo>
                      <a:pt x="145" y="1351"/>
                    </a:lnTo>
                    <a:lnTo>
                      <a:pt x="131" y="1362"/>
                    </a:lnTo>
                    <a:lnTo>
                      <a:pt x="113" y="1369"/>
                    </a:lnTo>
                    <a:lnTo>
                      <a:pt x="111" y="1378"/>
                    </a:lnTo>
                    <a:lnTo>
                      <a:pt x="118" y="1385"/>
                    </a:lnTo>
                    <a:lnTo>
                      <a:pt x="105" y="1393"/>
                    </a:lnTo>
                    <a:lnTo>
                      <a:pt x="105" y="1383"/>
                    </a:lnTo>
                    <a:lnTo>
                      <a:pt x="101" y="1376"/>
                    </a:lnTo>
                    <a:lnTo>
                      <a:pt x="91" y="1369"/>
                    </a:lnTo>
                    <a:lnTo>
                      <a:pt x="81" y="1369"/>
                    </a:lnTo>
                    <a:lnTo>
                      <a:pt x="68" y="1372"/>
                    </a:lnTo>
                    <a:lnTo>
                      <a:pt x="57" y="1370"/>
                    </a:lnTo>
                    <a:lnTo>
                      <a:pt x="47" y="1371"/>
                    </a:lnTo>
                    <a:lnTo>
                      <a:pt x="37" y="1370"/>
                    </a:lnTo>
                    <a:lnTo>
                      <a:pt x="29" y="1378"/>
                    </a:lnTo>
                    <a:lnTo>
                      <a:pt x="10" y="1373"/>
                    </a:lnTo>
                    <a:lnTo>
                      <a:pt x="5" y="1386"/>
                    </a:lnTo>
                    <a:lnTo>
                      <a:pt x="4" y="1397"/>
                    </a:lnTo>
                    <a:lnTo>
                      <a:pt x="14" y="1397"/>
                    </a:lnTo>
                    <a:lnTo>
                      <a:pt x="18" y="1396"/>
                    </a:lnTo>
                    <a:lnTo>
                      <a:pt x="18" y="1410"/>
                    </a:lnTo>
                    <a:lnTo>
                      <a:pt x="9" y="1407"/>
                    </a:lnTo>
                    <a:lnTo>
                      <a:pt x="3" y="1401"/>
                    </a:lnTo>
                    <a:lnTo>
                      <a:pt x="2" y="1403"/>
                    </a:lnTo>
                    <a:lnTo>
                      <a:pt x="0" y="1403"/>
                    </a:lnTo>
                    <a:lnTo>
                      <a:pt x="0" y="1407"/>
                    </a:lnTo>
                    <a:lnTo>
                      <a:pt x="10" y="1425"/>
                    </a:lnTo>
                    <a:lnTo>
                      <a:pt x="16" y="1426"/>
                    </a:lnTo>
                    <a:lnTo>
                      <a:pt x="30" y="1418"/>
                    </a:lnTo>
                    <a:lnTo>
                      <a:pt x="38" y="1415"/>
                    </a:lnTo>
                    <a:lnTo>
                      <a:pt x="25" y="1429"/>
                    </a:lnTo>
                    <a:lnTo>
                      <a:pt x="20" y="1436"/>
                    </a:lnTo>
                    <a:lnTo>
                      <a:pt x="24" y="1440"/>
                    </a:lnTo>
                    <a:lnTo>
                      <a:pt x="14" y="1446"/>
                    </a:lnTo>
                    <a:lnTo>
                      <a:pt x="9" y="1452"/>
                    </a:lnTo>
                    <a:lnTo>
                      <a:pt x="10" y="1461"/>
                    </a:lnTo>
                    <a:lnTo>
                      <a:pt x="15" y="1466"/>
                    </a:lnTo>
                    <a:lnTo>
                      <a:pt x="18" y="1472"/>
                    </a:lnTo>
                    <a:lnTo>
                      <a:pt x="24" y="1467"/>
                    </a:lnTo>
                    <a:lnTo>
                      <a:pt x="30" y="1461"/>
                    </a:lnTo>
                    <a:lnTo>
                      <a:pt x="30" y="1469"/>
                    </a:lnTo>
                    <a:lnTo>
                      <a:pt x="38" y="1483"/>
                    </a:lnTo>
                    <a:lnTo>
                      <a:pt x="31" y="1484"/>
                    </a:lnTo>
                    <a:lnTo>
                      <a:pt x="22" y="1490"/>
                    </a:lnTo>
                    <a:lnTo>
                      <a:pt x="22" y="1495"/>
                    </a:lnTo>
                    <a:lnTo>
                      <a:pt x="27" y="1499"/>
                    </a:lnTo>
                    <a:lnTo>
                      <a:pt x="37" y="1493"/>
                    </a:lnTo>
                    <a:lnTo>
                      <a:pt x="43" y="1482"/>
                    </a:lnTo>
                    <a:lnTo>
                      <a:pt x="45" y="1469"/>
                    </a:lnTo>
                    <a:lnTo>
                      <a:pt x="53" y="1463"/>
                    </a:lnTo>
                    <a:lnTo>
                      <a:pt x="63" y="1451"/>
                    </a:lnTo>
                    <a:lnTo>
                      <a:pt x="73" y="1431"/>
                    </a:lnTo>
                    <a:lnTo>
                      <a:pt x="83" y="1423"/>
                    </a:lnTo>
                    <a:lnTo>
                      <a:pt x="88" y="1428"/>
                    </a:lnTo>
                    <a:lnTo>
                      <a:pt x="88" y="1431"/>
                    </a:lnTo>
                    <a:lnTo>
                      <a:pt x="100" y="1429"/>
                    </a:lnTo>
                    <a:lnTo>
                      <a:pt x="110" y="1430"/>
                    </a:lnTo>
                    <a:lnTo>
                      <a:pt x="94" y="1437"/>
                    </a:lnTo>
                    <a:lnTo>
                      <a:pt x="91" y="1448"/>
                    </a:lnTo>
                    <a:lnTo>
                      <a:pt x="89" y="1455"/>
                    </a:lnTo>
                    <a:lnTo>
                      <a:pt x="88" y="1443"/>
                    </a:lnTo>
                    <a:lnTo>
                      <a:pt x="83" y="1442"/>
                    </a:lnTo>
                    <a:lnTo>
                      <a:pt x="74" y="1456"/>
                    </a:lnTo>
                    <a:lnTo>
                      <a:pt x="64" y="1467"/>
                    </a:lnTo>
                    <a:lnTo>
                      <a:pt x="70" y="1472"/>
                    </a:lnTo>
                    <a:lnTo>
                      <a:pt x="70" y="1475"/>
                    </a:lnTo>
                    <a:lnTo>
                      <a:pt x="59" y="1482"/>
                    </a:lnTo>
                    <a:lnTo>
                      <a:pt x="40" y="1506"/>
                    </a:lnTo>
                    <a:lnTo>
                      <a:pt x="47" y="1511"/>
                    </a:lnTo>
                    <a:lnTo>
                      <a:pt x="67" y="1511"/>
                    </a:lnTo>
                    <a:lnTo>
                      <a:pt x="72" y="1506"/>
                    </a:lnTo>
                    <a:lnTo>
                      <a:pt x="74" y="1510"/>
                    </a:lnTo>
                    <a:lnTo>
                      <a:pt x="53" y="1518"/>
                    </a:lnTo>
                    <a:lnTo>
                      <a:pt x="48" y="1525"/>
                    </a:lnTo>
                    <a:lnTo>
                      <a:pt x="47" y="1528"/>
                    </a:lnTo>
                    <a:lnTo>
                      <a:pt x="37" y="1528"/>
                    </a:lnTo>
                    <a:lnTo>
                      <a:pt x="32" y="1531"/>
                    </a:lnTo>
                    <a:lnTo>
                      <a:pt x="26" y="1528"/>
                    </a:lnTo>
                    <a:lnTo>
                      <a:pt x="18" y="1539"/>
                    </a:lnTo>
                    <a:lnTo>
                      <a:pt x="13" y="1549"/>
                    </a:lnTo>
                    <a:lnTo>
                      <a:pt x="13" y="1558"/>
                    </a:lnTo>
                    <a:lnTo>
                      <a:pt x="16" y="1560"/>
                    </a:lnTo>
                    <a:lnTo>
                      <a:pt x="18" y="1564"/>
                    </a:lnTo>
                    <a:lnTo>
                      <a:pt x="26" y="1563"/>
                    </a:lnTo>
                    <a:lnTo>
                      <a:pt x="30" y="1554"/>
                    </a:lnTo>
                    <a:lnTo>
                      <a:pt x="32" y="1563"/>
                    </a:lnTo>
                    <a:lnTo>
                      <a:pt x="40" y="1563"/>
                    </a:lnTo>
                    <a:lnTo>
                      <a:pt x="42" y="1556"/>
                    </a:lnTo>
                    <a:lnTo>
                      <a:pt x="41" y="1550"/>
                    </a:lnTo>
                    <a:lnTo>
                      <a:pt x="48" y="1555"/>
                    </a:lnTo>
                    <a:lnTo>
                      <a:pt x="63" y="1547"/>
                    </a:lnTo>
                    <a:lnTo>
                      <a:pt x="68" y="1541"/>
                    </a:lnTo>
                    <a:lnTo>
                      <a:pt x="73" y="1544"/>
                    </a:lnTo>
                    <a:lnTo>
                      <a:pt x="58" y="1561"/>
                    </a:lnTo>
                    <a:lnTo>
                      <a:pt x="64" y="1561"/>
                    </a:lnTo>
                    <a:lnTo>
                      <a:pt x="64" y="1571"/>
                    </a:lnTo>
                    <a:lnTo>
                      <a:pt x="58" y="1580"/>
                    </a:lnTo>
                    <a:lnTo>
                      <a:pt x="56" y="1587"/>
                    </a:lnTo>
                    <a:lnTo>
                      <a:pt x="50" y="1593"/>
                    </a:lnTo>
                    <a:lnTo>
                      <a:pt x="51" y="1599"/>
                    </a:lnTo>
                    <a:lnTo>
                      <a:pt x="51" y="1604"/>
                    </a:lnTo>
                    <a:lnTo>
                      <a:pt x="45" y="1603"/>
                    </a:lnTo>
                    <a:lnTo>
                      <a:pt x="40" y="1606"/>
                    </a:lnTo>
                    <a:lnTo>
                      <a:pt x="36" y="1598"/>
                    </a:lnTo>
                    <a:lnTo>
                      <a:pt x="32" y="1598"/>
                    </a:lnTo>
                    <a:lnTo>
                      <a:pt x="25" y="1630"/>
                    </a:lnTo>
                    <a:lnTo>
                      <a:pt x="38" y="1647"/>
                    </a:lnTo>
                    <a:lnTo>
                      <a:pt x="59" y="1666"/>
                    </a:lnTo>
                    <a:lnTo>
                      <a:pt x="74" y="1674"/>
                    </a:lnTo>
                    <a:lnTo>
                      <a:pt x="85" y="1677"/>
                    </a:lnTo>
                    <a:lnTo>
                      <a:pt x="92" y="1665"/>
                    </a:lnTo>
                    <a:lnTo>
                      <a:pt x="92" y="1682"/>
                    </a:lnTo>
                    <a:lnTo>
                      <a:pt x="90" y="1694"/>
                    </a:lnTo>
                    <a:lnTo>
                      <a:pt x="96" y="1689"/>
                    </a:lnTo>
                    <a:lnTo>
                      <a:pt x="106" y="1695"/>
                    </a:lnTo>
                    <a:lnTo>
                      <a:pt x="110" y="1685"/>
                    </a:lnTo>
                    <a:lnTo>
                      <a:pt x="124" y="1687"/>
                    </a:lnTo>
                    <a:lnTo>
                      <a:pt x="117" y="1695"/>
                    </a:lnTo>
                    <a:lnTo>
                      <a:pt x="134" y="1701"/>
                    </a:lnTo>
                    <a:lnTo>
                      <a:pt x="145" y="1697"/>
                    </a:lnTo>
                    <a:lnTo>
                      <a:pt x="158" y="1687"/>
                    </a:lnTo>
                    <a:lnTo>
                      <a:pt x="163" y="1673"/>
                    </a:lnTo>
                    <a:lnTo>
                      <a:pt x="170" y="1684"/>
                    </a:lnTo>
                    <a:lnTo>
                      <a:pt x="190" y="1671"/>
                    </a:lnTo>
                    <a:lnTo>
                      <a:pt x="210" y="1644"/>
                    </a:lnTo>
                    <a:lnTo>
                      <a:pt x="221" y="1638"/>
                    </a:lnTo>
                    <a:lnTo>
                      <a:pt x="225" y="1627"/>
                    </a:lnTo>
                    <a:lnTo>
                      <a:pt x="231" y="1622"/>
                    </a:lnTo>
                    <a:lnTo>
                      <a:pt x="234" y="1615"/>
                    </a:lnTo>
                    <a:lnTo>
                      <a:pt x="251" y="1597"/>
                    </a:lnTo>
                    <a:lnTo>
                      <a:pt x="249" y="1590"/>
                    </a:lnTo>
                    <a:lnTo>
                      <a:pt x="261" y="1597"/>
                    </a:lnTo>
                    <a:lnTo>
                      <a:pt x="274" y="1597"/>
                    </a:lnTo>
                    <a:lnTo>
                      <a:pt x="282" y="1593"/>
                    </a:lnTo>
                    <a:lnTo>
                      <a:pt x="285" y="1581"/>
                    </a:lnTo>
                    <a:lnTo>
                      <a:pt x="287" y="1574"/>
                    </a:lnTo>
                    <a:lnTo>
                      <a:pt x="294" y="1566"/>
                    </a:lnTo>
                    <a:lnTo>
                      <a:pt x="293" y="1556"/>
                    </a:lnTo>
                    <a:lnTo>
                      <a:pt x="287" y="1549"/>
                    </a:lnTo>
                    <a:lnTo>
                      <a:pt x="283" y="1541"/>
                    </a:lnTo>
                    <a:lnTo>
                      <a:pt x="285" y="1538"/>
                    </a:lnTo>
                    <a:lnTo>
                      <a:pt x="287" y="1533"/>
                    </a:lnTo>
                    <a:lnTo>
                      <a:pt x="284" y="1522"/>
                    </a:lnTo>
                    <a:lnTo>
                      <a:pt x="289" y="1526"/>
                    </a:lnTo>
                    <a:lnTo>
                      <a:pt x="293" y="1533"/>
                    </a:lnTo>
                    <a:lnTo>
                      <a:pt x="293" y="1541"/>
                    </a:lnTo>
                    <a:lnTo>
                      <a:pt x="299" y="1539"/>
                    </a:lnTo>
                    <a:lnTo>
                      <a:pt x="300" y="1533"/>
                    </a:lnTo>
                    <a:lnTo>
                      <a:pt x="295" y="1525"/>
                    </a:lnTo>
                    <a:lnTo>
                      <a:pt x="294" y="1509"/>
                    </a:lnTo>
                    <a:lnTo>
                      <a:pt x="296" y="1505"/>
                    </a:lnTo>
                    <a:lnTo>
                      <a:pt x="299" y="1506"/>
                    </a:lnTo>
                    <a:lnTo>
                      <a:pt x="305" y="1502"/>
                    </a:lnTo>
                    <a:lnTo>
                      <a:pt x="310" y="1505"/>
                    </a:lnTo>
                    <a:lnTo>
                      <a:pt x="310" y="1512"/>
                    </a:lnTo>
                    <a:lnTo>
                      <a:pt x="303" y="1516"/>
                    </a:lnTo>
                    <a:lnTo>
                      <a:pt x="303" y="1522"/>
                    </a:lnTo>
                    <a:lnTo>
                      <a:pt x="305" y="1533"/>
                    </a:lnTo>
                    <a:lnTo>
                      <a:pt x="307" y="1563"/>
                    </a:lnTo>
                    <a:lnTo>
                      <a:pt x="310" y="1574"/>
                    </a:lnTo>
                    <a:lnTo>
                      <a:pt x="317" y="1572"/>
                    </a:lnTo>
                    <a:lnTo>
                      <a:pt x="327" y="1581"/>
                    </a:lnTo>
                    <a:lnTo>
                      <a:pt x="333" y="1580"/>
                    </a:lnTo>
                    <a:lnTo>
                      <a:pt x="337" y="1587"/>
                    </a:lnTo>
                    <a:lnTo>
                      <a:pt x="339" y="1592"/>
                    </a:lnTo>
                    <a:lnTo>
                      <a:pt x="339" y="1614"/>
                    </a:lnTo>
                    <a:lnTo>
                      <a:pt x="343" y="1601"/>
                    </a:lnTo>
                    <a:lnTo>
                      <a:pt x="347" y="1609"/>
                    </a:lnTo>
                    <a:lnTo>
                      <a:pt x="355" y="1603"/>
                    </a:lnTo>
                    <a:lnTo>
                      <a:pt x="363" y="1566"/>
                    </a:lnTo>
                    <a:lnTo>
                      <a:pt x="359" y="1554"/>
                    </a:lnTo>
                    <a:lnTo>
                      <a:pt x="358" y="1537"/>
                    </a:lnTo>
                    <a:lnTo>
                      <a:pt x="370" y="1516"/>
                    </a:lnTo>
                    <a:lnTo>
                      <a:pt x="370" y="1502"/>
                    </a:lnTo>
                    <a:lnTo>
                      <a:pt x="397" y="1491"/>
                    </a:lnTo>
                    <a:lnTo>
                      <a:pt x="403" y="1480"/>
                    </a:lnTo>
                    <a:lnTo>
                      <a:pt x="405" y="1466"/>
                    </a:lnTo>
                    <a:lnTo>
                      <a:pt x="401" y="1457"/>
                    </a:lnTo>
                    <a:lnTo>
                      <a:pt x="408" y="1428"/>
                    </a:lnTo>
                    <a:lnTo>
                      <a:pt x="400" y="1394"/>
                    </a:lnTo>
                    <a:lnTo>
                      <a:pt x="390" y="1382"/>
                    </a:lnTo>
                    <a:lnTo>
                      <a:pt x="392" y="1375"/>
                    </a:lnTo>
                    <a:lnTo>
                      <a:pt x="407" y="1369"/>
                    </a:lnTo>
                    <a:lnTo>
                      <a:pt x="417" y="1358"/>
                    </a:lnTo>
                    <a:lnTo>
                      <a:pt x="423" y="1339"/>
                    </a:lnTo>
                    <a:lnTo>
                      <a:pt x="420" y="1318"/>
                    </a:lnTo>
                    <a:lnTo>
                      <a:pt x="400" y="1303"/>
                    </a:lnTo>
                    <a:lnTo>
                      <a:pt x="391" y="1287"/>
                    </a:lnTo>
                    <a:lnTo>
                      <a:pt x="390" y="1267"/>
                    </a:lnTo>
                    <a:lnTo>
                      <a:pt x="391" y="1225"/>
                    </a:lnTo>
                    <a:lnTo>
                      <a:pt x="386" y="1210"/>
                    </a:lnTo>
                    <a:lnTo>
                      <a:pt x="384" y="1206"/>
                    </a:lnTo>
                    <a:lnTo>
                      <a:pt x="384" y="1194"/>
                    </a:lnTo>
                    <a:lnTo>
                      <a:pt x="386" y="1186"/>
                    </a:lnTo>
                    <a:lnTo>
                      <a:pt x="386" y="1166"/>
                    </a:lnTo>
                    <a:lnTo>
                      <a:pt x="390" y="1156"/>
                    </a:lnTo>
                    <a:lnTo>
                      <a:pt x="391" y="1144"/>
                    </a:lnTo>
                    <a:lnTo>
                      <a:pt x="397" y="1134"/>
                    </a:lnTo>
                    <a:lnTo>
                      <a:pt x="392" y="1129"/>
                    </a:lnTo>
                    <a:lnTo>
                      <a:pt x="386" y="1116"/>
                    </a:lnTo>
                    <a:lnTo>
                      <a:pt x="382" y="1097"/>
                    </a:lnTo>
                    <a:lnTo>
                      <a:pt x="387" y="1077"/>
                    </a:lnTo>
                    <a:lnTo>
                      <a:pt x="393" y="1063"/>
                    </a:lnTo>
                    <a:lnTo>
                      <a:pt x="418" y="1032"/>
                    </a:lnTo>
                    <a:lnTo>
                      <a:pt x="435" y="1021"/>
                    </a:lnTo>
                    <a:lnTo>
                      <a:pt x="456" y="1015"/>
                    </a:lnTo>
                    <a:lnTo>
                      <a:pt x="473" y="1018"/>
                    </a:lnTo>
                    <a:lnTo>
                      <a:pt x="488" y="1020"/>
                    </a:lnTo>
                    <a:lnTo>
                      <a:pt x="498" y="1007"/>
                    </a:lnTo>
                    <a:lnTo>
                      <a:pt x="500" y="995"/>
                    </a:lnTo>
                    <a:lnTo>
                      <a:pt x="500" y="976"/>
                    </a:lnTo>
                    <a:lnTo>
                      <a:pt x="494" y="964"/>
                    </a:lnTo>
                    <a:lnTo>
                      <a:pt x="479" y="948"/>
                    </a:lnTo>
                    <a:lnTo>
                      <a:pt x="478" y="939"/>
                    </a:lnTo>
                    <a:lnTo>
                      <a:pt x="498" y="907"/>
                    </a:lnTo>
                    <a:lnTo>
                      <a:pt x="515" y="870"/>
                    </a:lnTo>
                    <a:lnTo>
                      <a:pt x="524" y="820"/>
                    </a:lnTo>
                    <a:lnTo>
                      <a:pt x="525" y="790"/>
                    </a:lnTo>
                    <a:lnTo>
                      <a:pt x="525" y="769"/>
                    </a:lnTo>
                    <a:lnTo>
                      <a:pt x="524" y="754"/>
                    </a:lnTo>
                    <a:lnTo>
                      <a:pt x="531" y="750"/>
                    </a:lnTo>
                    <a:lnTo>
                      <a:pt x="542" y="750"/>
                    </a:lnTo>
                    <a:lnTo>
                      <a:pt x="559" y="736"/>
                    </a:lnTo>
                    <a:lnTo>
                      <a:pt x="564" y="724"/>
                    </a:lnTo>
                    <a:lnTo>
                      <a:pt x="567" y="704"/>
                    </a:lnTo>
                    <a:lnTo>
                      <a:pt x="573" y="688"/>
                    </a:lnTo>
                    <a:lnTo>
                      <a:pt x="596" y="657"/>
                    </a:lnTo>
                    <a:lnTo>
                      <a:pt x="604" y="644"/>
                    </a:lnTo>
                    <a:lnTo>
                      <a:pt x="616" y="629"/>
                    </a:lnTo>
                    <a:lnTo>
                      <a:pt x="622" y="618"/>
                    </a:lnTo>
                    <a:lnTo>
                      <a:pt x="624" y="609"/>
                    </a:lnTo>
                    <a:lnTo>
                      <a:pt x="623" y="596"/>
                    </a:lnTo>
                    <a:lnTo>
                      <a:pt x="610" y="574"/>
                    </a:lnTo>
                    <a:lnTo>
                      <a:pt x="613" y="560"/>
                    </a:lnTo>
                    <a:lnTo>
                      <a:pt x="627" y="543"/>
                    </a:lnTo>
                    <a:lnTo>
                      <a:pt x="633" y="532"/>
                    </a:lnTo>
                    <a:lnTo>
                      <a:pt x="635" y="520"/>
                    </a:lnTo>
                    <a:lnTo>
                      <a:pt x="639" y="503"/>
                    </a:lnTo>
                    <a:lnTo>
                      <a:pt x="648" y="492"/>
                    </a:lnTo>
                    <a:lnTo>
                      <a:pt x="666" y="472"/>
                    </a:lnTo>
                    <a:lnTo>
                      <a:pt x="678" y="469"/>
                    </a:lnTo>
                    <a:lnTo>
                      <a:pt x="691" y="476"/>
                    </a:lnTo>
                    <a:lnTo>
                      <a:pt x="701" y="488"/>
                    </a:lnTo>
                    <a:lnTo>
                      <a:pt x="704" y="490"/>
                    </a:lnTo>
                    <a:lnTo>
                      <a:pt x="714" y="473"/>
                    </a:lnTo>
                    <a:lnTo>
                      <a:pt x="719" y="452"/>
                    </a:lnTo>
                    <a:lnTo>
                      <a:pt x="721" y="442"/>
                    </a:lnTo>
                    <a:lnTo>
                      <a:pt x="719" y="419"/>
                    </a:lnTo>
                    <a:lnTo>
                      <a:pt x="724" y="409"/>
                    </a:lnTo>
                    <a:lnTo>
                      <a:pt x="729" y="404"/>
                    </a:lnTo>
                    <a:lnTo>
                      <a:pt x="739" y="403"/>
                    </a:lnTo>
                    <a:lnTo>
                      <a:pt x="769" y="407"/>
                    </a:lnTo>
                    <a:lnTo>
                      <a:pt x="812" y="423"/>
                    </a:lnTo>
                    <a:lnTo>
                      <a:pt x="821" y="420"/>
                    </a:lnTo>
                    <a:lnTo>
                      <a:pt x="828" y="412"/>
                    </a:lnTo>
                    <a:lnTo>
                      <a:pt x="819" y="403"/>
                    </a:lnTo>
                    <a:lnTo>
                      <a:pt x="817" y="392"/>
                    </a:lnTo>
                    <a:lnTo>
                      <a:pt x="823" y="382"/>
                    </a:lnTo>
                    <a:lnTo>
                      <a:pt x="827" y="366"/>
                    </a:lnTo>
                    <a:lnTo>
                      <a:pt x="831" y="361"/>
                    </a:lnTo>
                    <a:lnTo>
                      <a:pt x="833" y="352"/>
                    </a:lnTo>
                    <a:lnTo>
                      <a:pt x="832" y="342"/>
                    </a:lnTo>
                    <a:lnTo>
                      <a:pt x="827" y="336"/>
                    </a:lnTo>
                    <a:lnTo>
                      <a:pt x="826" y="326"/>
                    </a:lnTo>
                    <a:lnTo>
                      <a:pt x="831" y="323"/>
                    </a:lnTo>
                    <a:lnTo>
                      <a:pt x="854" y="323"/>
                    </a:lnTo>
                    <a:lnTo>
                      <a:pt x="857" y="316"/>
                    </a:lnTo>
                    <a:lnTo>
                      <a:pt x="865" y="313"/>
                    </a:lnTo>
                    <a:lnTo>
                      <a:pt x="874" y="317"/>
                    </a:lnTo>
                    <a:lnTo>
                      <a:pt x="882" y="313"/>
                    </a:lnTo>
                    <a:lnTo>
                      <a:pt x="880" y="302"/>
                    </a:lnTo>
                    <a:lnTo>
                      <a:pt x="879" y="290"/>
                    </a:lnTo>
                    <a:lnTo>
                      <a:pt x="891" y="283"/>
                    </a:lnTo>
                    <a:lnTo>
                      <a:pt x="906" y="289"/>
                    </a:lnTo>
                    <a:lnTo>
                      <a:pt x="917" y="300"/>
                    </a:lnTo>
                    <a:lnTo>
                      <a:pt x="947" y="344"/>
                    </a:lnTo>
                    <a:lnTo>
                      <a:pt x="952" y="363"/>
                    </a:lnTo>
                    <a:lnTo>
                      <a:pt x="957" y="371"/>
                    </a:lnTo>
                    <a:lnTo>
                      <a:pt x="983" y="375"/>
                    </a:lnTo>
                    <a:lnTo>
                      <a:pt x="998" y="383"/>
                    </a:lnTo>
                    <a:lnTo>
                      <a:pt x="1010" y="382"/>
                    </a:lnTo>
                    <a:lnTo>
                      <a:pt x="1025" y="374"/>
                    </a:lnTo>
                    <a:lnTo>
                      <a:pt x="1042" y="353"/>
                    </a:lnTo>
                    <a:lnTo>
                      <a:pt x="1052" y="360"/>
                    </a:lnTo>
                    <a:lnTo>
                      <a:pt x="1061" y="374"/>
                    </a:lnTo>
                    <a:lnTo>
                      <a:pt x="1064" y="382"/>
                    </a:lnTo>
                    <a:lnTo>
                      <a:pt x="1074" y="385"/>
                    </a:lnTo>
                    <a:lnTo>
                      <a:pt x="1090" y="377"/>
                    </a:lnTo>
                    <a:lnTo>
                      <a:pt x="1102" y="368"/>
                    </a:lnTo>
                    <a:lnTo>
                      <a:pt x="1111" y="354"/>
                    </a:lnTo>
                    <a:lnTo>
                      <a:pt x="1137" y="334"/>
                    </a:lnTo>
                    <a:lnTo>
                      <a:pt x="1139" y="322"/>
                    </a:lnTo>
                    <a:lnTo>
                      <a:pt x="1137" y="299"/>
                    </a:lnTo>
                    <a:lnTo>
                      <a:pt x="1137" y="285"/>
                    </a:lnTo>
                    <a:lnTo>
                      <a:pt x="1140" y="243"/>
                    </a:lnTo>
                    <a:lnTo>
                      <a:pt x="1154" y="212"/>
                    </a:lnTo>
                    <a:lnTo>
                      <a:pt x="1164" y="199"/>
                    </a:lnTo>
                    <a:lnTo>
                      <a:pt x="1177" y="192"/>
                    </a:lnTo>
                    <a:lnTo>
                      <a:pt x="1202" y="189"/>
                    </a:lnTo>
                    <a:lnTo>
                      <a:pt x="1240" y="172"/>
                    </a:lnTo>
                    <a:lnTo>
                      <a:pt x="1263" y="167"/>
                    </a:lnTo>
                    <a:lnTo>
                      <a:pt x="1268" y="172"/>
                    </a:lnTo>
                    <a:lnTo>
                      <a:pt x="1278" y="193"/>
                    </a:lnTo>
                    <a:lnTo>
                      <a:pt x="1289" y="202"/>
                    </a:lnTo>
                    <a:lnTo>
                      <a:pt x="1307" y="208"/>
                    </a:lnTo>
                    <a:lnTo>
                      <a:pt x="1325" y="225"/>
                    </a:lnTo>
                    <a:lnTo>
                      <a:pt x="1332" y="253"/>
                    </a:lnTo>
                    <a:lnTo>
                      <a:pt x="1333" y="269"/>
                    </a:lnTo>
                    <a:lnTo>
                      <a:pt x="1314" y="294"/>
                    </a:lnTo>
                    <a:lnTo>
                      <a:pt x="1310" y="306"/>
                    </a:lnTo>
                    <a:lnTo>
                      <a:pt x="1311" y="317"/>
                    </a:lnTo>
                    <a:lnTo>
                      <a:pt x="1321" y="325"/>
                    </a:lnTo>
                    <a:lnTo>
                      <a:pt x="1323" y="323"/>
                    </a:lnTo>
                    <a:lnTo>
                      <a:pt x="1332" y="315"/>
                    </a:lnTo>
                    <a:lnTo>
                      <a:pt x="1333" y="311"/>
                    </a:lnTo>
                    <a:lnTo>
                      <a:pt x="1334" y="300"/>
                    </a:lnTo>
                    <a:lnTo>
                      <a:pt x="1337" y="295"/>
                    </a:lnTo>
                    <a:lnTo>
                      <a:pt x="1369" y="275"/>
                    </a:lnTo>
                    <a:lnTo>
                      <a:pt x="1375" y="269"/>
                    </a:lnTo>
                    <a:lnTo>
                      <a:pt x="1381" y="239"/>
                    </a:lnTo>
                    <a:lnTo>
                      <a:pt x="1403" y="252"/>
                    </a:lnTo>
                    <a:lnTo>
                      <a:pt x="1416" y="250"/>
                    </a:lnTo>
                    <a:lnTo>
                      <a:pt x="1418" y="243"/>
                    </a:lnTo>
                    <a:lnTo>
                      <a:pt x="1422" y="231"/>
                    </a:lnTo>
                    <a:lnTo>
                      <a:pt x="1422" y="220"/>
                    </a:lnTo>
                    <a:lnTo>
                      <a:pt x="1419" y="2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" name="Sweden"/>
              <p:cNvSpPr>
                <a:spLocks noChangeAspect="1"/>
              </p:cNvSpPr>
              <p:nvPr>
                <p:custDataLst>
                  <p:tags r:id="rId254"/>
                </p:custDataLst>
              </p:nvPr>
            </p:nvSpPr>
            <p:spPr bwMode="gray">
              <a:xfrm>
                <a:off x="4720510" y="2158052"/>
                <a:ext cx="334706" cy="767717"/>
              </a:xfrm>
              <a:custGeom>
                <a:avLst/>
                <a:gdLst/>
                <a:ahLst/>
                <a:cxnLst>
                  <a:cxn ang="0">
                    <a:pos x="13" y="1339"/>
                  </a:cxn>
                  <a:cxn ang="0">
                    <a:pos x="27" y="1349"/>
                  </a:cxn>
                  <a:cxn ang="0">
                    <a:pos x="43" y="1396"/>
                  </a:cxn>
                  <a:cxn ang="0">
                    <a:pos x="56" y="1468"/>
                  </a:cxn>
                  <a:cxn ang="0">
                    <a:pos x="92" y="1538"/>
                  </a:cxn>
                  <a:cxn ang="0">
                    <a:pos x="91" y="1593"/>
                  </a:cxn>
                  <a:cxn ang="0">
                    <a:pos x="107" y="1636"/>
                  </a:cxn>
                  <a:cxn ang="0">
                    <a:pos x="169" y="1598"/>
                  </a:cxn>
                  <a:cxn ang="0">
                    <a:pos x="227" y="1564"/>
                  </a:cxn>
                  <a:cxn ang="0">
                    <a:pos x="286" y="1484"/>
                  </a:cxn>
                  <a:cxn ang="0">
                    <a:pos x="300" y="1407"/>
                  </a:cxn>
                  <a:cxn ang="0">
                    <a:pos x="301" y="1378"/>
                  </a:cxn>
                  <a:cxn ang="0">
                    <a:pos x="288" y="1329"/>
                  </a:cxn>
                  <a:cxn ang="0">
                    <a:pos x="276" y="1310"/>
                  </a:cxn>
                  <a:cxn ang="0">
                    <a:pos x="350" y="1279"/>
                  </a:cxn>
                  <a:cxn ang="0">
                    <a:pos x="389" y="1243"/>
                  </a:cxn>
                  <a:cxn ang="0">
                    <a:pos x="341" y="1241"/>
                  </a:cxn>
                  <a:cxn ang="0">
                    <a:pos x="290" y="1219"/>
                  </a:cxn>
                  <a:cxn ang="0">
                    <a:pos x="338" y="1218"/>
                  </a:cxn>
                  <a:cxn ang="0">
                    <a:pos x="371" y="1232"/>
                  </a:cxn>
                  <a:cxn ang="0">
                    <a:pos x="394" y="1138"/>
                  </a:cxn>
                  <a:cxn ang="0">
                    <a:pos x="352" y="1100"/>
                  </a:cxn>
                  <a:cxn ang="0">
                    <a:pos x="308" y="1148"/>
                  </a:cxn>
                  <a:cxn ang="0">
                    <a:pos x="319" y="1127"/>
                  </a:cxn>
                  <a:cxn ang="0">
                    <a:pos x="331" y="1060"/>
                  </a:cxn>
                  <a:cxn ang="0">
                    <a:pos x="344" y="979"/>
                  </a:cxn>
                  <a:cxn ang="0">
                    <a:pos x="340" y="879"/>
                  </a:cxn>
                  <a:cxn ang="0">
                    <a:pos x="370" y="850"/>
                  </a:cxn>
                  <a:cxn ang="0">
                    <a:pos x="393" y="840"/>
                  </a:cxn>
                  <a:cxn ang="0">
                    <a:pos x="410" y="809"/>
                  </a:cxn>
                  <a:cxn ang="0">
                    <a:pos x="449" y="764"/>
                  </a:cxn>
                  <a:cxn ang="0">
                    <a:pos x="503" y="735"/>
                  </a:cxn>
                  <a:cxn ang="0">
                    <a:pos x="555" y="664"/>
                  </a:cxn>
                  <a:cxn ang="0">
                    <a:pos x="572" y="639"/>
                  </a:cxn>
                  <a:cxn ang="0">
                    <a:pos x="551" y="594"/>
                  </a:cxn>
                  <a:cxn ang="0">
                    <a:pos x="569" y="527"/>
                  </a:cxn>
                  <a:cxn ang="0">
                    <a:pos x="593" y="503"/>
                  </a:cxn>
                  <a:cxn ang="0">
                    <a:pos x="614" y="493"/>
                  </a:cxn>
                  <a:cxn ang="0">
                    <a:pos x="628" y="460"/>
                  </a:cxn>
                  <a:cxn ang="0">
                    <a:pos x="661" y="473"/>
                  </a:cxn>
                  <a:cxn ang="0">
                    <a:pos x="712" y="449"/>
                  </a:cxn>
                  <a:cxn ang="0">
                    <a:pos x="687" y="296"/>
                  </a:cxn>
                  <a:cxn ang="0">
                    <a:pos x="683" y="186"/>
                  </a:cxn>
                  <a:cxn ang="0">
                    <a:pos x="528" y="5"/>
                  </a:cxn>
                  <a:cxn ang="0">
                    <a:pos x="502" y="29"/>
                  </a:cxn>
                  <a:cxn ang="0">
                    <a:pos x="490" y="97"/>
                  </a:cxn>
                  <a:cxn ang="0">
                    <a:pos x="390" y="119"/>
                  </a:cxn>
                  <a:cxn ang="0">
                    <a:pos x="335" y="149"/>
                  </a:cxn>
                  <a:cxn ang="0">
                    <a:pos x="279" y="251"/>
                  </a:cxn>
                  <a:cxn ang="0">
                    <a:pos x="242" y="364"/>
                  </a:cxn>
                  <a:cxn ang="0">
                    <a:pos x="194" y="446"/>
                  </a:cxn>
                  <a:cxn ang="0">
                    <a:pos x="163" y="641"/>
                  </a:cxn>
                  <a:cxn ang="0">
                    <a:pos x="104" y="697"/>
                  </a:cxn>
                  <a:cxn ang="0">
                    <a:pos x="66" y="811"/>
                  </a:cxn>
                  <a:cxn ang="0">
                    <a:pos x="55" y="886"/>
                  </a:cxn>
                  <a:cxn ang="0">
                    <a:pos x="86" y="1035"/>
                  </a:cxn>
                  <a:cxn ang="0">
                    <a:pos x="74" y="1143"/>
                  </a:cxn>
                  <a:cxn ang="0">
                    <a:pos x="32" y="1242"/>
                  </a:cxn>
                </a:cxnLst>
                <a:rect l="0" t="0" r="r" b="b"/>
                <a:pathLst>
                  <a:path w="715" h="1640">
                    <a:moveTo>
                      <a:pt x="6" y="1264"/>
                    </a:moveTo>
                    <a:lnTo>
                      <a:pt x="0" y="1276"/>
                    </a:lnTo>
                    <a:lnTo>
                      <a:pt x="0" y="1288"/>
                    </a:lnTo>
                    <a:lnTo>
                      <a:pt x="5" y="1328"/>
                    </a:lnTo>
                    <a:lnTo>
                      <a:pt x="7" y="1333"/>
                    </a:lnTo>
                    <a:lnTo>
                      <a:pt x="12" y="1335"/>
                    </a:lnTo>
                    <a:lnTo>
                      <a:pt x="13" y="1339"/>
                    </a:lnTo>
                    <a:lnTo>
                      <a:pt x="15" y="1346"/>
                    </a:lnTo>
                    <a:lnTo>
                      <a:pt x="13" y="1350"/>
                    </a:lnTo>
                    <a:lnTo>
                      <a:pt x="19" y="1343"/>
                    </a:lnTo>
                    <a:lnTo>
                      <a:pt x="21" y="1335"/>
                    </a:lnTo>
                    <a:lnTo>
                      <a:pt x="26" y="1340"/>
                    </a:lnTo>
                    <a:lnTo>
                      <a:pt x="22" y="1350"/>
                    </a:lnTo>
                    <a:lnTo>
                      <a:pt x="27" y="1349"/>
                    </a:lnTo>
                    <a:lnTo>
                      <a:pt x="29" y="1351"/>
                    </a:lnTo>
                    <a:lnTo>
                      <a:pt x="24" y="1355"/>
                    </a:lnTo>
                    <a:lnTo>
                      <a:pt x="17" y="1366"/>
                    </a:lnTo>
                    <a:lnTo>
                      <a:pt x="33" y="1371"/>
                    </a:lnTo>
                    <a:lnTo>
                      <a:pt x="35" y="1381"/>
                    </a:lnTo>
                    <a:lnTo>
                      <a:pt x="33" y="1398"/>
                    </a:lnTo>
                    <a:lnTo>
                      <a:pt x="43" y="1396"/>
                    </a:lnTo>
                    <a:lnTo>
                      <a:pt x="45" y="1407"/>
                    </a:lnTo>
                    <a:lnTo>
                      <a:pt x="39" y="1415"/>
                    </a:lnTo>
                    <a:lnTo>
                      <a:pt x="42" y="1431"/>
                    </a:lnTo>
                    <a:lnTo>
                      <a:pt x="40" y="1442"/>
                    </a:lnTo>
                    <a:lnTo>
                      <a:pt x="49" y="1442"/>
                    </a:lnTo>
                    <a:lnTo>
                      <a:pt x="54" y="1456"/>
                    </a:lnTo>
                    <a:lnTo>
                      <a:pt x="56" y="1468"/>
                    </a:lnTo>
                    <a:lnTo>
                      <a:pt x="62" y="1487"/>
                    </a:lnTo>
                    <a:lnTo>
                      <a:pt x="74" y="1496"/>
                    </a:lnTo>
                    <a:lnTo>
                      <a:pt x="78" y="1509"/>
                    </a:lnTo>
                    <a:lnTo>
                      <a:pt x="91" y="1516"/>
                    </a:lnTo>
                    <a:lnTo>
                      <a:pt x="98" y="1526"/>
                    </a:lnTo>
                    <a:lnTo>
                      <a:pt x="98" y="1534"/>
                    </a:lnTo>
                    <a:lnTo>
                      <a:pt x="92" y="1538"/>
                    </a:lnTo>
                    <a:lnTo>
                      <a:pt x="85" y="1537"/>
                    </a:lnTo>
                    <a:lnTo>
                      <a:pt x="82" y="1541"/>
                    </a:lnTo>
                    <a:lnTo>
                      <a:pt x="89" y="1557"/>
                    </a:lnTo>
                    <a:lnTo>
                      <a:pt x="82" y="1555"/>
                    </a:lnTo>
                    <a:lnTo>
                      <a:pt x="75" y="1553"/>
                    </a:lnTo>
                    <a:lnTo>
                      <a:pt x="75" y="1559"/>
                    </a:lnTo>
                    <a:lnTo>
                      <a:pt x="91" y="1593"/>
                    </a:lnTo>
                    <a:lnTo>
                      <a:pt x="98" y="1604"/>
                    </a:lnTo>
                    <a:lnTo>
                      <a:pt x="102" y="1614"/>
                    </a:lnTo>
                    <a:lnTo>
                      <a:pt x="99" y="1620"/>
                    </a:lnTo>
                    <a:lnTo>
                      <a:pt x="98" y="1631"/>
                    </a:lnTo>
                    <a:lnTo>
                      <a:pt x="94" y="1633"/>
                    </a:lnTo>
                    <a:lnTo>
                      <a:pt x="93" y="1638"/>
                    </a:lnTo>
                    <a:lnTo>
                      <a:pt x="107" y="1636"/>
                    </a:lnTo>
                    <a:lnTo>
                      <a:pt x="118" y="1640"/>
                    </a:lnTo>
                    <a:lnTo>
                      <a:pt x="136" y="1634"/>
                    </a:lnTo>
                    <a:lnTo>
                      <a:pt x="152" y="1633"/>
                    </a:lnTo>
                    <a:lnTo>
                      <a:pt x="163" y="1638"/>
                    </a:lnTo>
                    <a:lnTo>
                      <a:pt x="168" y="1634"/>
                    </a:lnTo>
                    <a:lnTo>
                      <a:pt x="172" y="1620"/>
                    </a:lnTo>
                    <a:lnTo>
                      <a:pt x="169" y="1598"/>
                    </a:lnTo>
                    <a:lnTo>
                      <a:pt x="174" y="1585"/>
                    </a:lnTo>
                    <a:lnTo>
                      <a:pt x="180" y="1574"/>
                    </a:lnTo>
                    <a:lnTo>
                      <a:pt x="189" y="1576"/>
                    </a:lnTo>
                    <a:lnTo>
                      <a:pt x="194" y="1566"/>
                    </a:lnTo>
                    <a:lnTo>
                      <a:pt x="204" y="1559"/>
                    </a:lnTo>
                    <a:lnTo>
                      <a:pt x="218" y="1560"/>
                    </a:lnTo>
                    <a:lnTo>
                      <a:pt x="227" y="1564"/>
                    </a:lnTo>
                    <a:lnTo>
                      <a:pt x="238" y="1560"/>
                    </a:lnTo>
                    <a:lnTo>
                      <a:pt x="250" y="1564"/>
                    </a:lnTo>
                    <a:lnTo>
                      <a:pt x="261" y="1564"/>
                    </a:lnTo>
                    <a:lnTo>
                      <a:pt x="266" y="1544"/>
                    </a:lnTo>
                    <a:lnTo>
                      <a:pt x="276" y="1522"/>
                    </a:lnTo>
                    <a:lnTo>
                      <a:pt x="285" y="1505"/>
                    </a:lnTo>
                    <a:lnTo>
                      <a:pt x="286" y="1484"/>
                    </a:lnTo>
                    <a:lnTo>
                      <a:pt x="291" y="1472"/>
                    </a:lnTo>
                    <a:lnTo>
                      <a:pt x="290" y="1457"/>
                    </a:lnTo>
                    <a:lnTo>
                      <a:pt x="293" y="1446"/>
                    </a:lnTo>
                    <a:lnTo>
                      <a:pt x="298" y="1435"/>
                    </a:lnTo>
                    <a:lnTo>
                      <a:pt x="298" y="1424"/>
                    </a:lnTo>
                    <a:lnTo>
                      <a:pt x="295" y="1418"/>
                    </a:lnTo>
                    <a:lnTo>
                      <a:pt x="300" y="1407"/>
                    </a:lnTo>
                    <a:lnTo>
                      <a:pt x="298" y="1398"/>
                    </a:lnTo>
                    <a:lnTo>
                      <a:pt x="293" y="1392"/>
                    </a:lnTo>
                    <a:lnTo>
                      <a:pt x="292" y="1386"/>
                    </a:lnTo>
                    <a:lnTo>
                      <a:pt x="293" y="1382"/>
                    </a:lnTo>
                    <a:lnTo>
                      <a:pt x="300" y="1385"/>
                    </a:lnTo>
                    <a:lnTo>
                      <a:pt x="304" y="1385"/>
                    </a:lnTo>
                    <a:lnTo>
                      <a:pt x="301" y="1378"/>
                    </a:lnTo>
                    <a:lnTo>
                      <a:pt x="302" y="1374"/>
                    </a:lnTo>
                    <a:lnTo>
                      <a:pt x="304" y="1367"/>
                    </a:lnTo>
                    <a:lnTo>
                      <a:pt x="304" y="1362"/>
                    </a:lnTo>
                    <a:lnTo>
                      <a:pt x="307" y="1345"/>
                    </a:lnTo>
                    <a:lnTo>
                      <a:pt x="306" y="1340"/>
                    </a:lnTo>
                    <a:lnTo>
                      <a:pt x="297" y="1334"/>
                    </a:lnTo>
                    <a:lnTo>
                      <a:pt x="288" y="1329"/>
                    </a:lnTo>
                    <a:lnTo>
                      <a:pt x="291" y="1328"/>
                    </a:lnTo>
                    <a:lnTo>
                      <a:pt x="300" y="1332"/>
                    </a:lnTo>
                    <a:lnTo>
                      <a:pt x="309" y="1329"/>
                    </a:lnTo>
                    <a:lnTo>
                      <a:pt x="312" y="1326"/>
                    </a:lnTo>
                    <a:lnTo>
                      <a:pt x="302" y="1317"/>
                    </a:lnTo>
                    <a:lnTo>
                      <a:pt x="274" y="1312"/>
                    </a:lnTo>
                    <a:lnTo>
                      <a:pt x="276" y="1310"/>
                    </a:lnTo>
                    <a:lnTo>
                      <a:pt x="298" y="1307"/>
                    </a:lnTo>
                    <a:lnTo>
                      <a:pt x="311" y="1311"/>
                    </a:lnTo>
                    <a:lnTo>
                      <a:pt x="318" y="1307"/>
                    </a:lnTo>
                    <a:lnTo>
                      <a:pt x="320" y="1299"/>
                    </a:lnTo>
                    <a:lnTo>
                      <a:pt x="334" y="1297"/>
                    </a:lnTo>
                    <a:lnTo>
                      <a:pt x="345" y="1286"/>
                    </a:lnTo>
                    <a:lnTo>
                      <a:pt x="350" y="1279"/>
                    </a:lnTo>
                    <a:lnTo>
                      <a:pt x="350" y="1268"/>
                    </a:lnTo>
                    <a:lnTo>
                      <a:pt x="359" y="1270"/>
                    </a:lnTo>
                    <a:lnTo>
                      <a:pt x="359" y="1281"/>
                    </a:lnTo>
                    <a:lnTo>
                      <a:pt x="371" y="1280"/>
                    </a:lnTo>
                    <a:lnTo>
                      <a:pt x="378" y="1268"/>
                    </a:lnTo>
                    <a:lnTo>
                      <a:pt x="392" y="1256"/>
                    </a:lnTo>
                    <a:lnTo>
                      <a:pt x="389" y="1243"/>
                    </a:lnTo>
                    <a:lnTo>
                      <a:pt x="394" y="1248"/>
                    </a:lnTo>
                    <a:lnTo>
                      <a:pt x="400" y="1248"/>
                    </a:lnTo>
                    <a:lnTo>
                      <a:pt x="400" y="1242"/>
                    </a:lnTo>
                    <a:lnTo>
                      <a:pt x="406" y="1237"/>
                    </a:lnTo>
                    <a:lnTo>
                      <a:pt x="405" y="1232"/>
                    </a:lnTo>
                    <a:lnTo>
                      <a:pt x="352" y="1243"/>
                    </a:lnTo>
                    <a:lnTo>
                      <a:pt x="341" y="1241"/>
                    </a:lnTo>
                    <a:lnTo>
                      <a:pt x="336" y="1245"/>
                    </a:lnTo>
                    <a:lnTo>
                      <a:pt x="334" y="1238"/>
                    </a:lnTo>
                    <a:lnTo>
                      <a:pt x="328" y="1232"/>
                    </a:lnTo>
                    <a:lnTo>
                      <a:pt x="303" y="1222"/>
                    </a:lnTo>
                    <a:lnTo>
                      <a:pt x="290" y="1225"/>
                    </a:lnTo>
                    <a:lnTo>
                      <a:pt x="284" y="1221"/>
                    </a:lnTo>
                    <a:lnTo>
                      <a:pt x="290" y="1219"/>
                    </a:lnTo>
                    <a:lnTo>
                      <a:pt x="293" y="1211"/>
                    </a:lnTo>
                    <a:lnTo>
                      <a:pt x="300" y="1214"/>
                    </a:lnTo>
                    <a:lnTo>
                      <a:pt x="308" y="1211"/>
                    </a:lnTo>
                    <a:lnTo>
                      <a:pt x="320" y="1213"/>
                    </a:lnTo>
                    <a:lnTo>
                      <a:pt x="322" y="1211"/>
                    </a:lnTo>
                    <a:lnTo>
                      <a:pt x="331" y="1221"/>
                    </a:lnTo>
                    <a:lnTo>
                      <a:pt x="338" y="1218"/>
                    </a:lnTo>
                    <a:lnTo>
                      <a:pt x="339" y="1214"/>
                    </a:lnTo>
                    <a:lnTo>
                      <a:pt x="345" y="1220"/>
                    </a:lnTo>
                    <a:lnTo>
                      <a:pt x="352" y="1222"/>
                    </a:lnTo>
                    <a:lnTo>
                      <a:pt x="356" y="1216"/>
                    </a:lnTo>
                    <a:lnTo>
                      <a:pt x="359" y="1220"/>
                    </a:lnTo>
                    <a:lnTo>
                      <a:pt x="363" y="1230"/>
                    </a:lnTo>
                    <a:lnTo>
                      <a:pt x="371" y="1232"/>
                    </a:lnTo>
                    <a:lnTo>
                      <a:pt x="403" y="1216"/>
                    </a:lnTo>
                    <a:lnTo>
                      <a:pt x="414" y="1198"/>
                    </a:lnTo>
                    <a:lnTo>
                      <a:pt x="419" y="1193"/>
                    </a:lnTo>
                    <a:lnTo>
                      <a:pt x="422" y="1176"/>
                    </a:lnTo>
                    <a:lnTo>
                      <a:pt x="416" y="1161"/>
                    </a:lnTo>
                    <a:lnTo>
                      <a:pt x="404" y="1152"/>
                    </a:lnTo>
                    <a:lnTo>
                      <a:pt x="394" y="1138"/>
                    </a:lnTo>
                    <a:lnTo>
                      <a:pt x="403" y="1136"/>
                    </a:lnTo>
                    <a:lnTo>
                      <a:pt x="402" y="1133"/>
                    </a:lnTo>
                    <a:lnTo>
                      <a:pt x="381" y="1123"/>
                    </a:lnTo>
                    <a:lnTo>
                      <a:pt x="379" y="1113"/>
                    </a:lnTo>
                    <a:lnTo>
                      <a:pt x="374" y="1103"/>
                    </a:lnTo>
                    <a:lnTo>
                      <a:pt x="357" y="1106"/>
                    </a:lnTo>
                    <a:lnTo>
                      <a:pt x="352" y="1100"/>
                    </a:lnTo>
                    <a:lnTo>
                      <a:pt x="351" y="1096"/>
                    </a:lnTo>
                    <a:lnTo>
                      <a:pt x="347" y="1095"/>
                    </a:lnTo>
                    <a:lnTo>
                      <a:pt x="347" y="1098"/>
                    </a:lnTo>
                    <a:lnTo>
                      <a:pt x="341" y="1118"/>
                    </a:lnTo>
                    <a:lnTo>
                      <a:pt x="333" y="1129"/>
                    </a:lnTo>
                    <a:lnTo>
                      <a:pt x="314" y="1143"/>
                    </a:lnTo>
                    <a:lnTo>
                      <a:pt x="308" y="1148"/>
                    </a:lnTo>
                    <a:lnTo>
                      <a:pt x="298" y="1148"/>
                    </a:lnTo>
                    <a:lnTo>
                      <a:pt x="287" y="1151"/>
                    </a:lnTo>
                    <a:lnTo>
                      <a:pt x="280" y="1149"/>
                    </a:lnTo>
                    <a:lnTo>
                      <a:pt x="288" y="1143"/>
                    </a:lnTo>
                    <a:lnTo>
                      <a:pt x="300" y="1140"/>
                    </a:lnTo>
                    <a:lnTo>
                      <a:pt x="309" y="1132"/>
                    </a:lnTo>
                    <a:lnTo>
                      <a:pt x="319" y="1127"/>
                    </a:lnTo>
                    <a:lnTo>
                      <a:pt x="336" y="1112"/>
                    </a:lnTo>
                    <a:lnTo>
                      <a:pt x="339" y="1102"/>
                    </a:lnTo>
                    <a:lnTo>
                      <a:pt x="339" y="1089"/>
                    </a:lnTo>
                    <a:lnTo>
                      <a:pt x="330" y="1087"/>
                    </a:lnTo>
                    <a:lnTo>
                      <a:pt x="334" y="1080"/>
                    </a:lnTo>
                    <a:lnTo>
                      <a:pt x="335" y="1069"/>
                    </a:lnTo>
                    <a:lnTo>
                      <a:pt x="331" y="1060"/>
                    </a:lnTo>
                    <a:lnTo>
                      <a:pt x="328" y="1032"/>
                    </a:lnTo>
                    <a:lnTo>
                      <a:pt x="329" y="1015"/>
                    </a:lnTo>
                    <a:lnTo>
                      <a:pt x="325" y="992"/>
                    </a:lnTo>
                    <a:lnTo>
                      <a:pt x="327" y="985"/>
                    </a:lnTo>
                    <a:lnTo>
                      <a:pt x="330" y="977"/>
                    </a:lnTo>
                    <a:lnTo>
                      <a:pt x="329" y="971"/>
                    </a:lnTo>
                    <a:lnTo>
                      <a:pt x="344" y="979"/>
                    </a:lnTo>
                    <a:lnTo>
                      <a:pt x="345" y="971"/>
                    </a:lnTo>
                    <a:lnTo>
                      <a:pt x="340" y="950"/>
                    </a:lnTo>
                    <a:lnTo>
                      <a:pt x="345" y="928"/>
                    </a:lnTo>
                    <a:lnTo>
                      <a:pt x="350" y="910"/>
                    </a:lnTo>
                    <a:lnTo>
                      <a:pt x="343" y="901"/>
                    </a:lnTo>
                    <a:lnTo>
                      <a:pt x="340" y="892"/>
                    </a:lnTo>
                    <a:lnTo>
                      <a:pt x="340" y="879"/>
                    </a:lnTo>
                    <a:lnTo>
                      <a:pt x="356" y="887"/>
                    </a:lnTo>
                    <a:lnTo>
                      <a:pt x="357" y="885"/>
                    </a:lnTo>
                    <a:lnTo>
                      <a:pt x="361" y="881"/>
                    </a:lnTo>
                    <a:lnTo>
                      <a:pt x="367" y="872"/>
                    </a:lnTo>
                    <a:lnTo>
                      <a:pt x="368" y="870"/>
                    </a:lnTo>
                    <a:lnTo>
                      <a:pt x="367" y="866"/>
                    </a:lnTo>
                    <a:lnTo>
                      <a:pt x="370" y="850"/>
                    </a:lnTo>
                    <a:lnTo>
                      <a:pt x="365" y="839"/>
                    </a:lnTo>
                    <a:lnTo>
                      <a:pt x="366" y="831"/>
                    </a:lnTo>
                    <a:lnTo>
                      <a:pt x="368" y="840"/>
                    </a:lnTo>
                    <a:lnTo>
                      <a:pt x="377" y="848"/>
                    </a:lnTo>
                    <a:lnTo>
                      <a:pt x="381" y="847"/>
                    </a:lnTo>
                    <a:lnTo>
                      <a:pt x="386" y="837"/>
                    </a:lnTo>
                    <a:lnTo>
                      <a:pt x="393" y="840"/>
                    </a:lnTo>
                    <a:lnTo>
                      <a:pt x="394" y="833"/>
                    </a:lnTo>
                    <a:lnTo>
                      <a:pt x="398" y="827"/>
                    </a:lnTo>
                    <a:lnTo>
                      <a:pt x="387" y="822"/>
                    </a:lnTo>
                    <a:lnTo>
                      <a:pt x="394" y="823"/>
                    </a:lnTo>
                    <a:lnTo>
                      <a:pt x="403" y="817"/>
                    </a:lnTo>
                    <a:lnTo>
                      <a:pt x="403" y="812"/>
                    </a:lnTo>
                    <a:lnTo>
                      <a:pt x="410" y="809"/>
                    </a:lnTo>
                    <a:lnTo>
                      <a:pt x="411" y="799"/>
                    </a:lnTo>
                    <a:lnTo>
                      <a:pt x="417" y="796"/>
                    </a:lnTo>
                    <a:lnTo>
                      <a:pt x="417" y="784"/>
                    </a:lnTo>
                    <a:lnTo>
                      <a:pt x="425" y="783"/>
                    </a:lnTo>
                    <a:lnTo>
                      <a:pt x="435" y="785"/>
                    </a:lnTo>
                    <a:lnTo>
                      <a:pt x="446" y="775"/>
                    </a:lnTo>
                    <a:lnTo>
                      <a:pt x="449" y="764"/>
                    </a:lnTo>
                    <a:lnTo>
                      <a:pt x="464" y="753"/>
                    </a:lnTo>
                    <a:lnTo>
                      <a:pt x="470" y="761"/>
                    </a:lnTo>
                    <a:lnTo>
                      <a:pt x="481" y="753"/>
                    </a:lnTo>
                    <a:lnTo>
                      <a:pt x="484" y="743"/>
                    </a:lnTo>
                    <a:lnTo>
                      <a:pt x="492" y="737"/>
                    </a:lnTo>
                    <a:lnTo>
                      <a:pt x="500" y="740"/>
                    </a:lnTo>
                    <a:lnTo>
                      <a:pt x="503" y="735"/>
                    </a:lnTo>
                    <a:lnTo>
                      <a:pt x="516" y="727"/>
                    </a:lnTo>
                    <a:lnTo>
                      <a:pt x="521" y="719"/>
                    </a:lnTo>
                    <a:lnTo>
                      <a:pt x="528" y="715"/>
                    </a:lnTo>
                    <a:lnTo>
                      <a:pt x="535" y="699"/>
                    </a:lnTo>
                    <a:lnTo>
                      <a:pt x="538" y="691"/>
                    </a:lnTo>
                    <a:lnTo>
                      <a:pt x="549" y="677"/>
                    </a:lnTo>
                    <a:lnTo>
                      <a:pt x="555" y="664"/>
                    </a:lnTo>
                    <a:lnTo>
                      <a:pt x="562" y="651"/>
                    </a:lnTo>
                    <a:lnTo>
                      <a:pt x="566" y="646"/>
                    </a:lnTo>
                    <a:lnTo>
                      <a:pt x="567" y="651"/>
                    </a:lnTo>
                    <a:lnTo>
                      <a:pt x="566" y="662"/>
                    </a:lnTo>
                    <a:lnTo>
                      <a:pt x="576" y="649"/>
                    </a:lnTo>
                    <a:lnTo>
                      <a:pt x="577" y="644"/>
                    </a:lnTo>
                    <a:lnTo>
                      <a:pt x="572" y="639"/>
                    </a:lnTo>
                    <a:lnTo>
                      <a:pt x="571" y="633"/>
                    </a:lnTo>
                    <a:lnTo>
                      <a:pt x="556" y="618"/>
                    </a:lnTo>
                    <a:lnTo>
                      <a:pt x="555" y="612"/>
                    </a:lnTo>
                    <a:lnTo>
                      <a:pt x="558" y="610"/>
                    </a:lnTo>
                    <a:lnTo>
                      <a:pt x="556" y="602"/>
                    </a:lnTo>
                    <a:lnTo>
                      <a:pt x="551" y="596"/>
                    </a:lnTo>
                    <a:lnTo>
                      <a:pt x="551" y="594"/>
                    </a:lnTo>
                    <a:lnTo>
                      <a:pt x="556" y="589"/>
                    </a:lnTo>
                    <a:lnTo>
                      <a:pt x="558" y="582"/>
                    </a:lnTo>
                    <a:lnTo>
                      <a:pt x="566" y="579"/>
                    </a:lnTo>
                    <a:lnTo>
                      <a:pt x="576" y="554"/>
                    </a:lnTo>
                    <a:lnTo>
                      <a:pt x="577" y="547"/>
                    </a:lnTo>
                    <a:lnTo>
                      <a:pt x="567" y="530"/>
                    </a:lnTo>
                    <a:lnTo>
                      <a:pt x="569" y="527"/>
                    </a:lnTo>
                    <a:lnTo>
                      <a:pt x="580" y="520"/>
                    </a:lnTo>
                    <a:lnTo>
                      <a:pt x="580" y="512"/>
                    </a:lnTo>
                    <a:lnTo>
                      <a:pt x="585" y="511"/>
                    </a:lnTo>
                    <a:lnTo>
                      <a:pt x="592" y="515"/>
                    </a:lnTo>
                    <a:lnTo>
                      <a:pt x="596" y="514"/>
                    </a:lnTo>
                    <a:lnTo>
                      <a:pt x="597" y="506"/>
                    </a:lnTo>
                    <a:lnTo>
                      <a:pt x="593" y="503"/>
                    </a:lnTo>
                    <a:lnTo>
                      <a:pt x="603" y="501"/>
                    </a:lnTo>
                    <a:lnTo>
                      <a:pt x="604" y="495"/>
                    </a:lnTo>
                    <a:lnTo>
                      <a:pt x="593" y="481"/>
                    </a:lnTo>
                    <a:lnTo>
                      <a:pt x="593" y="476"/>
                    </a:lnTo>
                    <a:lnTo>
                      <a:pt x="605" y="484"/>
                    </a:lnTo>
                    <a:lnTo>
                      <a:pt x="610" y="493"/>
                    </a:lnTo>
                    <a:lnTo>
                      <a:pt x="614" y="493"/>
                    </a:lnTo>
                    <a:lnTo>
                      <a:pt x="613" y="476"/>
                    </a:lnTo>
                    <a:lnTo>
                      <a:pt x="614" y="478"/>
                    </a:lnTo>
                    <a:lnTo>
                      <a:pt x="618" y="476"/>
                    </a:lnTo>
                    <a:lnTo>
                      <a:pt x="619" y="455"/>
                    </a:lnTo>
                    <a:lnTo>
                      <a:pt x="623" y="454"/>
                    </a:lnTo>
                    <a:lnTo>
                      <a:pt x="628" y="454"/>
                    </a:lnTo>
                    <a:lnTo>
                      <a:pt x="628" y="460"/>
                    </a:lnTo>
                    <a:lnTo>
                      <a:pt x="631" y="465"/>
                    </a:lnTo>
                    <a:lnTo>
                      <a:pt x="635" y="467"/>
                    </a:lnTo>
                    <a:lnTo>
                      <a:pt x="640" y="454"/>
                    </a:lnTo>
                    <a:lnTo>
                      <a:pt x="645" y="457"/>
                    </a:lnTo>
                    <a:lnTo>
                      <a:pt x="651" y="468"/>
                    </a:lnTo>
                    <a:lnTo>
                      <a:pt x="655" y="468"/>
                    </a:lnTo>
                    <a:lnTo>
                      <a:pt x="661" y="473"/>
                    </a:lnTo>
                    <a:lnTo>
                      <a:pt x="666" y="461"/>
                    </a:lnTo>
                    <a:lnTo>
                      <a:pt x="691" y="458"/>
                    </a:lnTo>
                    <a:lnTo>
                      <a:pt x="700" y="465"/>
                    </a:lnTo>
                    <a:lnTo>
                      <a:pt x="706" y="472"/>
                    </a:lnTo>
                    <a:lnTo>
                      <a:pt x="710" y="465"/>
                    </a:lnTo>
                    <a:lnTo>
                      <a:pt x="715" y="461"/>
                    </a:lnTo>
                    <a:lnTo>
                      <a:pt x="712" y="449"/>
                    </a:lnTo>
                    <a:lnTo>
                      <a:pt x="698" y="415"/>
                    </a:lnTo>
                    <a:lnTo>
                      <a:pt x="694" y="395"/>
                    </a:lnTo>
                    <a:lnTo>
                      <a:pt x="698" y="377"/>
                    </a:lnTo>
                    <a:lnTo>
                      <a:pt x="706" y="364"/>
                    </a:lnTo>
                    <a:lnTo>
                      <a:pt x="707" y="354"/>
                    </a:lnTo>
                    <a:lnTo>
                      <a:pt x="707" y="342"/>
                    </a:lnTo>
                    <a:lnTo>
                      <a:pt x="687" y="296"/>
                    </a:lnTo>
                    <a:lnTo>
                      <a:pt x="684" y="279"/>
                    </a:lnTo>
                    <a:lnTo>
                      <a:pt x="690" y="258"/>
                    </a:lnTo>
                    <a:lnTo>
                      <a:pt x="688" y="243"/>
                    </a:lnTo>
                    <a:lnTo>
                      <a:pt x="683" y="237"/>
                    </a:lnTo>
                    <a:lnTo>
                      <a:pt x="682" y="223"/>
                    </a:lnTo>
                    <a:lnTo>
                      <a:pt x="682" y="202"/>
                    </a:lnTo>
                    <a:lnTo>
                      <a:pt x="683" y="186"/>
                    </a:lnTo>
                    <a:lnTo>
                      <a:pt x="688" y="173"/>
                    </a:lnTo>
                    <a:lnTo>
                      <a:pt x="685" y="166"/>
                    </a:lnTo>
                    <a:lnTo>
                      <a:pt x="653" y="110"/>
                    </a:lnTo>
                    <a:lnTo>
                      <a:pt x="635" y="92"/>
                    </a:lnTo>
                    <a:lnTo>
                      <a:pt x="599" y="81"/>
                    </a:lnTo>
                    <a:lnTo>
                      <a:pt x="569" y="51"/>
                    </a:lnTo>
                    <a:lnTo>
                      <a:pt x="528" y="5"/>
                    </a:lnTo>
                    <a:lnTo>
                      <a:pt x="526" y="0"/>
                    </a:lnTo>
                    <a:lnTo>
                      <a:pt x="523" y="0"/>
                    </a:lnTo>
                    <a:lnTo>
                      <a:pt x="500" y="0"/>
                    </a:lnTo>
                    <a:lnTo>
                      <a:pt x="495" y="3"/>
                    </a:lnTo>
                    <a:lnTo>
                      <a:pt x="496" y="13"/>
                    </a:lnTo>
                    <a:lnTo>
                      <a:pt x="501" y="17"/>
                    </a:lnTo>
                    <a:lnTo>
                      <a:pt x="502" y="29"/>
                    </a:lnTo>
                    <a:lnTo>
                      <a:pt x="500" y="38"/>
                    </a:lnTo>
                    <a:lnTo>
                      <a:pt x="496" y="43"/>
                    </a:lnTo>
                    <a:lnTo>
                      <a:pt x="492" y="58"/>
                    </a:lnTo>
                    <a:lnTo>
                      <a:pt x="486" y="69"/>
                    </a:lnTo>
                    <a:lnTo>
                      <a:pt x="488" y="79"/>
                    </a:lnTo>
                    <a:lnTo>
                      <a:pt x="497" y="89"/>
                    </a:lnTo>
                    <a:lnTo>
                      <a:pt x="490" y="97"/>
                    </a:lnTo>
                    <a:lnTo>
                      <a:pt x="481" y="100"/>
                    </a:lnTo>
                    <a:lnTo>
                      <a:pt x="438" y="84"/>
                    </a:lnTo>
                    <a:lnTo>
                      <a:pt x="408" y="80"/>
                    </a:lnTo>
                    <a:lnTo>
                      <a:pt x="398" y="81"/>
                    </a:lnTo>
                    <a:lnTo>
                      <a:pt x="393" y="86"/>
                    </a:lnTo>
                    <a:lnTo>
                      <a:pt x="388" y="96"/>
                    </a:lnTo>
                    <a:lnTo>
                      <a:pt x="390" y="119"/>
                    </a:lnTo>
                    <a:lnTo>
                      <a:pt x="388" y="129"/>
                    </a:lnTo>
                    <a:lnTo>
                      <a:pt x="383" y="150"/>
                    </a:lnTo>
                    <a:lnTo>
                      <a:pt x="373" y="166"/>
                    </a:lnTo>
                    <a:lnTo>
                      <a:pt x="370" y="165"/>
                    </a:lnTo>
                    <a:lnTo>
                      <a:pt x="360" y="153"/>
                    </a:lnTo>
                    <a:lnTo>
                      <a:pt x="347" y="145"/>
                    </a:lnTo>
                    <a:lnTo>
                      <a:pt x="335" y="149"/>
                    </a:lnTo>
                    <a:lnTo>
                      <a:pt x="317" y="167"/>
                    </a:lnTo>
                    <a:lnTo>
                      <a:pt x="308" y="180"/>
                    </a:lnTo>
                    <a:lnTo>
                      <a:pt x="304" y="196"/>
                    </a:lnTo>
                    <a:lnTo>
                      <a:pt x="302" y="209"/>
                    </a:lnTo>
                    <a:lnTo>
                      <a:pt x="296" y="219"/>
                    </a:lnTo>
                    <a:lnTo>
                      <a:pt x="282" y="237"/>
                    </a:lnTo>
                    <a:lnTo>
                      <a:pt x="279" y="251"/>
                    </a:lnTo>
                    <a:lnTo>
                      <a:pt x="292" y="273"/>
                    </a:lnTo>
                    <a:lnTo>
                      <a:pt x="293" y="285"/>
                    </a:lnTo>
                    <a:lnTo>
                      <a:pt x="291" y="294"/>
                    </a:lnTo>
                    <a:lnTo>
                      <a:pt x="285" y="306"/>
                    </a:lnTo>
                    <a:lnTo>
                      <a:pt x="273" y="320"/>
                    </a:lnTo>
                    <a:lnTo>
                      <a:pt x="265" y="334"/>
                    </a:lnTo>
                    <a:lnTo>
                      <a:pt x="242" y="364"/>
                    </a:lnTo>
                    <a:lnTo>
                      <a:pt x="236" y="381"/>
                    </a:lnTo>
                    <a:lnTo>
                      <a:pt x="233" y="401"/>
                    </a:lnTo>
                    <a:lnTo>
                      <a:pt x="228" y="413"/>
                    </a:lnTo>
                    <a:lnTo>
                      <a:pt x="211" y="427"/>
                    </a:lnTo>
                    <a:lnTo>
                      <a:pt x="200" y="427"/>
                    </a:lnTo>
                    <a:lnTo>
                      <a:pt x="193" y="431"/>
                    </a:lnTo>
                    <a:lnTo>
                      <a:pt x="194" y="446"/>
                    </a:lnTo>
                    <a:lnTo>
                      <a:pt x="194" y="467"/>
                    </a:lnTo>
                    <a:lnTo>
                      <a:pt x="193" y="497"/>
                    </a:lnTo>
                    <a:lnTo>
                      <a:pt x="184" y="547"/>
                    </a:lnTo>
                    <a:lnTo>
                      <a:pt x="167" y="584"/>
                    </a:lnTo>
                    <a:lnTo>
                      <a:pt x="147" y="616"/>
                    </a:lnTo>
                    <a:lnTo>
                      <a:pt x="148" y="625"/>
                    </a:lnTo>
                    <a:lnTo>
                      <a:pt x="163" y="641"/>
                    </a:lnTo>
                    <a:lnTo>
                      <a:pt x="169" y="653"/>
                    </a:lnTo>
                    <a:lnTo>
                      <a:pt x="169" y="672"/>
                    </a:lnTo>
                    <a:lnTo>
                      <a:pt x="167" y="683"/>
                    </a:lnTo>
                    <a:lnTo>
                      <a:pt x="157" y="695"/>
                    </a:lnTo>
                    <a:lnTo>
                      <a:pt x="142" y="695"/>
                    </a:lnTo>
                    <a:lnTo>
                      <a:pt x="125" y="692"/>
                    </a:lnTo>
                    <a:lnTo>
                      <a:pt x="104" y="697"/>
                    </a:lnTo>
                    <a:lnTo>
                      <a:pt x="87" y="708"/>
                    </a:lnTo>
                    <a:lnTo>
                      <a:pt x="62" y="738"/>
                    </a:lnTo>
                    <a:lnTo>
                      <a:pt x="56" y="754"/>
                    </a:lnTo>
                    <a:lnTo>
                      <a:pt x="51" y="774"/>
                    </a:lnTo>
                    <a:lnTo>
                      <a:pt x="55" y="793"/>
                    </a:lnTo>
                    <a:lnTo>
                      <a:pt x="61" y="806"/>
                    </a:lnTo>
                    <a:lnTo>
                      <a:pt x="66" y="811"/>
                    </a:lnTo>
                    <a:lnTo>
                      <a:pt x="60" y="821"/>
                    </a:lnTo>
                    <a:lnTo>
                      <a:pt x="59" y="833"/>
                    </a:lnTo>
                    <a:lnTo>
                      <a:pt x="55" y="843"/>
                    </a:lnTo>
                    <a:lnTo>
                      <a:pt x="55" y="863"/>
                    </a:lnTo>
                    <a:lnTo>
                      <a:pt x="53" y="871"/>
                    </a:lnTo>
                    <a:lnTo>
                      <a:pt x="53" y="883"/>
                    </a:lnTo>
                    <a:lnTo>
                      <a:pt x="55" y="886"/>
                    </a:lnTo>
                    <a:lnTo>
                      <a:pt x="60" y="902"/>
                    </a:lnTo>
                    <a:lnTo>
                      <a:pt x="59" y="944"/>
                    </a:lnTo>
                    <a:lnTo>
                      <a:pt x="60" y="964"/>
                    </a:lnTo>
                    <a:lnTo>
                      <a:pt x="69" y="979"/>
                    </a:lnTo>
                    <a:lnTo>
                      <a:pt x="89" y="995"/>
                    </a:lnTo>
                    <a:lnTo>
                      <a:pt x="92" y="1016"/>
                    </a:lnTo>
                    <a:lnTo>
                      <a:pt x="86" y="1035"/>
                    </a:lnTo>
                    <a:lnTo>
                      <a:pt x="76" y="1046"/>
                    </a:lnTo>
                    <a:lnTo>
                      <a:pt x="61" y="1052"/>
                    </a:lnTo>
                    <a:lnTo>
                      <a:pt x="59" y="1058"/>
                    </a:lnTo>
                    <a:lnTo>
                      <a:pt x="69" y="1071"/>
                    </a:lnTo>
                    <a:lnTo>
                      <a:pt x="77" y="1105"/>
                    </a:lnTo>
                    <a:lnTo>
                      <a:pt x="70" y="1134"/>
                    </a:lnTo>
                    <a:lnTo>
                      <a:pt x="74" y="1143"/>
                    </a:lnTo>
                    <a:lnTo>
                      <a:pt x="72" y="1157"/>
                    </a:lnTo>
                    <a:lnTo>
                      <a:pt x="66" y="1168"/>
                    </a:lnTo>
                    <a:lnTo>
                      <a:pt x="39" y="1179"/>
                    </a:lnTo>
                    <a:lnTo>
                      <a:pt x="39" y="1193"/>
                    </a:lnTo>
                    <a:lnTo>
                      <a:pt x="27" y="1214"/>
                    </a:lnTo>
                    <a:lnTo>
                      <a:pt x="28" y="1230"/>
                    </a:lnTo>
                    <a:lnTo>
                      <a:pt x="32" y="1242"/>
                    </a:lnTo>
                    <a:lnTo>
                      <a:pt x="24" y="1280"/>
                    </a:lnTo>
                    <a:lnTo>
                      <a:pt x="16" y="1286"/>
                    </a:lnTo>
                    <a:lnTo>
                      <a:pt x="12" y="1278"/>
                    </a:lnTo>
                    <a:lnTo>
                      <a:pt x="8" y="1291"/>
                    </a:lnTo>
                    <a:lnTo>
                      <a:pt x="8" y="1268"/>
                    </a:lnTo>
                    <a:lnTo>
                      <a:pt x="6" y="126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4" name="Svalbard and Jan Mayen"/>
            <p:cNvGrpSpPr>
              <a:grpSpLocks noChangeAspect="1"/>
            </p:cNvGrpSpPr>
            <p:nvPr/>
          </p:nvGrpSpPr>
          <p:grpSpPr bwMode="gray">
            <a:xfrm>
              <a:off x="4727549" y="1055629"/>
              <a:ext cx="423650" cy="437692"/>
              <a:chOff x="3202" y="1036"/>
              <a:chExt cx="181" cy="187"/>
            </a:xfrm>
            <a:grpFill/>
          </p:grpSpPr>
          <p:sp>
            <p:nvSpPr>
              <p:cNvPr id="227" name="Svalbard and Jan Mayen"/>
              <p:cNvSpPr>
                <a:spLocks noChangeAspect="1"/>
              </p:cNvSpPr>
              <p:nvPr>
                <p:custDataLst>
                  <p:tags r:id="rId213"/>
                </p:custDataLst>
              </p:nvPr>
            </p:nvSpPr>
            <p:spPr bwMode="gray">
              <a:xfrm>
                <a:off x="3202" y="1036"/>
                <a:ext cx="118" cy="187"/>
              </a:xfrm>
              <a:custGeom>
                <a:avLst/>
                <a:gdLst/>
                <a:ahLst/>
                <a:cxnLst>
                  <a:cxn ang="0">
                    <a:pos x="274" y="96"/>
                  </a:cxn>
                  <a:cxn ang="0">
                    <a:pos x="291" y="233"/>
                  </a:cxn>
                  <a:cxn ang="0">
                    <a:pos x="264" y="255"/>
                  </a:cxn>
                  <a:cxn ang="0">
                    <a:pos x="253" y="151"/>
                  </a:cxn>
                  <a:cxn ang="0">
                    <a:pos x="197" y="102"/>
                  </a:cxn>
                  <a:cxn ang="0">
                    <a:pos x="189" y="232"/>
                  </a:cxn>
                  <a:cxn ang="0">
                    <a:pos x="145" y="192"/>
                  </a:cxn>
                  <a:cxn ang="0">
                    <a:pos x="94" y="145"/>
                  </a:cxn>
                  <a:cxn ang="0">
                    <a:pos x="170" y="96"/>
                  </a:cxn>
                  <a:cxn ang="0">
                    <a:pos x="98" y="77"/>
                  </a:cxn>
                  <a:cxn ang="0">
                    <a:pos x="74" y="104"/>
                  </a:cxn>
                  <a:cxn ang="0">
                    <a:pos x="35" y="115"/>
                  </a:cxn>
                  <a:cxn ang="0">
                    <a:pos x="15" y="152"/>
                  </a:cxn>
                  <a:cxn ang="0">
                    <a:pos x="15" y="206"/>
                  </a:cxn>
                  <a:cxn ang="0">
                    <a:pos x="33" y="276"/>
                  </a:cxn>
                  <a:cxn ang="0">
                    <a:pos x="74" y="224"/>
                  </a:cxn>
                  <a:cxn ang="0">
                    <a:pos x="70" y="301"/>
                  </a:cxn>
                  <a:cxn ang="0">
                    <a:pos x="37" y="316"/>
                  </a:cxn>
                  <a:cxn ang="0">
                    <a:pos x="66" y="400"/>
                  </a:cxn>
                  <a:cxn ang="0">
                    <a:pos x="100" y="450"/>
                  </a:cxn>
                  <a:cxn ang="0">
                    <a:pos x="129" y="522"/>
                  </a:cxn>
                  <a:cxn ang="0">
                    <a:pos x="191" y="516"/>
                  </a:cxn>
                  <a:cxn ang="0">
                    <a:pos x="213" y="458"/>
                  </a:cxn>
                  <a:cxn ang="0">
                    <a:pos x="231" y="394"/>
                  </a:cxn>
                  <a:cxn ang="0">
                    <a:pos x="266" y="366"/>
                  </a:cxn>
                  <a:cxn ang="0">
                    <a:pos x="307" y="435"/>
                  </a:cxn>
                  <a:cxn ang="0">
                    <a:pos x="336" y="400"/>
                  </a:cxn>
                  <a:cxn ang="0">
                    <a:pos x="326" y="453"/>
                  </a:cxn>
                  <a:cxn ang="0">
                    <a:pos x="336" y="485"/>
                  </a:cxn>
                  <a:cxn ang="0">
                    <a:pos x="264" y="516"/>
                  </a:cxn>
                  <a:cxn ang="0">
                    <a:pos x="224" y="555"/>
                  </a:cxn>
                  <a:cxn ang="0">
                    <a:pos x="167" y="569"/>
                  </a:cxn>
                  <a:cxn ang="0">
                    <a:pos x="195" y="640"/>
                  </a:cxn>
                  <a:cxn ang="0">
                    <a:pos x="231" y="636"/>
                  </a:cxn>
                  <a:cxn ang="0">
                    <a:pos x="315" y="624"/>
                  </a:cxn>
                  <a:cxn ang="0">
                    <a:pos x="338" y="637"/>
                  </a:cxn>
                  <a:cxn ang="0">
                    <a:pos x="281" y="649"/>
                  </a:cxn>
                  <a:cxn ang="0">
                    <a:pos x="291" y="714"/>
                  </a:cxn>
                  <a:cxn ang="0">
                    <a:pos x="215" y="716"/>
                  </a:cxn>
                  <a:cxn ang="0">
                    <a:pos x="199" y="774"/>
                  </a:cxn>
                  <a:cxn ang="0">
                    <a:pos x="278" y="830"/>
                  </a:cxn>
                  <a:cxn ang="0">
                    <a:pos x="302" y="848"/>
                  </a:cxn>
                  <a:cxn ang="0">
                    <a:pos x="323" y="922"/>
                  </a:cxn>
                  <a:cxn ang="0">
                    <a:pos x="348" y="888"/>
                  </a:cxn>
                  <a:cxn ang="0">
                    <a:pos x="364" y="822"/>
                  </a:cxn>
                  <a:cxn ang="0">
                    <a:pos x="380" y="731"/>
                  </a:cxn>
                  <a:cxn ang="0">
                    <a:pos x="423" y="680"/>
                  </a:cxn>
                  <a:cxn ang="0">
                    <a:pos x="426" y="588"/>
                  </a:cxn>
                  <a:cxn ang="0">
                    <a:pos x="455" y="529"/>
                  </a:cxn>
                  <a:cxn ang="0">
                    <a:pos x="473" y="462"/>
                  </a:cxn>
                  <a:cxn ang="0">
                    <a:pos x="536" y="404"/>
                  </a:cxn>
                  <a:cxn ang="0">
                    <a:pos x="586" y="341"/>
                  </a:cxn>
                  <a:cxn ang="0">
                    <a:pos x="477" y="254"/>
                  </a:cxn>
                  <a:cxn ang="0">
                    <a:pos x="435" y="150"/>
                  </a:cxn>
                  <a:cxn ang="0">
                    <a:pos x="391" y="181"/>
                  </a:cxn>
                  <a:cxn ang="0">
                    <a:pos x="379" y="144"/>
                  </a:cxn>
                  <a:cxn ang="0">
                    <a:pos x="339" y="39"/>
                  </a:cxn>
                  <a:cxn ang="0">
                    <a:pos x="290" y="22"/>
                  </a:cxn>
                </a:cxnLst>
                <a:rect l="0" t="0" r="r" b="b"/>
                <a:pathLst>
                  <a:path w="591" h="937">
                    <a:moveTo>
                      <a:pt x="290" y="22"/>
                    </a:moveTo>
                    <a:lnTo>
                      <a:pt x="289" y="29"/>
                    </a:lnTo>
                    <a:lnTo>
                      <a:pt x="294" y="43"/>
                    </a:lnTo>
                    <a:lnTo>
                      <a:pt x="279" y="45"/>
                    </a:lnTo>
                    <a:lnTo>
                      <a:pt x="278" y="57"/>
                    </a:lnTo>
                    <a:lnTo>
                      <a:pt x="278" y="68"/>
                    </a:lnTo>
                    <a:lnTo>
                      <a:pt x="274" y="79"/>
                    </a:lnTo>
                    <a:lnTo>
                      <a:pt x="274" y="96"/>
                    </a:lnTo>
                    <a:lnTo>
                      <a:pt x="279" y="96"/>
                    </a:lnTo>
                    <a:lnTo>
                      <a:pt x="279" y="109"/>
                    </a:lnTo>
                    <a:lnTo>
                      <a:pt x="280" y="133"/>
                    </a:lnTo>
                    <a:lnTo>
                      <a:pt x="283" y="140"/>
                    </a:lnTo>
                    <a:lnTo>
                      <a:pt x="283" y="182"/>
                    </a:lnTo>
                    <a:lnTo>
                      <a:pt x="285" y="195"/>
                    </a:lnTo>
                    <a:lnTo>
                      <a:pt x="288" y="226"/>
                    </a:lnTo>
                    <a:lnTo>
                      <a:pt x="291" y="233"/>
                    </a:lnTo>
                    <a:lnTo>
                      <a:pt x="293" y="258"/>
                    </a:lnTo>
                    <a:lnTo>
                      <a:pt x="318" y="325"/>
                    </a:lnTo>
                    <a:lnTo>
                      <a:pt x="317" y="329"/>
                    </a:lnTo>
                    <a:lnTo>
                      <a:pt x="308" y="327"/>
                    </a:lnTo>
                    <a:lnTo>
                      <a:pt x="296" y="312"/>
                    </a:lnTo>
                    <a:lnTo>
                      <a:pt x="283" y="274"/>
                    </a:lnTo>
                    <a:lnTo>
                      <a:pt x="272" y="254"/>
                    </a:lnTo>
                    <a:lnTo>
                      <a:pt x="264" y="255"/>
                    </a:lnTo>
                    <a:lnTo>
                      <a:pt x="263" y="262"/>
                    </a:lnTo>
                    <a:lnTo>
                      <a:pt x="261" y="263"/>
                    </a:lnTo>
                    <a:lnTo>
                      <a:pt x="259" y="258"/>
                    </a:lnTo>
                    <a:lnTo>
                      <a:pt x="264" y="244"/>
                    </a:lnTo>
                    <a:lnTo>
                      <a:pt x="264" y="217"/>
                    </a:lnTo>
                    <a:lnTo>
                      <a:pt x="259" y="197"/>
                    </a:lnTo>
                    <a:lnTo>
                      <a:pt x="258" y="178"/>
                    </a:lnTo>
                    <a:lnTo>
                      <a:pt x="253" y="151"/>
                    </a:lnTo>
                    <a:lnTo>
                      <a:pt x="252" y="125"/>
                    </a:lnTo>
                    <a:lnTo>
                      <a:pt x="246" y="104"/>
                    </a:lnTo>
                    <a:lnTo>
                      <a:pt x="240" y="96"/>
                    </a:lnTo>
                    <a:lnTo>
                      <a:pt x="238" y="87"/>
                    </a:lnTo>
                    <a:lnTo>
                      <a:pt x="224" y="81"/>
                    </a:lnTo>
                    <a:lnTo>
                      <a:pt x="208" y="69"/>
                    </a:lnTo>
                    <a:lnTo>
                      <a:pt x="199" y="86"/>
                    </a:lnTo>
                    <a:lnTo>
                      <a:pt x="197" y="102"/>
                    </a:lnTo>
                    <a:lnTo>
                      <a:pt x="188" y="114"/>
                    </a:lnTo>
                    <a:lnTo>
                      <a:pt x="187" y="120"/>
                    </a:lnTo>
                    <a:lnTo>
                      <a:pt x="177" y="133"/>
                    </a:lnTo>
                    <a:lnTo>
                      <a:pt x="173" y="146"/>
                    </a:lnTo>
                    <a:lnTo>
                      <a:pt x="176" y="157"/>
                    </a:lnTo>
                    <a:lnTo>
                      <a:pt x="176" y="171"/>
                    </a:lnTo>
                    <a:lnTo>
                      <a:pt x="184" y="215"/>
                    </a:lnTo>
                    <a:lnTo>
                      <a:pt x="189" y="232"/>
                    </a:lnTo>
                    <a:lnTo>
                      <a:pt x="195" y="242"/>
                    </a:lnTo>
                    <a:lnTo>
                      <a:pt x="188" y="241"/>
                    </a:lnTo>
                    <a:lnTo>
                      <a:pt x="176" y="222"/>
                    </a:lnTo>
                    <a:lnTo>
                      <a:pt x="168" y="205"/>
                    </a:lnTo>
                    <a:lnTo>
                      <a:pt x="164" y="183"/>
                    </a:lnTo>
                    <a:lnTo>
                      <a:pt x="152" y="167"/>
                    </a:lnTo>
                    <a:lnTo>
                      <a:pt x="151" y="179"/>
                    </a:lnTo>
                    <a:lnTo>
                      <a:pt x="145" y="192"/>
                    </a:lnTo>
                    <a:lnTo>
                      <a:pt x="140" y="183"/>
                    </a:lnTo>
                    <a:lnTo>
                      <a:pt x="143" y="171"/>
                    </a:lnTo>
                    <a:lnTo>
                      <a:pt x="139" y="158"/>
                    </a:lnTo>
                    <a:lnTo>
                      <a:pt x="148" y="152"/>
                    </a:lnTo>
                    <a:lnTo>
                      <a:pt x="152" y="138"/>
                    </a:lnTo>
                    <a:lnTo>
                      <a:pt x="134" y="136"/>
                    </a:lnTo>
                    <a:lnTo>
                      <a:pt x="106" y="150"/>
                    </a:lnTo>
                    <a:lnTo>
                      <a:pt x="94" y="145"/>
                    </a:lnTo>
                    <a:lnTo>
                      <a:pt x="97" y="135"/>
                    </a:lnTo>
                    <a:lnTo>
                      <a:pt x="113" y="128"/>
                    </a:lnTo>
                    <a:lnTo>
                      <a:pt x="125" y="112"/>
                    </a:lnTo>
                    <a:lnTo>
                      <a:pt x="129" y="102"/>
                    </a:lnTo>
                    <a:lnTo>
                      <a:pt x="143" y="102"/>
                    </a:lnTo>
                    <a:lnTo>
                      <a:pt x="146" y="96"/>
                    </a:lnTo>
                    <a:lnTo>
                      <a:pt x="152" y="104"/>
                    </a:lnTo>
                    <a:lnTo>
                      <a:pt x="170" y="96"/>
                    </a:lnTo>
                    <a:lnTo>
                      <a:pt x="175" y="86"/>
                    </a:lnTo>
                    <a:lnTo>
                      <a:pt x="175" y="76"/>
                    </a:lnTo>
                    <a:lnTo>
                      <a:pt x="170" y="54"/>
                    </a:lnTo>
                    <a:lnTo>
                      <a:pt x="160" y="53"/>
                    </a:lnTo>
                    <a:lnTo>
                      <a:pt x="141" y="58"/>
                    </a:lnTo>
                    <a:lnTo>
                      <a:pt x="122" y="75"/>
                    </a:lnTo>
                    <a:lnTo>
                      <a:pt x="100" y="82"/>
                    </a:lnTo>
                    <a:lnTo>
                      <a:pt x="98" y="77"/>
                    </a:lnTo>
                    <a:lnTo>
                      <a:pt x="91" y="74"/>
                    </a:lnTo>
                    <a:lnTo>
                      <a:pt x="91" y="63"/>
                    </a:lnTo>
                    <a:lnTo>
                      <a:pt x="89" y="54"/>
                    </a:lnTo>
                    <a:lnTo>
                      <a:pt x="80" y="58"/>
                    </a:lnTo>
                    <a:lnTo>
                      <a:pt x="85" y="103"/>
                    </a:lnTo>
                    <a:lnTo>
                      <a:pt x="81" y="104"/>
                    </a:lnTo>
                    <a:lnTo>
                      <a:pt x="78" y="97"/>
                    </a:lnTo>
                    <a:lnTo>
                      <a:pt x="74" y="104"/>
                    </a:lnTo>
                    <a:lnTo>
                      <a:pt x="53" y="58"/>
                    </a:lnTo>
                    <a:lnTo>
                      <a:pt x="43" y="66"/>
                    </a:lnTo>
                    <a:lnTo>
                      <a:pt x="46" y="77"/>
                    </a:lnTo>
                    <a:lnTo>
                      <a:pt x="41" y="86"/>
                    </a:lnTo>
                    <a:lnTo>
                      <a:pt x="30" y="77"/>
                    </a:lnTo>
                    <a:lnTo>
                      <a:pt x="26" y="81"/>
                    </a:lnTo>
                    <a:lnTo>
                      <a:pt x="25" y="91"/>
                    </a:lnTo>
                    <a:lnTo>
                      <a:pt x="35" y="115"/>
                    </a:lnTo>
                    <a:lnTo>
                      <a:pt x="33" y="122"/>
                    </a:lnTo>
                    <a:lnTo>
                      <a:pt x="21" y="119"/>
                    </a:lnTo>
                    <a:lnTo>
                      <a:pt x="12" y="9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8" y="118"/>
                    </a:lnTo>
                    <a:lnTo>
                      <a:pt x="19" y="140"/>
                    </a:lnTo>
                    <a:lnTo>
                      <a:pt x="15" y="152"/>
                    </a:lnTo>
                    <a:lnTo>
                      <a:pt x="8" y="146"/>
                    </a:lnTo>
                    <a:lnTo>
                      <a:pt x="0" y="150"/>
                    </a:lnTo>
                    <a:lnTo>
                      <a:pt x="1" y="158"/>
                    </a:lnTo>
                    <a:lnTo>
                      <a:pt x="6" y="163"/>
                    </a:lnTo>
                    <a:lnTo>
                      <a:pt x="8" y="176"/>
                    </a:lnTo>
                    <a:lnTo>
                      <a:pt x="8" y="201"/>
                    </a:lnTo>
                    <a:lnTo>
                      <a:pt x="9" y="215"/>
                    </a:lnTo>
                    <a:lnTo>
                      <a:pt x="15" y="206"/>
                    </a:lnTo>
                    <a:lnTo>
                      <a:pt x="16" y="217"/>
                    </a:lnTo>
                    <a:lnTo>
                      <a:pt x="17" y="236"/>
                    </a:lnTo>
                    <a:lnTo>
                      <a:pt x="17" y="220"/>
                    </a:lnTo>
                    <a:lnTo>
                      <a:pt x="24" y="236"/>
                    </a:lnTo>
                    <a:lnTo>
                      <a:pt x="25" y="248"/>
                    </a:lnTo>
                    <a:lnTo>
                      <a:pt x="27" y="254"/>
                    </a:lnTo>
                    <a:lnTo>
                      <a:pt x="27" y="271"/>
                    </a:lnTo>
                    <a:lnTo>
                      <a:pt x="33" y="276"/>
                    </a:lnTo>
                    <a:lnTo>
                      <a:pt x="43" y="270"/>
                    </a:lnTo>
                    <a:lnTo>
                      <a:pt x="53" y="244"/>
                    </a:lnTo>
                    <a:lnTo>
                      <a:pt x="38" y="225"/>
                    </a:lnTo>
                    <a:lnTo>
                      <a:pt x="55" y="228"/>
                    </a:lnTo>
                    <a:lnTo>
                      <a:pt x="60" y="238"/>
                    </a:lnTo>
                    <a:lnTo>
                      <a:pt x="62" y="233"/>
                    </a:lnTo>
                    <a:lnTo>
                      <a:pt x="66" y="226"/>
                    </a:lnTo>
                    <a:lnTo>
                      <a:pt x="74" y="224"/>
                    </a:lnTo>
                    <a:lnTo>
                      <a:pt x="71" y="238"/>
                    </a:lnTo>
                    <a:lnTo>
                      <a:pt x="73" y="246"/>
                    </a:lnTo>
                    <a:lnTo>
                      <a:pt x="65" y="253"/>
                    </a:lnTo>
                    <a:lnTo>
                      <a:pt x="63" y="264"/>
                    </a:lnTo>
                    <a:lnTo>
                      <a:pt x="65" y="274"/>
                    </a:lnTo>
                    <a:lnTo>
                      <a:pt x="57" y="279"/>
                    </a:lnTo>
                    <a:lnTo>
                      <a:pt x="54" y="291"/>
                    </a:lnTo>
                    <a:lnTo>
                      <a:pt x="70" y="301"/>
                    </a:lnTo>
                    <a:lnTo>
                      <a:pt x="71" y="313"/>
                    </a:lnTo>
                    <a:lnTo>
                      <a:pt x="80" y="318"/>
                    </a:lnTo>
                    <a:lnTo>
                      <a:pt x="91" y="312"/>
                    </a:lnTo>
                    <a:lnTo>
                      <a:pt x="96" y="325"/>
                    </a:lnTo>
                    <a:lnTo>
                      <a:pt x="94" y="335"/>
                    </a:lnTo>
                    <a:lnTo>
                      <a:pt x="55" y="325"/>
                    </a:lnTo>
                    <a:lnTo>
                      <a:pt x="49" y="314"/>
                    </a:lnTo>
                    <a:lnTo>
                      <a:pt x="37" y="316"/>
                    </a:lnTo>
                    <a:lnTo>
                      <a:pt x="43" y="327"/>
                    </a:lnTo>
                    <a:lnTo>
                      <a:pt x="62" y="348"/>
                    </a:lnTo>
                    <a:lnTo>
                      <a:pt x="71" y="351"/>
                    </a:lnTo>
                    <a:lnTo>
                      <a:pt x="68" y="359"/>
                    </a:lnTo>
                    <a:lnTo>
                      <a:pt x="59" y="360"/>
                    </a:lnTo>
                    <a:lnTo>
                      <a:pt x="54" y="381"/>
                    </a:lnTo>
                    <a:lnTo>
                      <a:pt x="68" y="392"/>
                    </a:lnTo>
                    <a:lnTo>
                      <a:pt x="66" y="400"/>
                    </a:lnTo>
                    <a:lnTo>
                      <a:pt x="73" y="407"/>
                    </a:lnTo>
                    <a:lnTo>
                      <a:pt x="75" y="414"/>
                    </a:lnTo>
                    <a:lnTo>
                      <a:pt x="111" y="435"/>
                    </a:lnTo>
                    <a:lnTo>
                      <a:pt x="128" y="435"/>
                    </a:lnTo>
                    <a:lnTo>
                      <a:pt x="138" y="427"/>
                    </a:lnTo>
                    <a:lnTo>
                      <a:pt x="137" y="441"/>
                    </a:lnTo>
                    <a:lnTo>
                      <a:pt x="127" y="447"/>
                    </a:lnTo>
                    <a:lnTo>
                      <a:pt x="100" y="450"/>
                    </a:lnTo>
                    <a:lnTo>
                      <a:pt x="97" y="457"/>
                    </a:lnTo>
                    <a:lnTo>
                      <a:pt x="106" y="469"/>
                    </a:lnTo>
                    <a:lnTo>
                      <a:pt x="108" y="481"/>
                    </a:lnTo>
                    <a:lnTo>
                      <a:pt x="121" y="486"/>
                    </a:lnTo>
                    <a:lnTo>
                      <a:pt x="128" y="483"/>
                    </a:lnTo>
                    <a:lnTo>
                      <a:pt x="130" y="501"/>
                    </a:lnTo>
                    <a:lnTo>
                      <a:pt x="124" y="509"/>
                    </a:lnTo>
                    <a:lnTo>
                      <a:pt x="129" y="522"/>
                    </a:lnTo>
                    <a:lnTo>
                      <a:pt x="132" y="517"/>
                    </a:lnTo>
                    <a:lnTo>
                      <a:pt x="148" y="526"/>
                    </a:lnTo>
                    <a:lnTo>
                      <a:pt x="152" y="518"/>
                    </a:lnTo>
                    <a:lnTo>
                      <a:pt x="156" y="527"/>
                    </a:lnTo>
                    <a:lnTo>
                      <a:pt x="160" y="522"/>
                    </a:lnTo>
                    <a:lnTo>
                      <a:pt x="173" y="527"/>
                    </a:lnTo>
                    <a:lnTo>
                      <a:pt x="177" y="516"/>
                    </a:lnTo>
                    <a:lnTo>
                      <a:pt x="191" y="516"/>
                    </a:lnTo>
                    <a:lnTo>
                      <a:pt x="193" y="501"/>
                    </a:lnTo>
                    <a:lnTo>
                      <a:pt x="192" y="495"/>
                    </a:lnTo>
                    <a:lnTo>
                      <a:pt x="198" y="479"/>
                    </a:lnTo>
                    <a:lnTo>
                      <a:pt x="208" y="477"/>
                    </a:lnTo>
                    <a:lnTo>
                      <a:pt x="215" y="483"/>
                    </a:lnTo>
                    <a:lnTo>
                      <a:pt x="221" y="478"/>
                    </a:lnTo>
                    <a:lnTo>
                      <a:pt x="218" y="466"/>
                    </a:lnTo>
                    <a:lnTo>
                      <a:pt x="213" y="458"/>
                    </a:lnTo>
                    <a:lnTo>
                      <a:pt x="205" y="457"/>
                    </a:lnTo>
                    <a:lnTo>
                      <a:pt x="210" y="443"/>
                    </a:lnTo>
                    <a:lnTo>
                      <a:pt x="211" y="414"/>
                    </a:lnTo>
                    <a:lnTo>
                      <a:pt x="214" y="396"/>
                    </a:lnTo>
                    <a:lnTo>
                      <a:pt x="218" y="386"/>
                    </a:lnTo>
                    <a:lnTo>
                      <a:pt x="224" y="381"/>
                    </a:lnTo>
                    <a:lnTo>
                      <a:pt x="230" y="382"/>
                    </a:lnTo>
                    <a:lnTo>
                      <a:pt x="231" y="394"/>
                    </a:lnTo>
                    <a:lnTo>
                      <a:pt x="230" y="404"/>
                    </a:lnTo>
                    <a:lnTo>
                      <a:pt x="235" y="416"/>
                    </a:lnTo>
                    <a:lnTo>
                      <a:pt x="241" y="416"/>
                    </a:lnTo>
                    <a:lnTo>
                      <a:pt x="250" y="399"/>
                    </a:lnTo>
                    <a:lnTo>
                      <a:pt x="250" y="388"/>
                    </a:lnTo>
                    <a:lnTo>
                      <a:pt x="252" y="368"/>
                    </a:lnTo>
                    <a:lnTo>
                      <a:pt x="261" y="353"/>
                    </a:lnTo>
                    <a:lnTo>
                      <a:pt x="266" y="366"/>
                    </a:lnTo>
                    <a:lnTo>
                      <a:pt x="267" y="382"/>
                    </a:lnTo>
                    <a:lnTo>
                      <a:pt x="253" y="421"/>
                    </a:lnTo>
                    <a:lnTo>
                      <a:pt x="257" y="446"/>
                    </a:lnTo>
                    <a:lnTo>
                      <a:pt x="264" y="452"/>
                    </a:lnTo>
                    <a:lnTo>
                      <a:pt x="270" y="462"/>
                    </a:lnTo>
                    <a:lnTo>
                      <a:pt x="296" y="450"/>
                    </a:lnTo>
                    <a:lnTo>
                      <a:pt x="299" y="439"/>
                    </a:lnTo>
                    <a:lnTo>
                      <a:pt x="307" y="435"/>
                    </a:lnTo>
                    <a:lnTo>
                      <a:pt x="313" y="424"/>
                    </a:lnTo>
                    <a:lnTo>
                      <a:pt x="315" y="409"/>
                    </a:lnTo>
                    <a:lnTo>
                      <a:pt x="313" y="396"/>
                    </a:lnTo>
                    <a:lnTo>
                      <a:pt x="322" y="389"/>
                    </a:lnTo>
                    <a:lnTo>
                      <a:pt x="326" y="381"/>
                    </a:lnTo>
                    <a:lnTo>
                      <a:pt x="329" y="383"/>
                    </a:lnTo>
                    <a:lnTo>
                      <a:pt x="331" y="398"/>
                    </a:lnTo>
                    <a:lnTo>
                      <a:pt x="336" y="400"/>
                    </a:lnTo>
                    <a:lnTo>
                      <a:pt x="327" y="419"/>
                    </a:lnTo>
                    <a:lnTo>
                      <a:pt x="320" y="425"/>
                    </a:lnTo>
                    <a:lnTo>
                      <a:pt x="318" y="437"/>
                    </a:lnTo>
                    <a:lnTo>
                      <a:pt x="315" y="443"/>
                    </a:lnTo>
                    <a:lnTo>
                      <a:pt x="313" y="453"/>
                    </a:lnTo>
                    <a:lnTo>
                      <a:pt x="316" y="462"/>
                    </a:lnTo>
                    <a:lnTo>
                      <a:pt x="322" y="464"/>
                    </a:lnTo>
                    <a:lnTo>
                      <a:pt x="326" y="453"/>
                    </a:lnTo>
                    <a:lnTo>
                      <a:pt x="334" y="470"/>
                    </a:lnTo>
                    <a:lnTo>
                      <a:pt x="342" y="474"/>
                    </a:lnTo>
                    <a:lnTo>
                      <a:pt x="364" y="461"/>
                    </a:lnTo>
                    <a:lnTo>
                      <a:pt x="367" y="467"/>
                    </a:lnTo>
                    <a:lnTo>
                      <a:pt x="363" y="473"/>
                    </a:lnTo>
                    <a:lnTo>
                      <a:pt x="350" y="474"/>
                    </a:lnTo>
                    <a:lnTo>
                      <a:pt x="347" y="481"/>
                    </a:lnTo>
                    <a:lnTo>
                      <a:pt x="336" y="485"/>
                    </a:lnTo>
                    <a:lnTo>
                      <a:pt x="334" y="491"/>
                    </a:lnTo>
                    <a:lnTo>
                      <a:pt x="316" y="491"/>
                    </a:lnTo>
                    <a:lnTo>
                      <a:pt x="306" y="483"/>
                    </a:lnTo>
                    <a:lnTo>
                      <a:pt x="284" y="485"/>
                    </a:lnTo>
                    <a:lnTo>
                      <a:pt x="268" y="500"/>
                    </a:lnTo>
                    <a:lnTo>
                      <a:pt x="275" y="516"/>
                    </a:lnTo>
                    <a:lnTo>
                      <a:pt x="272" y="524"/>
                    </a:lnTo>
                    <a:lnTo>
                      <a:pt x="264" y="516"/>
                    </a:lnTo>
                    <a:lnTo>
                      <a:pt x="257" y="516"/>
                    </a:lnTo>
                    <a:lnTo>
                      <a:pt x="253" y="526"/>
                    </a:lnTo>
                    <a:lnTo>
                      <a:pt x="247" y="528"/>
                    </a:lnTo>
                    <a:lnTo>
                      <a:pt x="243" y="538"/>
                    </a:lnTo>
                    <a:lnTo>
                      <a:pt x="240" y="540"/>
                    </a:lnTo>
                    <a:lnTo>
                      <a:pt x="240" y="556"/>
                    </a:lnTo>
                    <a:lnTo>
                      <a:pt x="230" y="559"/>
                    </a:lnTo>
                    <a:lnTo>
                      <a:pt x="224" y="555"/>
                    </a:lnTo>
                    <a:lnTo>
                      <a:pt x="193" y="563"/>
                    </a:lnTo>
                    <a:lnTo>
                      <a:pt x="192" y="570"/>
                    </a:lnTo>
                    <a:lnTo>
                      <a:pt x="198" y="581"/>
                    </a:lnTo>
                    <a:lnTo>
                      <a:pt x="194" y="590"/>
                    </a:lnTo>
                    <a:lnTo>
                      <a:pt x="187" y="586"/>
                    </a:lnTo>
                    <a:lnTo>
                      <a:pt x="183" y="572"/>
                    </a:lnTo>
                    <a:lnTo>
                      <a:pt x="178" y="565"/>
                    </a:lnTo>
                    <a:lnTo>
                      <a:pt x="167" y="569"/>
                    </a:lnTo>
                    <a:lnTo>
                      <a:pt x="164" y="575"/>
                    </a:lnTo>
                    <a:lnTo>
                      <a:pt x="165" y="609"/>
                    </a:lnTo>
                    <a:lnTo>
                      <a:pt x="172" y="635"/>
                    </a:lnTo>
                    <a:lnTo>
                      <a:pt x="170" y="642"/>
                    </a:lnTo>
                    <a:lnTo>
                      <a:pt x="170" y="649"/>
                    </a:lnTo>
                    <a:lnTo>
                      <a:pt x="176" y="652"/>
                    </a:lnTo>
                    <a:lnTo>
                      <a:pt x="186" y="652"/>
                    </a:lnTo>
                    <a:lnTo>
                      <a:pt x="195" y="640"/>
                    </a:lnTo>
                    <a:lnTo>
                      <a:pt x="200" y="646"/>
                    </a:lnTo>
                    <a:lnTo>
                      <a:pt x="208" y="646"/>
                    </a:lnTo>
                    <a:lnTo>
                      <a:pt x="216" y="645"/>
                    </a:lnTo>
                    <a:lnTo>
                      <a:pt x="216" y="639"/>
                    </a:lnTo>
                    <a:lnTo>
                      <a:pt x="221" y="637"/>
                    </a:lnTo>
                    <a:lnTo>
                      <a:pt x="223" y="646"/>
                    </a:lnTo>
                    <a:lnTo>
                      <a:pt x="229" y="645"/>
                    </a:lnTo>
                    <a:lnTo>
                      <a:pt x="231" y="636"/>
                    </a:lnTo>
                    <a:lnTo>
                      <a:pt x="235" y="641"/>
                    </a:lnTo>
                    <a:lnTo>
                      <a:pt x="251" y="636"/>
                    </a:lnTo>
                    <a:lnTo>
                      <a:pt x="261" y="624"/>
                    </a:lnTo>
                    <a:lnTo>
                      <a:pt x="267" y="622"/>
                    </a:lnTo>
                    <a:lnTo>
                      <a:pt x="277" y="623"/>
                    </a:lnTo>
                    <a:lnTo>
                      <a:pt x="281" y="629"/>
                    </a:lnTo>
                    <a:lnTo>
                      <a:pt x="306" y="622"/>
                    </a:lnTo>
                    <a:lnTo>
                      <a:pt x="315" y="624"/>
                    </a:lnTo>
                    <a:lnTo>
                      <a:pt x="327" y="617"/>
                    </a:lnTo>
                    <a:lnTo>
                      <a:pt x="329" y="606"/>
                    </a:lnTo>
                    <a:lnTo>
                      <a:pt x="339" y="603"/>
                    </a:lnTo>
                    <a:lnTo>
                      <a:pt x="340" y="613"/>
                    </a:lnTo>
                    <a:lnTo>
                      <a:pt x="336" y="612"/>
                    </a:lnTo>
                    <a:lnTo>
                      <a:pt x="340" y="619"/>
                    </a:lnTo>
                    <a:lnTo>
                      <a:pt x="343" y="634"/>
                    </a:lnTo>
                    <a:lnTo>
                      <a:pt x="338" y="637"/>
                    </a:lnTo>
                    <a:lnTo>
                      <a:pt x="323" y="633"/>
                    </a:lnTo>
                    <a:lnTo>
                      <a:pt x="316" y="639"/>
                    </a:lnTo>
                    <a:lnTo>
                      <a:pt x="311" y="629"/>
                    </a:lnTo>
                    <a:lnTo>
                      <a:pt x="308" y="641"/>
                    </a:lnTo>
                    <a:lnTo>
                      <a:pt x="296" y="641"/>
                    </a:lnTo>
                    <a:lnTo>
                      <a:pt x="296" y="647"/>
                    </a:lnTo>
                    <a:lnTo>
                      <a:pt x="286" y="652"/>
                    </a:lnTo>
                    <a:lnTo>
                      <a:pt x="281" y="649"/>
                    </a:lnTo>
                    <a:lnTo>
                      <a:pt x="270" y="651"/>
                    </a:lnTo>
                    <a:lnTo>
                      <a:pt x="237" y="668"/>
                    </a:lnTo>
                    <a:lnTo>
                      <a:pt x="229" y="668"/>
                    </a:lnTo>
                    <a:lnTo>
                      <a:pt x="231" y="676"/>
                    </a:lnTo>
                    <a:lnTo>
                      <a:pt x="240" y="684"/>
                    </a:lnTo>
                    <a:lnTo>
                      <a:pt x="286" y="694"/>
                    </a:lnTo>
                    <a:lnTo>
                      <a:pt x="293" y="706"/>
                    </a:lnTo>
                    <a:lnTo>
                      <a:pt x="291" y="714"/>
                    </a:lnTo>
                    <a:lnTo>
                      <a:pt x="261" y="705"/>
                    </a:lnTo>
                    <a:lnTo>
                      <a:pt x="258" y="701"/>
                    </a:lnTo>
                    <a:lnTo>
                      <a:pt x="246" y="705"/>
                    </a:lnTo>
                    <a:lnTo>
                      <a:pt x="236" y="699"/>
                    </a:lnTo>
                    <a:lnTo>
                      <a:pt x="225" y="700"/>
                    </a:lnTo>
                    <a:lnTo>
                      <a:pt x="225" y="708"/>
                    </a:lnTo>
                    <a:lnTo>
                      <a:pt x="223" y="715"/>
                    </a:lnTo>
                    <a:lnTo>
                      <a:pt x="215" y="716"/>
                    </a:lnTo>
                    <a:lnTo>
                      <a:pt x="211" y="694"/>
                    </a:lnTo>
                    <a:lnTo>
                      <a:pt x="198" y="690"/>
                    </a:lnTo>
                    <a:lnTo>
                      <a:pt x="183" y="706"/>
                    </a:lnTo>
                    <a:lnTo>
                      <a:pt x="188" y="722"/>
                    </a:lnTo>
                    <a:lnTo>
                      <a:pt x="183" y="738"/>
                    </a:lnTo>
                    <a:lnTo>
                      <a:pt x="191" y="753"/>
                    </a:lnTo>
                    <a:lnTo>
                      <a:pt x="195" y="771"/>
                    </a:lnTo>
                    <a:lnTo>
                      <a:pt x="199" y="774"/>
                    </a:lnTo>
                    <a:lnTo>
                      <a:pt x="205" y="792"/>
                    </a:lnTo>
                    <a:lnTo>
                      <a:pt x="236" y="807"/>
                    </a:lnTo>
                    <a:lnTo>
                      <a:pt x="241" y="806"/>
                    </a:lnTo>
                    <a:lnTo>
                      <a:pt x="248" y="817"/>
                    </a:lnTo>
                    <a:lnTo>
                      <a:pt x="248" y="829"/>
                    </a:lnTo>
                    <a:lnTo>
                      <a:pt x="254" y="833"/>
                    </a:lnTo>
                    <a:lnTo>
                      <a:pt x="270" y="834"/>
                    </a:lnTo>
                    <a:lnTo>
                      <a:pt x="278" y="830"/>
                    </a:lnTo>
                    <a:lnTo>
                      <a:pt x="283" y="833"/>
                    </a:lnTo>
                    <a:lnTo>
                      <a:pt x="288" y="829"/>
                    </a:lnTo>
                    <a:lnTo>
                      <a:pt x="300" y="828"/>
                    </a:lnTo>
                    <a:lnTo>
                      <a:pt x="306" y="835"/>
                    </a:lnTo>
                    <a:lnTo>
                      <a:pt x="312" y="834"/>
                    </a:lnTo>
                    <a:lnTo>
                      <a:pt x="312" y="841"/>
                    </a:lnTo>
                    <a:lnTo>
                      <a:pt x="304" y="856"/>
                    </a:lnTo>
                    <a:lnTo>
                      <a:pt x="302" y="848"/>
                    </a:lnTo>
                    <a:lnTo>
                      <a:pt x="288" y="849"/>
                    </a:lnTo>
                    <a:lnTo>
                      <a:pt x="270" y="859"/>
                    </a:lnTo>
                    <a:lnTo>
                      <a:pt x="270" y="868"/>
                    </a:lnTo>
                    <a:lnTo>
                      <a:pt x="308" y="904"/>
                    </a:lnTo>
                    <a:lnTo>
                      <a:pt x="311" y="911"/>
                    </a:lnTo>
                    <a:lnTo>
                      <a:pt x="311" y="936"/>
                    </a:lnTo>
                    <a:lnTo>
                      <a:pt x="316" y="935"/>
                    </a:lnTo>
                    <a:lnTo>
                      <a:pt x="323" y="922"/>
                    </a:lnTo>
                    <a:lnTo>
                      <a:pt x="323" y="930"/>
                    </a:lnTo>
                    <a:lnTo>
                      <a:pt x="329" y="937"/>
                    </a:lnTo>
                    <a:lnTo>
                      <a:pt x="338" y="936"/>
                    </a:lnTo>
                    <a:lnTo>
                      <a:pt x="349" y="925"/>
                    </a:lnTo>
                    <a:lnTo>
                      <a:pt x="350" y="910"/>
                    </a:lnTo>
                    <a:lnTo>
                      <a:pt x="354" y="908"/>
                    </a:lnTo>
                    <a:lnTo>
                      <a:pt x="353" y="900"/>
                    </a:lnTo>
                    <a:lnTo>
                      <a:pt x="348" y="888"/>
                    </a:lnTo>
                    <a:lnTo>
                      <a:pt x="351" y="878"/>
                    </a:lnTo>
                    <a:lnTo>
                      <a:pt x="349" y="873"/>
                    </a:lnTo>
                    <a:lnTo>
                      <a:pt x="351" y="866"/>
                    </a:lnTo>
                    <a:lnTo>
                      <a:pt x="363" y="855"/>
                    </a:lnTo>
                    <a:lnTo>
                      <a:pt x="367" y="840"/>
                    </a:lnTo>
                    <a:lnTo>
                      <a:pt x="365" y="839"/>
                    </a:lnTo>
                    <a:lnTo>
                      <a:pt x="369" y="832"/>
                    </a:lnTo>
                    <a:lnTo>
                      <a:pt x="364" y="822"/>
                    </a:lnTo>
                    <a:lnTo>
                      <a:pt x="370" y="802"/>
                    </a:lnTo>
                    <a:lnTo>
                      <a:pt x="367" y="792"/>
                    </a:lnTo>
                    <a:lnTo>
                      <a:pt x="367" y="771"/>
                    </a:lnTo>
                    <a:lnTo>
                      <a:pt x="370" y="762"/>
                    </a:lnTo>
                    <a:lnTo>
                      <a:pt x="381" y="742"/>
                    </a:lnTo>
                    <a:lnTo>
                      <a:pt x="392" y="741"/>
                    </a:lnTo>
                    <a:lnTo>
                      <a:pt x="387" y="728"/>
                    </a:lnTo>
                    <a:lnTo>
                      <a:pt x="380" y="731"/>
                    </a:lnTo>
                    <a:lnTo>
                      <a:pt x="379" y="722"/>
                    </a:lnTo>
                    <a:lnTo>
                      <a:pt x="406" y="710"/>
                    </a:lnTo>
                    <a:lnTo>
                      <a:pt x="413" y="715"/>
                    </a:lnTo>
                    <a:lnTo>
                      <a:pt x="417" y="714"/>
                    </a:lnTo>
                    <a:lnTo>
                      <a:pt x="417" y="704"/>
                    </a:lnTo>
                    <a:lnTo>
                      <a:pt x="420" y="698"/>
                    </a:lnTo>
                    <a:lnTo>
                      <a:pt x="420" y="688"/>
                    </a:lnTo>
                    <a:lnTo>
                      <a:pt x="423" y="680"/>
                    </a:lnTo>
                    <a:lnTo>
                      <a:pt x="425" y="669"/>
                    </a:lnTo>
                    <a:lnTo>
                      <a:pt x="425" y="661"/>
                    </a:lnTo>
                    <a:lnTo>
                      <a:pt x="423" y="662"/>
                    </a:lnTo>
                    <a:lnTo>
                      <a:pt x="424" y="646"/>
                    </a:lnTo>
                    <a:lnTo>
                      <a:pt x="429" y="626"/>
                    </a:lnTo>
                    <a:lnTo>
                      <a:pt x="426" y="620"/>
                    </a:lnTo>
                    <a:lnTo>
                      <a:pt x="425" y="607"/>
                    </a:lnTo>
                    <a:lnTo>
                      <a:pt x="426" y="588"/>
                    </a:lnTo>
                    <a:lnTo>
                      <a:pt x="425" y="583"/>
                    </a:lnTo>
                    <a:lnTo>
                      <a:pt x="425" y="576"/>
                    </a:lnTo>
                    <a:lnTo>
                      <a:pt x="440" y="570"/>
                    </a:lnTo>
                    <a:lnTo>
                      <a:pt x="451" y="577"/>
                    </a:lnTo>
                    <a:lnTo>
                      <a:pt x="455" y="575"/>
                    </a:lnTo>
                    <a:lnTo>
                      <a:pt x="456" y="563"/>
                    </a:lnTo>
                    <a:lnTo>
                      <a:pt x="455" y="552"/>
                    </a:lnTo>
                    <a:lnTo>
                      <a:pt x="455" y="529"/>
                    </a:lnTo>
                    <a:lnTo>
                      <a:pt x="460" y="522"/>
                    </a:lnTo>
                    <a:lnTo>
                      <a:pt x="457" y="511"/>
                    </a:lnTo>
                    <a:lnTo>
                      <a:pt x="461" y="510"/>
                    </a:lnTo>
                    <a:lnTo>
                      <a:pt x="458" y="502"/>
                    </a:lnTo>
                    <a:lnTo>
                      <a:pt x="460" y="491"/>
                    </a:lnTo>
                    <a:lnTo>
                      <a:pt x="460" y="477"/>
                    </a:lnTo>
                    <a:lnTo>
                      <a:pt x="457" y="464"/>
                    </a:lnTo>
                    <a:lnTo>
                      <a:pt x="473" y="462"/>
                    </a:lnTo>
                    <a:lnTo>
                      <a:pt x="477" y="453"/>
                    </a:lnTo>
                    <a:lnTo>
                      <a:pt x="485" y="453"/>
                    </a:lnTo>
                    <a:lnTo>
                      <a:pt x="489" y="432"/>
                    </a:lnTo>
                    <a:lnTo>
                      <a:pt x="485" y="424"/>
                    </a:lnTo>
                    <a:lnTo>
                      <a:pt x="498" y="420"/>
                    </a:lnTo>
                    <a:lnTo>
                      <a:pt x="508" y="423"/>
                    </a:lnTo>
                    <a:lnTo>
                      <a:pt x="521" y="404"/>
                    </a:lnTo>
                    <a:lnTo>
                      <a:pt x="536" y="404"/>
                    </a:lnTo>
                    <a:lnTo>
                      <a:pt x="552" y="392"/>
                    </a:lnTo>
                    <a:lnTo>
                      <a:pt x="570" y="399"/>
                    </a:lnTo>
                    <a:lnTo>
                      <a:pt x="581" y="398"/>
                    </a:lnTo>
                    <a:lnTo>
                      <a:pt x="585" y="392"/>
                    </a:lnTo>
                    <a:lnTo>
                      <a:pt x="591" y="371"/>
                    </a:lnTo>
                    <a:lnTo>
                      <a:pt x="589" y="354"/>
                    </a:lnTo>
                    <a:lnTo>
                      <a:pt x="590" y="345"/>
                    </a:lnTo>
                    <a:lnTo>
                      <a:pt x="586" y="341"/>
                    </a:lnTo>
                    <a:lnTo>
                      <a:pt x="570" y="341"/>
                    </a:lnTo>
                    <a:lnTo>
                      <a:pt x="531" y="327"/>
                    </a:lnTo>
                    <a:lnTo>
                      <a:pt x="525" y="314"/>
                    </a:lnTo>
                    <a:lnTo>
                      <a:pt x="503" y="305"/>
                    </a:lnTo>
                    <a:lnTo>
                      <a:pt x="495" y="283"/>
                    </a:lnTo>
                    <a:lnTo>
                      <a:pt x="492" y="267"/>
                    </a:lnTo>
                    <a:lnTo>
                      <a:pt x="484" y="264"/>
                    </a:lnTo>
                    <a:lnTo>
                      <a:pt x="477" y="254"/>
                    </a:lnTo>
                    <a:lnTo>
                      <a:pt x="444" y="252"/>
                    </a:lnTo>
                    <a:lnTo>
                      <a:pt x="441" y="231"/>
                    </a:lnTo>
                    <a:lnTo>
                      <a:pt x="445" y="217"/>
                    </a:lnTo>
                    <a:lnTo>
                      <a:pt x="445" y="210"/>
                    </a:lnTo>
                    <a:lnTo>
                      <a:pt x="447" y="204"/>
                    </a:lnTo>
                    <a:lnTo>
                      <a:pt x="449" y="192"/>
                    </a:lnTo>
                    <a:lnTo>
                      <a:pt x="440" y="172"/>
                    </a:lnTo>
                    <a:lnTo>
                      <a:pt x="435" y="150"/>
                    </a:lnTo>
                    <a:lnTo>
                      <a:pt x="426" y="133"/>
                    </a:lnTo>
                    <a:lnTo>
                      <a:pt x="417" y="133"/>
                    </a:lnTo>
                    <a:lnTo>
                      <a:pt x="413" y="123"/>
                    </a:lnTo>
                    <a:lnTo>
                      <a:pt x="408" y="128"/>
                    </a:lnTo>
                    <a:lnTo>
                      <a:pt x="401" y="145"/>
                    </a:lnTo>
                    <a:lnTo>
                      <a:pt x="401" y="157"/>
                    </a:lnTo>
                    <a:lnTo>
                      <a:pt x="404" y="167"/>
                    </a:lnTo>
                    <a:lnTo>
                      <a:pt x="391" y="181"/>
                    </a:lnTo>
                    <a:lnTo>
                      <a:pt x="379" y="204"/>
                    </a:lnTo>
                    <a:lnTo>
                      <a:pt x="377" y="195"/>
                    </a:lnTo>
                    <a:lnTo>
                      <a:pt x="382" y="188"/>
                    </a:lnTo>
                    <a:lnTo>
                      <a:pt x="386" y="171"/>
                    </a:lnTo>
                    <a:lnTo>
                      <a:pt x="382" y="155"/>
                    </a:lnTo>
                    <a:lnTo>
                      <a:pt x="379" y="150"/>
                    </a:lnTo>
                    <a:lnTo>
                      <a:pt x="376" y="152"/>
                    </a:lnTo>
                    <a:lnTo>
                      <a:pt x="379" y="144"/>
                    </a:lnTo>
                    <a:lnTo>
                      <a:pt x="385" y="136"/>
                    </a:lnTo>
                    <a:lnTo>
                      <a:pt x="390" y="106"/>
                    </a:lnTo>
                    <a:lnTo>
                      <a:pt x="394" y="101"/>
                    </a:lnTo>
                    <a:lnTo>
                      <a:pt x="397" y="81"/>
                    </a:lnTo>
                    <a:lnTo>
                      <a:pt x="385" y="60"/>
                    </a:lnTo>
                    <a:lnTo>
                      <a:pt x="350" y="22"/>
                    </a:lnTo>
                    <a:lnTo>
                      <a:pt x="337" y="29"/>
                    </a:lnTo>
                    <a:lnTo>
                      <a:pt x="339" y="39"/>
                    </a:lnTo>
                    <a:lnTo>
                      <a:pt x="339" y="47"/>
                    </a:lnTo>
                    <a:lnTo>
                      <a:pt x="329" y="41"/>
                    </a:lnTo>
                    <a:lnTo>
                      <a:pt x="324" y="43"/>
                    </a:lnTo>
                    <a:lnTo>
                      <a:pt x="324" y="14"/>
                    </a:lnTo>
                    <a:lnTo>
                      <a:pt x="323" y="0"/>
                    </a:lnTo>
                    <a:lnTo>
                      <a:pt x="293" y="0"/>
                    </a:lnTo>
                    <a:lnTo>
                      <a:pt x="293" y="0"/>
                    </a:lnTo>
                    <a:lnTo>
                      <a:pt x="290" y="2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" name="Svalbard and Jan Mayen"/>
              <p:cNvSpPr>
                <a:spLocks noChangeAspect="1"/>
              </p:cNvSpPr>
              <p:nvPr>
                <p:custDataLst>
                  <p:tags r:id="rId214"/>
                </p:custDataLst>
              </p:nvPr>
            </p:nvSpPr>
            <p:spPr bwMode="gray">
              <a:xfrm>
                <a:off x="3306" y="1118"/>
                <a:ext cx="25" cy="23"/>
              </a:xfrm>
              <a:custGeom>
                <a:avLst/>
                <a:gdLst/>
                <a:ahLst/>
                <a:cxnLst>
                  <a:cxn ang="0">
                    <a:pos x="52" y="117"/>
                  </a:cxn>
                  <a:cxn ang="0">
                    <a:pos x="54" y="111"/>
                  </a:cxn>
                  <a:cxn ang="0">
                    <a:pos x="65" y="112"/>
                  </a:cxn>
                  <a:cxn ang="0">
                    <a:pos x="81" y="99"/>
                  </a:cxn>
                  <a:cxn ang="0">
                    <a:pos x="105" y="97"/>
                  </a:cxn>
                  <a:cxn ang="0">
                    <a:pos x="107" y="86"/>
                  </a:cxn>
                  <a:cxn ang="0">
                    <a:pos x="106" y="81"/>
                  </a:cxn>
                  <a:cxn ang="0">
                    <a:pos x="111" y="52"/>
                  </a:cxn>
                  <a:cxn ang="0">
                    <a:pos x="126" y="37"/>
                  </a:cxn>
                  <a:cxn ang="0">
                    <a:pos x="111" y="22"/>
                  </a:cxn>
                  <a:cxn ang="0">
                    <a:pos x="107" y="14"/>
                  </a:cxn>
                  <a:cxn ang="0">
                    <a:pos x="106" y="8"/>
                  </a:cxn>
                  <a:cxn ang="0">
                    <a:pos x="67" y="13"/>
                  </a:cxn>
                  <a:cxn ang="0">
                    <a:pos x="62" y="13"/>
                  </a:cxn>
                  <a:cxn ang="0">
                    <a:pos x="67" y="10"/>
                  </a:cxn>
                  <a:cxn ang="0">
                    <a:pos x="69" y="0"/>
                  </a:cxn>
                  <a:cxn ang="0">
                    <a:pos x="65" y="3"/>
                  </a:cxn>
                  <a:cxn ang="0">
                    <a:pos x="51" y="4"/>
                  </a:cxn>
                  <a:cxn ang="0">
                    <a:pos x="44" y="20"/>
                  </a:cxn>
                  <a:cxn ang="0">
                    <a:pos x="38" y="26"/>
                  </a:cxn>
                  <a:cxn ang="0">
                    <a:pos x="32" y="22"/>
                  </a:cxn>
                  <a:cxn ang="0">
                    <a:pos x="27" y="30"/>
                  </a:cxn>
                  <a:cxn ang="0">
                    <a:pos x="0" y="40"/>
                  </a:cxn>
                  <a:cxn ang="0">
                    <a:pos x="11" y="52"/>
                  </a:cxn>
                  <a:cxn ang="0">
                    <a:pos x="25" y="54"/>
                  </a:cxn>
                  <a:cxn ang="0">
                    <a:pos x="25" y="65"/>
                  </a:cxn>
                  <a:cxn ang="0">
                    <a:pos x="24" y="73"/>
                  </a:cxn>
                  <a:cxn ang="0">
                    <a:pos x="26" y="87"/>
                  </a:cxn>
                  <a:cxn ang="0">
                    <a:pos x="31" y="99"/>
                  </a:cxn>
                  <a:cxn ang="0">
                    <a:pos x="33" y="106"/>
                  </a:cxn>
                  <a:cxn ang="0">
                    <a:pos x="38" y="114"/>
                  </a:cxn>
                  <a:cxn ang="0">
                    <a:pos x="52" y="117"/>
                  </a:cxn>
                </a:cxnLst>
                <a:rect l="0" t="0" r="r" b="b"/>
                <a:pathLst>
                  <a:path w="126" h="117">
                    <a:moveTo>
                      <a:pt x="52" y="117"/>
                    </a:moveTo>
                    <a:lnTo>
                      <a:pt x="54" y="111"/>
                    </a:lnTo>
                    <a:lnTo>
                      <a:pt x="65" y="112"/>
                    </a:lnTo>
                    <a:lnTo>
                      <a:pt x="81" y="99"/>
                    </a:lnTo>
                    <a:lnTo>
                      <a:pt x="105" y="97"/>
                    </a:lnTo>
                    <a:lnTo>
                      <a:pt x="107" y="86"/>
                    </a:lnTo>
                    <a:lnTo>
                      <a:pt x="106" y="81"/>
                    </a:lnTo>
                    <a:lnTo>
                      <a:pt x="111" y="52"/>
                    </a:lnTo>
                    <a:lnTo>
                      <a:pt x="126" y="37"/>
                    </a:lnTo>
                    <a:lnTo>
                      <a:pt x="111" y="22"/>
                    </a:lnTo>
                    <a:lnTo>
                      <a:pt x="107" y="14"/>
                    </a:lnTo>
                    <a:lnTo>
                      <a:pt x="106" y="8"/>
                    </a:lnTo>
                    <a:lnTo>
                      <a:pt x="67" y="13"/>
                    </a:lnTo>
                    <a:lnTo>
                      <a:pt x="62" y="13"/>
                    </a:lnTo>
                    <a:lnTo>
                      <a:pt x="67" y="10"/>
                    </a:lnTo>
                    <a:lnTo>
                      <a:pt x="69" y="0"/>
                    </a:lnTo>
                    <a:lnTo>
                      <a:pt x="65" y="3"/>
                    </a:lnTo>
                    <a:lnTo>
                      <a:pt x="51" y="4"/>
                    </a:lnTo>
                    <a:lnTo>
                      <a:pt x="44" y="20"/>
                    </a:lnTo>
                    <a:lnTo>
                      <a:pt x="38" y="26"/>
                    </a:lnTo>
                    <a:lnTo>
                      <a:pt x="32" y="22"/>
                    </a:lnTo>
                    <a:lnTo>
                      <a:pt x="27" y="30"/>
                    </a:lnTo>
                    <a:lnTo>
                      <a:pt x="0" y="40"/>
                    </a:lnTo>
                    <a:lnTo>
                      <a:pt x="11" y="52"/>
                    </a:lnTo>
                    <a:lnTo>
                      <a:pt x="25" y="54"/>
                    </a:lnTo>
                    <a:lnTo>
                      <a:pt x="25" y="65"/>
                    </a:lnTo>
                    <a:lnTo>
                      <a:pt x="24" y="73"/>
                    </a:lnTo>
                    <a:lnTo>
                      <a:pt x="26" y="87"/>
                    </a:lnTo>
                    <a:lnTo>
                      <a:pt x="31" y="99"/>
                    </a:lnTo>
                    <a:lnTo>
                      <a:pt x="33" y="106"/>
                    </a:lnTo>
                    <a:lnTo>
                      <a:pt x="38" y="114"/>
                    </a:lnTo>
                    <a:lnTo>
                      <a:pt x="52" y="1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" name="Svalbard and Jan Mayen"/>
              <p:cNvSpPr>
                <a:spLocks noChangeAspect="1"/>
              </p:cNvSpPr>
              <p:nvPr>
                <p:custDataLst>
                  <p:tags r:id="rId215"/>
                </p:custDataLst>
              </p:nvPr>
            </p:nvSpPr>
            <p:spPr bwMode="gray">
              <a:xfrm>
                <a:off x="3340" y="1146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2"/>
                    </a:lnTo>
                    <a:lnTo>
                      <a:pt x="1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" name="Svalbard and Jan Mayen"/>
              <p:cNvSpPr>
                <a:spLocks noChangeAspect="1"/>
              </p:cNvSpPr>
              <p:nvPr>
                <p:custDataLst>
                  <p:tags r:id="rId216"/>
                </p:custDataLst>
              </p:nvPr>
            </p:nvSpPr>
            <p:spPr bwMode="gray">
              <a:xfrm>
                <a:off x="3340" y="1147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1" name="Svalbard and Jan Mayen"/>
              <p:cNvSpPr>
                <a:spLocks noChangeAspect="1"/>
              </p:cNvSpPr>
              <p:nvPr>
                <p:custDataLst>
                  <p:tags r:id="rId217"/>
                </p:custDataLst>
              </p:nvPr>
            </p:nvSpPr>
            <p:spPr bwMode="gray">
              <a:xfrm>
                <a:off x="3313" y="1136"/>
                <a:ext cx="45" cy="54"/>
              </a:xfrm>
              <a:custGeom>
                <a:avLst/>
                <a:gdLst/>
                <a:ahLst/>
                <a:cxnLst>
                  <a:cxn ang="0">
                    <a:pos x="206" y="133"/>
                  </a:cxn>
                  <a:cxn ang="0">
                    <a:pos x="201" y="128"/>
                  </a:cxn>
                  <a:cxn ang="0">
                    <a:pos x="190" y="116"/>
                  </a:cxn>
                  <a:cxn ang="0">
                    <a:pos x="180" y="107"/>
                  </a:cxn>
                  <a:cxn ang="0">
                    <a:pos x="162" y="124"/>
                  </a:cxn>
                  <a:cxn ang="0">
                    <a:pos x="145" y="108"/>
                  </a:cxn>
                  <a:cxn ang="0">
                    <a:pos x="131" y="90"/>
                  </a:cxn>
                  <a:cxn ang="0">
                    <a:pos x="120" y="75"/>
                  </a:cxn>
                  <a:cxn ang="0">
                    <a:pos x="125" y="51"/>
                  </a:cxn>
                  <a:cxn ang="0">
                    <a:pos x="134" y="43"/>
                  </a:cxn>
                  <a:cxn ang="0">
                    <a:pos x="128" y="19"/>
                  </a:cxn>
                  <a:cxn ang="0">
                    <a:pos x="114" y="15"/>
                  </a:cxn>
                  <a:cxn ang="0">
                    <a:pos x="112" y="0"/>
                  </a:cxn>
                  <a:cxn ang="0">
                    <a:pos x="106" y="15"/>
                  </a:cxn>
                  <a:cxn ang="0">
                    <a:pos x="87" y="26"/>
                  </a:cxn>
                  <a:cxn ang="0">
                    <a:pos x="50" y="23"/>
                  </a:cxn>
                  <a:cxn ang="0">
                    <a:pos x="2" y="51"/>
                  </a:cxn>
                  <a:cxn ang="0">
                    <a:pos x="0" y="62"/>
                  </a:cxn>
                  <a:cxn ang="0">
                    <a:pos x="11" y="75"/>
                  </a:cxn>
                  <a:cxn ang="0">
                    <a:pos x="16" y="86"/>
                  </a:cxn>
                  <a:cxn ang="0">
                    <a:pos x="35" y="108"/>
                  </a:cxn>
                  <a:cxn ang="0">
                    <a:pos x="27" y="134"/>
                  </a:cxn>
                  <a:cxn ang="0">
                    <a:pos x="21" y="150"/>
                  </a:cxn>
                  <a:cxn ang="0">
                    <a:pos x="21" y="165"/>
                  </a:cxn>
                  <a:cxn ang="0">
                    <a:pos x="21" y="172"/>
                  </a:cxn>
                  <a:cxn ang="0">
                    <a:pos x="5" y="187"/>
                  </a:cxn>
                  <a:cxn ang="0">
                    <a:pos x="4" y="195"/>
                  </a:cxn>
                  <a:cxn ang="0">
                    <a:pos x="1" y="205"/>
                  </a:cxn>
                  <a:cxn ang="0">
                    <a:pos x="8" y="222"/>
                  </a:cxn>
                  <a:cxn ang="0">
                    <a:pos x="26" y="222"/>
                  </a:cxn>
                  <a:cxn ang="0">
                    <a:pos x="66" y="214"/>
                  </a:cxn>
                  <a:cxn ang="0">
                    <a:pos x="77" y="208"/>
                  </a:cxn>
                  <a:cxn ang="0">
                    <a:pos x="87" y="189"/>
                  </a:cxn>
                  <a:cxn ang="0">
                    <a:pos x="98" y="193"/>
                  </a:cxn>
                  <a:cxn ang="0">
                    <a:pos x="96" y="205"/>
                  </a:cxn>
                  <a:cxn ang="0">
                    <a:pos x="103" y="195"/>
                  </a:cxn>
                  <a:cxn ang="0">
                    <a:pos x="107" y="205"/>
                  </a:cxn>
                  <a:cxn ang="0">
                    <a:pos x="99" y="214"/>
                  </a:cxn>
                  <a:cxn ang="0">
                    <a:pos x="97" y="235"/>
                  </a:cxn>
                  <a:cxn ang="0">
                    <a:pos x="85" y="253"/>
                  </a:cxn>
                  <a:cxn ang="0">
                    <a:pos x="99" y="259"/>
                  </a:cxn>
                  <a:cxn ang="0">
                    <a:pos x="110" y="259"/>
                  </a:cxn>
                  <a:cxn ang="0">
                    <a:pos x="112" y="248"/>
                  </a:cxn>
                  <a:cxn ang="0">
                    <a:pos x="125" y="232"/>
                  </a:cxn>
                  <a:cxn ang="0">
                    <a:pos x="129" y="237"/>
                  </a:cxn>
                  <a:cxn ang="0">
                    <a:pos x="142" y="235"/>
                  </a:cxn>
                  <a:cxn ang="0">
                    <a:pos x="146" y="225"/>
                  </a:cxn>
                  <a:cxn ang="0">
                    <a:pos x="151" y="216"/>
                  </a:cxn>
                  <a:cxn ang="0">
                    <a:pos x="166" y="202"/>
                  </a:cxn>
                  <a:cxn ang="0">
                    <a:pos x="169" y="184"/>
                  </a:cxn>
                  <a:cxn ang="0">
                    <a:pos x="180" y="165"/>
                  </a:cxn>
                  <a:cxn ang="0">
                    <a:pos x="222" y="152"/>
                  </a:cxn>
                  <a:cxn ang="0">
                    <a:pos x="221" y="145"/>
                  </a:cxn>
                </a:cxnLst>
                <a:rect l="0" t="0" r="r" b="b"/>
                <a:pathLst>
                  <a:path w="222" h="268">
                    <a:moveTo>
                      <a:pt x="207" y="140"/>
                    </a:moveTo>
                    <a:lnTo>
                      <a:pt x="206" y="133"/>
                    </a:lnTo>
                    <a:lnTo>
                      <a:pt x="201" y="133"/>
                    </a:lnTo>
                    <a:lnTo>
                      <a:pt x="201" y="128"/>
                    </a:lnTo>
                    <a:lnTo>
                      <a:pt x="196" y="117"/>
                    </a:lnTo>
                    <a:lnTo>
                      <a:pt x="190" y="116"/>
                    </a:lnTo>
                    <a:lnTo>
                      <a:pt x="184" y="106"/>
                    </a:lnTo>
                    <a:lnTo>
                      <a:pt x="180" y="107"/>
                    </a:lnTo>
                    <a:lnTo>
                      <a:pt x="178" y="114"/>
                    </a:lnTo>
                    <a:lnTo>
                      <a:pt x="162" y="124"/>
                    </a:lnTo>
                    <a:lnTo>
                      <a:pt x="150" y="116"/>
                    </a:lnTo>
                    <a:lnTo>
                      <a:pt x="145" y="108"/>
                    </a:lnTo>
                    <a:lnTo>
                      <a:pt x="139" y="106"/>
                    </a:lnTo>
                    <a:lnTo>
                      <a:pt x="131" y="90"/>
                    </a:lnTo>
                    <a:lnTo>
                      <a:pt x="124" y="86"/>
                    </a:lnTo>
                    <a:lnTo>
                      <a:pt x="120" y="75"/>
                    </a:lnTo>
                    <a:lnTo>
                      <a:pt x="120" y="64"/>
                    </a:lnTo>
                    <a:lnTo>
                      <a:pt x="125" y="51"/>
                    </a:lnTo>
                    <a:lnTo>
                      <a:pt x="134" y="53"/>
                    </a:lnTo>
                    <a:lnTo>
                      <a:pt x="134" y="43"/>
                    </a:lnTo>
                    <a:lnTo>
                      <a:pt x="137" y="37"/>
                    </a:lnTo>
                    <a:lnTo>
                      <a:pt x="128" y="19"/>
                    </a:lnTo>
                    <a:lnTo>
                      <a:pt x="119" y="25"/>
                    </a:lnTo>
                    <a:lnTo>
                      <a:pt x="114" y="15"/>
                    </a:lnTo>
                    <a:lnTo>
                      <a:pt x="114" y="6"/>
                    </a:lnTo>
                    <a:lnTo>
                      <a:pt x="112" y="0"/>
                    </a:lnTo>
                    <a:lnTo>
                      <a:pt x="110" y="0"/>
                    </a:lnTo>
                    <a:lnTo>
                      <a:pt x="106" y="15"/>
                    </a:lnTo>
                    <a:lnTo>
                      <a:pt x="93" y="17"/>
                    </a:lnTo>
                    <a:lnTo>
                      <a:pt x="87" y="26"/>
                    </a:lnTo>
                    <a:lnTo>
                      <a:pt x="66" y="28"/>
                    </a:lnTo>
                    <a:lnTo>
                      <a:pt x="50" y="23"/>
                    </a:lnTo>
                    <a:lnTo>
                      <a:pt x="28" y="32"/>
                    </a:lnTo>
                    <a:lnTo>
                      <a:pt x="2" y="51"/>
                    </a:lnTo>
                    <a:lnTo>
                      <a:pt x="2" y="59"/>
                    </a:lnTo>
                    <a:lnTo>
                      <a:pt x="0" y="62"/>
                    </a:lnTo>
                    <a:lnTo>
                      <a:pt x="6" y="66"/>
                    </a:lnTo>
                    <a:lnTo>
                      <a:pt x="11" y="75"/>
                    </a:lnTo>
                    <a:lnTo>
                      <a:pt x="16" y="75"/>
                    </a:lnTo>
                    <a:lnTo>
                      <a:pt x="16" y="86"/>
                    </a:lnTo>
                    <a:lnTo>
                      <a:pt x="39" y="101"/>
                    </a:lnTo>
                    <a:lnTo>
                      <a:pt x="35" y="108"/>
                    </a:lnTo>
                    <a:lnTo>
                      <a:pt x="34" y="119"/>
                    </a:lnTo>
                    <a:lnTo>
                      <a:pt x="27" y="134"/>
                    </a:lnTo>
                    <a:lnTo>
                      <a:pt x="27" y="140"/>
                    </a:lnTo>
                    <a:lnTo>
                      <a:pt x="21" y="150"/>
                    </a:lnTo>
                    <a:lnTo>
                      <a:pt x="22" y="156"/>
                    </a:lnTo>
                    <a:lnTo>
                      <a:pt x="21" y="165"/>
                    </a:lnTo>
                    <a:lnTo>
                      <a:pt x="20" y="166"/>
                    </a:lnTo>
                    <a:lnTo>
                      <a:pt x="21" y="172"/>
                    </a:lnTo>
                    <a:lnTo>
                      <a:pt x="20" y="177"/>
                    </a:lnTo>
                    <a:lnTo>
                      <a:pt x="5" y="187"/>
                    </a:lnTo>
                    <a:lnTo>
                      <a:pt x="5" y="192"/>
                    </a:lnTo>
                    <a:lnTo>
                      <a:pt x="4" y="195"/>
                    </a:lnTo>
                    <a:lnTo>
                      <a:pt x="0" y="198"/>
                    </a:lnTo>
                    <a:lnTo>
                      <a:pt x="1" y="205"/>
                    </a:lnTo>
                    <a:lnTo>
                      <a:pt x="0" y="214"/>
                    </a:lnTo>
                    <a:lnTo>
                      <a:pt x="8" y="222"/>
                    </a:lnTo>
                    <a:lnTo>
                      <a:pt x="17" y="216"/>
                    </a:lnTo>
                    <a:lnTo>
                      <a:pt x="26" y="222"/>
                    </a:lnTo>
                    <a:lnTo>
                      <a:pt x="32" y="215"/>
                    </a:lnTo>
                    <a:lnTo>
                      <a:pt x="66" y="214"/>
                    </a:lnTo>
                    <a:lnTo>
                      <a:pt x="67" y="210"/>
                    </a:lnTo>
                    <a:lnTo>
                      <a:pt x="77" y="208"/>
                    </a:lnTo>
                    <a:lnTo>
                      <a:pt x="80" y="198"/>
                    </a:lnTo>
                    <a:lnTo>
                      <a:pt x="87" y="189"/>
                    </a:lnTo>
                    <a:lnTo>
                      <a:pt x="97" y="191"/>
                    </a:lnTo>
                    <a:lnTo>
                      <a:pt x="98" y="193"/>
                    </a:lnTo>
                    <a:lnTo>
                      <a:pt x="94" y="200"/>
                    </a:lnTo>
                    <a:lnTo>
                      <a:pt x="96" y="205"/>
                    </a:lnTo>
                    <a:lnTo>
                      <a:pt x="98" y="209"/>
                    </a:lnTo>
                    <a:lnTo>
                      <a:pt x="103" y="195"/>
                    </a:lnTo>
                    <a:lnTo>
                      <a:pt x="110" y="195"/>
                    </a:lnTo>
                    <a:lnTo>
                      <a:pt x="107" y="205"/>
                    </a:lnTo>
                    <a:lnTo>
                      <a:pt x="107" y="210"/>
                    </a:lnTo>
                    <a:lnTo>
                      <a:pt x="99" y="214"/>
                    </a:lnTo>
                    <a:lnTo>
                      <a:pt x="94" y="222"/>
                    </a:lnTo>
                    <a:lnTo>
                      <a:pt x="97" y="235"/>
                    </a:lnTo>
                    <a:lnTo>
                      <a:pt x="96" y="240"/>
                    </a:lnTo>
                    <a:lnTo>
                      <a:pt x="85" y="253"/>
                    </a:lnTo>
                    <a:lnTo>
                      <a:pt x="91" y="265"/>
                    </a:lnTo>
                    <a:lnTo>
                      <a:pt x="99" y="259"/>
                    </a:lnTo>
                    <a:lnTo>
                      <a:pt x="101" y="268"/>
                    </a:lnTo>
                    <a:lnTo>
                      <a:pt x="110" y="259"/>
                    </a:lnTo>
                    <a:lnTo>
                      <a:pt x="109" y="252"/>
                    </a:lnTo>
                    <a:lnTo>
                      <a:pt x="112" y="248"/>
                    </a:lnTo>
                    <a:lnTo>
                      <a:pt x="125" y="238"/>
                    </a:lnTo>
                    <a:lnTo>
                      <a:pt x="125" y="232"/>
                    </a:lnTo>
                    <a:lnTo>
                      <a:pt x="126" y="232"/>
                    </a:lnTo>
                    <a:lnTo>
                      <a:pt x="129" y="237"/>
                    </a:lnTo>
                    <a:lnTo>
                      <a:pt x="133" y="240"/>
                    </a:lnTo>
                    <a:lnTo>
                      <a:pt x="142" y="235"/>
                    </a:lnTo>
                    <a:lnTo>
                      <a:pt x="144" y="229"/>
                    </a:lnTo>
                    <a:lnTo>
                      <a:pt x="146" y="225"/>
                    </a:lnTo>
                    <a:lnTo>
                      <a:pt x="151" y="226"/>
                    </a:lnTo>
                    <a:lnTo>
                      <a:pt x="151" y="216"/>
                    </a:lnTo>
                    <a:lnTo>
                      <a:pt x="160" y="213"/>
                    </a:lnTo>
                    <a:lnTo>
                      <a:pt x="166" y="202"/>
                    </a:lnTo>
                    <a:lnTo>
                      <a:pt x="166" y="193"/>
                    </a:lnTo>
                    <a:lnTo>
                      <a:pt x="169" y="184"/>
                    </a:lnTo>
                    <a:lnTo>
                      <a:pt x="179" y="175"/>
                    </a:lnTo>
                    <a:lnTo>
                      <a:pt x="180" y="165"/>
                    </a:lnTo>
                    <a:lnTo>
                      <a:pt x="204" y="152"/>
                    </a:lnTo>
                    <a:lnTo>
                      <a:pt x="222" y="152"/>
                    </a:lnTo>
                    <a:lnTo>
                      <a:pt x="222" y="148"/>
                    </a:lnTo>
                    <a:lnTo>
                      <a:pt x="221" y="145"/>
                    </a:lnTo>
                    <a:lnTo>
                      <a:pt x="207" y="14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2" name="Svalbard and Jan Mayen"/>
              <p:cNvSpPr>
                <a:spLocks noChangeAspect="1"/>
              </p:cNvSpPr>
              <p:nvPr>
                <p:custDataLst>
                  <p:tags r:id="rId218"/>
                </p:custDataLst>
              </p:nvPr>
            </p:nvSpPr>
            <p:spPr bwMode="gray">
              <a:xfrm>
                <a:off x="3284" y="1036"/>
                <a:ext cx="99" cy="52"/>
              </a:xfrm>
              <a:custGeom>
                <a:avLst/>
                <a:gdLst/>
                <a:ahLst/>
                <a:cxnLst>
                  <a:cxn ang="0">
                    <a:pos x="20" y="11"/>
                  </a:cxn>
                  <a:cxn ang="0">
                    <a:pos x="23" y="22"/>
                  </a:cxn>
                  <a:cxn ang="0">
                    <a:pos x="2" y="41"/>
                  </a:cxn>
                  <a:cxn ang="0">
                    <a:pos x="15" y="61"/>
                  </a:cxn>
                  <a:cxn ang="0">
                    <a:pos x="23" y="72"/>
                  </a:cxn>
                  <a:cxn ang="0">
                    <a:pos x="29" y="76"/>
                  </a:cxn>
                  <a:cxn ang="0">
                    <a:pos x="36" y="91"/>
                  </a:cxn>
                  <a:cxn ang="0">
                    <a:pos x="70" y="97"/>
                  </a:cxn>
                  <a:cxn ang="0">
                    <a:pos x="85" y="86"/>
                  </a:cxn>
                  <a:cxn ang="0">
                    <a:pos x="121" y="79"/>
                  </a:cxn>
                  <a:cxn ang="0">
                    <a:pos x="144" y="69"/>
                  </a:cxn>
                  <a:cxn ang="0">
                    <a:pos x="202" y="66"/>
                  </a:cxn>
                  <a:cxn ang="0">
                    <a:pos x="199" y="76"/>
                  </a:cxn>
                  <a:cxn ang="0">
                    <a:pos x="209" y="88"/>
                  </a:cxn>
                  <a:cxn ang="0">
                    <a:pos x="202" y="96"/>
                  </a:cxn>
                  <a:cxn ang="0">
                    <a:pos x="153" y="106"/>
                  </a:cxn>
                  <a:cxn ang="0">
                    <a:pos x="133" y="106"/>
                  </a:cxn>
                  <a:cxn ang="0">
                    <a:pos x="145" y="123"/>
                  </a:cxn>
                  <a:cxn ang="0">
                    <a:pos x="158" y="130"/>
                  </a:cxn>
                  <a:cxn ang="0">
                    <a:pos x="153" y="144"/>
                  </a:cxn>
                  <a:cxn ang="0">
                    <a:pos x="117" y="131"/>
                  </a:cxn>
                  <a:cxn ang="0">
                    <a:pos x="98" y="119"/>
                  </a:cxn>
                  <a:cxn ang="0">
                    <a:pos x="86" y="138"/>
                  </a:cxn>
                  <a:cxn ang="0">
                    <a:pos x="106" y="158"/>
                  </a:cxn>
                  <a:cxn ang="0">
                    <a:pos x="142" y="183"/>
                  </a:cxn>
                  <a:cxn ang="0">
                    <a:pos x="160" y="199"/>
                  </a:cxn>
                  <a:cxn ang="0">
                    <a:pos x="175" y="188"/>
                  </a:cxn>
                  <a:cxn ang="0">
                    <a:pos x="186" y="183"/>
                  </a:cxn>
                  <a:cxn ang="0">
                    <a:pos x="218" y="187"/>
                  </a:cxn>
                  <a:cxn ang="0">
                    <a:pos x="249" y="187"/>
                  </a:cxn>
                  <a:cxn ang="0">
                    <a:pos x="244" y="206"/>
                  </a:cxn>
                  <a:cxn ang="0">
                    <a:pos x="257" y="228"/>
                  </a:cxn>
                  <a:cxn ang="0">
                    <a:pos x="261" y="246"/>
                  </a:cxn>
                  <a:cxn ang="0">
                    <a:pos x="279" y="259"/>
                  </a:cxn>
                  <a:cxn ang="0">
                    <a:pos x="287" y="259"/>
                  </a:cxn>
                  <a:cxn ang="0">
                    <a:pos x="332" y="236"/>
                  </a:cxn>
                  <a:cxn ang="0">
                    <a:pos x="354" y="211"/>
                  </a:cxn>
                  <a:cxn ang="0">
                    <a:pos x="376" y="209"/>
                  </a:cxn>
                  <a:cxn ang="0">
                    <a:pos x="391" y="208"/>
                  </a:cxn>
                  <a:cxn ang="0">
                    <a:pos x="413" y="182"/>
                  </a:cxn>
                  <a:cxn ang="0">
                    <a:pos x="424" y="163"/>
                  </a:cxn>
                  <a:cxn ang="0">
                    <a:pos x="428" y="150"/>
                  </a:cxn>
                  <a:cxn ang="0">
                    <a:pos x="421" y="124"/>
                  </a:cxn>
                  <a:cxn ang="0">
                    <a:pos x="443" y="112"/>
                  </a:cxn>
                  <a:cxn ang="0">
                    <a:pos x="459" y="87"/>
                  </a:cxn>
                  <a:cxn ang="0">
                    <a:pos x="462" y="79"/>
                  </a:cxn>
                  <a:cxn ang="0">
                    <a:pos x="491" y="57"/>
                  </a:cxn>
                  <a:cxn ang="0">
                    <a:pos x="487" y="28"/>
                  </a:cxn>
                  <a:cxn ang="0">
                    <a:pos x="492" y="11"/>
                  </a:cxn>
                  <a:cxn ang="0">
                    <a:pos x="235" y="0"/>
                  </a:cxn>
                  <a:cxn ang="0">
                    <a:pos x="228" y="11"/>
                  </a:cxn>
                  <a:cxn ang="0">
                    <a:pos x="67" y="0"/>
                  </a:cxn>
                  <a:cxn ang="0">
                    <a:pos x="35" y="0"/>
                  </a:cxn>
                </a:cxnLst>
                <a:rect l="0" t="0" r="r" b="b"/>
                <a:pathLst>
                  <a:path w="496" h="260">
                    <a:moveTo>
                      <a:pt x="32" y="12"/>
                    </a:moveTo>
                    <a:lnTo>
                      <a:pt x="30" y="17"/>
                    </a:lnTo>
                    <a:lnTo>
                      <a:pt x="20" y="11"/>
                    </a:lnTo>
                    <a:lnTo>
                      <a:pt x="18" y="12"/>
                    </a:lnTo>
                    <a:lnTo>
                      <a:pt x="23" y="18"/>
                    </a:lnTo>
                    <a:lnTo>
                      <a:pt x="23" y="22"/>
                    </a:lnTo>
                    <a:lnTo>
                      <a:pt x="13" y="22"/>
                    </a:lnTo>
                    <a:lnTo>
                      <a:pt x="0" y="36"/>
                    </a:lnTo>
                    <a:lnTo>
                      <a:pt x="2" y="41"/>
                    </a:lnTo>
                    <a:lnTo>
                      <a:pt x="9" y="43"/>
                    </a:lnTo>
                    <a:lnTo>
                      <a:pt x="8" y="54"/>
                    </a:lnTo>
                    <a:lnTo>
                      <a:pt x="15" y="61"/>
                    </a:lnTo>
                    <a:lnTo>
                      <a:pt x="15" y="68"/>
                    </a:lnTo>
                    <a:lnTo>
                      <a:pt x="21" y="80"/>
                    </a:lnTo>
                    <a:lnTo>
                      <a:pt x="23" y="72"/>
                    </a:lnTo>
                    <a:lnTo>
                      <a:pt x="29" y="68"/>
                    </a:lnTo>
                    <a:lnTo>
                      <a:pt x="27" y="72"/>
                    </a:lnTo>
                    <a:lnTo>
                      <a:pt x="29" y="76"/>
                    </a:lnTo>
                    <a:lnTo>
                      <a:pt x="32" y="77"/>
                    </a:lnTo>
                    <a:lnTo>
                      <a:pt x="29" y="85"/>
                    </a:lnTo>
                    <a:lnTo>
                      <a:pt x="36" y="91"/>
                    </a:lnTo>
                    <a:lnTo>
                      <a:pt x="67" y="88"/>
                    </a:lnTo>
                    <a:lnTo>
                      <a:pt x="70" y="91"/>
                    </a:lnTo>
                    <a:lnTo>
                      <a:pt x="70" y="97"/>
                    </a:lnTo>
                    <a:lnTo>
                      <a:pt x="75" y="98"/>
                    </a:lnTo>
                    <a:lnTo>
                      <a:pt x="85" y="90"/>
                    </a:lnTo>
                    <a:lnTo>
                      <a:pt x="85" y="86"/>
                    </a:lnTo>
                    <a:lnTo>
                      <a:pt x="102" y="86"/>
                    </a:lnTo>
                    <a:lnTo>
                      <a:pt x="107" y="79"/>
                    </a:lnTo>
                    <a:lnTo>
                      <a:pt x="121" y="79"/>
                    </a:lnTo>
                    <a:lnTo>
                      <a:pt x="122" y="74"/>
                    </a:lnTo>
                    <a:lnTo>
                      <a:pt x="142" y="76"/>
                    </a:lnTo>
                    <a:lnTo>
                      <a:pt x="144" y="69"/>
                    </a:lnTo>
                    <a:lnTo>
                      <a:pt x="187" y="70"/>
                    </a:lnTo>
                    <a:lnTo>
                      <a:pt x="192" y="63"/>
                    </a:lnTo>
                    <a:lnTo>
                      <a:pt x="202" y="66"/>
                    </a:lnTo>
                    <a:lnTo>
                      <a:pt x="207" y="60"/>
                    </a:lnTo>
                    <a:lnTo>
                      <a:pt x="207" y="71"/>
                    </a:lnTo>
                    <a:lnTo>
                      <a:pt x="199" y="76"/>
                    </a:lnTo>
                    <a:lnTo>
                      <a:pt x="211" y="77"/>
                    </a:lnTo>
                    <a:lnTo>
                      <a:pt x="209" y="81"/>
                    </a:lnTo>
                    <a:lnTo>
                      <a:pt x="209" y="88"/>
                    </a:lnTo>
                    <a:lnTo>
                      <a:pt x="201" y="91"/>
                    </a:lnTo>
                    <a:lnTo>
                      <a:pt x="201" y="95"/>
                    </a:lnTo>
                    <a:lnTo>
                      <a:pt x="202" y="96"/>
                    </a:lnTo>
                    <a:lnTo>
                      <a:pt x="201" y="99"/>
                    </a:lnTo>
                    <a:lnTo>
                      <a:pt x="156" y="98"/>
                    </a:lnTo>
                    <a:lnTo>
                      <a:pt x="153" y="106"/>
                    </a:lnTo>
                    <a:lnTo>
                      <a:pt x="149" y="104"/>
                    </a:lnTo>
                    <a:lnTo>
                      <a:pt x="149" y="98"/>
                    </a:lnTo>
                    <a:lnTo>
                      <a:pt x="133" y="106"/>
                    </a:lnTo>
                    <a:lnTo>
                      <a:pt x="136" y="112"/>
                    </a:lnTo>
                    <a:lnTo>
                      <a:pt x="132" y="118"/>
                    </a:lnTo>
                    <a:lnTo>
                      <a:pt x="145" y="123"/>
                    </a:lnTo>
                    <a:lnTo>
                      <a:pt x="147" y="128"/>
                    </a:lnTo>
                    <a:lnTo>
                      <a:pt x="156" y="127"/>
                    </a:lnTo>
                    <a:lnTo>
                      <a:pt x="158" y="130"/>
                    </a:lnTo>
                    <a:lnTo>
                      <a:pt x="158" y="135"/>
                    </a:lnTo>
                    <a:lnTo>
                      <a:pt x="161" y="140"/>
                    </a:lnTo>
                    <a:lnTo>
                      <a:pt x="153" y="144"/>
                    </a:lnTo>
                    <a:lnTo>
                      <a:pt x="144" y="135"/>
                    </a:lnTo>
                    <a:lnTo>
                      <a:pt x="118" y="138"/>
                    </a:lnTo>
                    <a:lnTo>
                      <a:pt x="117" y="131"/>
                    </a:lnTo>
                    <a:lnTo>
                      <a:pt x="112" y="130"/>
                    </a:lnTo>
                    <a:lnTo>
                      <a:pt x="112" y="124"/>
                    </a:lnTo>
                    <a:lnTo>
                      <a:pt x="98" y="119"/>
                    </a:lnTo>
                    <a:lnTo>
                      <a:pt x="85" y="128"/>
                    </a:lnTo>
                    <a:lnTo>
                      <a:pt x="84" y="131"/>
                    </a:lnTo>
                    <a:lnTo>
                      <a:pt x="86" y="138"/>
                    </a:lnTo>
                    <a:lnTo>
                      <a:pt x="94" y="145"/>
                    </a:lnTo>
                    <a:lnTo>
                      <a:pt x="96" y="154"/>
                    </a:lnTo>
                    <a:lnTo>
                      <a:pt x="106" y="158"/>
                    </a:lnTo>
                    <a:lnTo>
                      <a:pt x="115" y="172"/>
                    </a:lnTo>
                    <a:lnTo>
                      <a:pt x="139" y="174"/>
                    </a:lnTo>
                    <a:lnTo>
                      <a:pt x="142" y="183"/>
                    </a:lnTo>
                    <a:lnTo>
                      <a:pt x="142" y="194"/>
                    </a:lnTo>
                    <a:lnTo>
                      <a:pt x="150" y="203"/>
                    </a:lnTo>
                    <a:lnTo>
                      <a:pt x="160" y="199"/>
                    </a:lnTo>
                    <a:lnTo>
                      <a:pt x="161" y="199"/>
                    </a:lnTo>
                    <a:lnTo>
                      <a:pt x="161" y="194"/>
                    </a:lnTo>
                    <a:lnTo>
                      <a:pt x="175" y="188"/>
                    </a:lnTo>
                    <a:lnTo>
                      <a:pt x="181" y="195"/>
                    </a:lnTo>
                    <a:lnTo>
                      <a:pt x="182" y="183"/>
                    </a:lnTo>
                    <a:lnTo>
                      <a:pt x="186" y="183"/>
                    </a:lnTo>
                    <a:lnTo>
                      <a:pt x="187" y="190"/>
                    </a:lnTo>
                    <a:lnTo>
                      <a:pt x="203" y="199"/>
                    </a:lnTo>
                    <a:lnTo>
                      <a:pt x="218" y="187"/>
                    </a:lnTo>
                    <a:lnTo>
                      <a:pt x="241" y="195"/>
                    </a:lnTo>
                    <a:lnTo>
                      <a:pt x="246" y="192"/>
                    </a:lnTo>
                    <a:lnTo>
                      <a:pt x="249" y="187"/>
                    </a:lnTo>
                    <a:lnTo>
                      <a:pt x="250" y="188"/>
                    </a:lnTo>
                    <a:lnTo>
                      <a:pt x="249" y="198"/>
                    </a:lnTo>
                    <a:lnTo>
                      <a:pt x="244" y="206"/>
                    </a:lnTo>
                    <a:lnTo>
                      <a:pt x="246" y="224"/>
                    </a:lnTo>
                    <a:lnTo>
                      <a:pt x="254" y="232"/>
                    </a:lnTo>
                    <a:lnTo>
                      <a:pt x="257" y="228"/>
                    </a:lnTo>
                    <a:lnTo>
                      <a:pt x="255" y="236"/>
                    </a:lnTo>
                    <a:lnTo>
                      <a:pt x="263" y="243"/>
                    </a:lnTo>
                    <a:lnTo>
                      <a:pt x="261" y="246"/>
                    </a:lnTo>
                    <a:lnTo>
                      <a:pt x="262" y="249"/>
                    </a:lnTo>
                    <a:lnTo>
                      <a:pt x="278" y="253"/>
                    </a:lnTo>
                    <a:lnTo>
                      <a:pt x="279" y="259"/>
                    </a:lnTo>
                    <a:lnTo>
                      <a:pt x="283" y="260"/>
                    </a:lnTo>
                    <a:lnTo>
                      <a:pt x="287" y="254"/>
                    </a:lnTo>
                    <a:lnTo>
                      <a:pt x="287" y="259"/>
                    </a:lnTo>
                    <a:lnTo>
                      <a:pt x="315" y="255"/>
                    </a:lnTo>
                    <a:lnTo>
                      <a:pt x="328" y="247"/>
                    </a:lnTo>
                    <a:lnTo>
                      <a:pt x="332" y="236"/>
                    </a:lnTo>
                    <a:lnTo>
                      <a:pt x="333" y="221"/>
                    </a:lnTo>
                    <a:lnTo>
                      <a:pt x="337" y="217"/>
                    </a:lnTo>
                    <a:lnTo>
                      <a:pt x="354" y="211"/>
                    </a:lnTo>
                    <a:lnTo>
                      <a:pt x="367" y="199"/>
                    </a:lnTo>
                    <a:lnTo>
                      <a:pt x="376" y="204"/>
                    </a:lnTo>
                    <a:lnTo>
                      <a:pt x="376" y="209"/>
                    </a:lnTo>
                    <a:lnTo>
                      <a:pt x="379" y="211"/>
                    </a:lnTo>
                    <a:lnTo>
                      <a:pt x="385" y="204"/>
                    </a:lnTo>
                    <a:lnTo>
                      <a:pt x="391" y="208"/>
                    </a:lnTo>
                    <a:lnTo>
                      <a:pt x="405" y="194"/>
                    </a:lnTo>
                    <a:lnTo>
                      <a:pt x="414" y="188"/>
                    </a:lnTo>
                    <a:lnTo>
                      <a:pt x="413" y="182"/>
                    </a:lnTo>
                    <a:lnTo>
                      <a:pt x="418" y="174"/>
                    </a:lnTo>
                    <a:lnTo>
                      <a:pt x="417" y="166"/>
                    </a:lnTo>
                    <a:lnTo>
                      <a:pt x="424" y="163"/>
                    </a:lnTo>
                    <a:lnTo>
                      <a:pt x="425" y="156"/>
                    </a:lnTo>
                    <a:lnTo>
                      <a:pt x="425" y="150"/>
                    </a:lnTo>
                    <a:lnTo>
                      <a:pt x="428" y="150"/>
                    </a:lnTo>
                    <a:lnTo>
                      <a:pt x="427" y="142"/>
                    </a:lnTo>
                    <a:lnTo>
                      <a:pt x="422" y="140"/>
                    </a:lnTo>
                    <a:lnTo>
                      <a:pt x="421" y="124"/>
                    </a:lnTo>
                    <a:lnTo>
                      <a:pt x="433" y="114"/>
                    </a:lnTo>
                    <a:lnTo>
                      <a:pt x="434" y="109"/>
                    </a:lnTo>
                    <a:lnTo>
                      <a:pt x="443" y="112"/>
                    </a:lnTo>
                    <a:lnTo>
                      <a:pt x="448" y="98"/>
                    </a:lnTo>
                    <a:lnTo>
                      <a:pt x="455" y="99"/>
                    </a:lnTo>
                    <a:lnTo>
                      <a:pt x="459" y="87"/>
                    </a:lnTo>
                    <a:lnTo>
                      <a:pt x="465" y="86"/>
                    </a:lnTo>
                    <a:lnTo>
                      <a:pt x="462" y="84"/>
                    </a:lnTo>
                    <a:lnTo>
                      <a:pt x="462" y="79"/>
                    </a:lnTo>
                    <a:lnTo>
                      <a:pt x="472" y="66"/>
                    </a:lnTo>
                    <a:lnTo>
                      <a:pt x="473" y="60"/>
                    </a:lnTo>
                    <a:lnTo>
                      <a:pt x="491" y="57"/>
                    </a:lnTo>
                    <a:lnTo>
                      <a:pt x="494" y="44"/>
                    </a:lnTo>
                    <a:lnTo>
                      <a:pt x="496" y="37"/>
                    </a:lnTo>
                    <a:lnTo>
                      <a:pt x="487" y="28"/>
                    </a:lnTo>
                    <a:lnTo>
                      <a:pt x="488" y="26"/>
                    </a:lnTo>
                    <a:lnTo>
                      <a:pt x="487" y="21"/>
                    </a:lnTo>
                    <a:lnTo>
                      <a:pt x="492" y="11"/>
                    </a:lnTo>
                    <a:lnTo>
                      <a:pt x="491" y="4"/>
                    </a:lnTo>
                    <a:lnTo>
                      <a:pt x="492" y="0"/>
                    </a:lnTo>
                    <a:lnTo>
                      <a:pt x="235" y="0"/>
                    </a:lnTo>
                    <a:lnTo>
                      <a:pt x="235" y="4"/>
                    </a:lnTo>
                    <a:lnTo>
                      <a:pt x="230" y="2"/>
                    </a:lnTo>
                    <a:lnTo>
                      <a:pt x="228" y="11"/>
                    </a:lnTo>
                    <a:lnTo>
                      <a:pt x="222" y="5"/>
                    </a:lnTo>
                    <a:lnTo>
                      <a:pt x="219" y="0"/>
                    </a:lnTo>
                    <a:lnTo>
                      <a:pt x="67" y="0"/>
                    </a:lnTo>
                    <a:lnTo>
                      <a:pt x="67" y="0"/>
                    </a:lnTo>
                    <a:lnTo>
                      <a:pt x="66" y="0"/>
                    </a:lnTo>
                    <a:lnTo>
                      <a:pt x="35" y="0"/>
                    </a:lnTo>
                    <a:lnTo>
                      <a:pt x="31" y="6"/>
                    </a:lnTo>
                    <a:lnTo>
                      <a:pt x="32" y="1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05" name="Greenland"/>
            <p:cNvSpPr>
              <a:spLocks noChangeAspect="1"/>
            </p:cNvSpPr>
            <p:nvPr>
              <p:custDataLst>
                <p:tags r:id="rId96"/>
              </p:custDataLst>
            </p:nvPr>
          </p:nvSpPr>
          <p:spPr bwMode="gray">
            <a:xfrm>
              <a:off x="3323171" y="2703411"/>
              <a:ext cx="9362" cy="9362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22"/>
                </a:cxn>
                <a:cxn ang="0">
                  <a:pos x="2" y="0"/>
                </a:cxn>
                <a:cxn ang="0">
                  <a:pos x="0" y="10"/>
                </a:cxn>
                <a:cxn ang="0">
                  <a:pos x="0" y="13"/>
                </a:cxn>
                <a:cxn ang="0">
                  <a:pos x="1" y="15"/>
                </a:cxn>
                <a:cxn ang="0">
                  <a:pos x="13" y="13"/>
                </a:cxn>
                <a:cxn ang="0">
                  <a:pos x="19" y="10"/>
                </a:cxn>
                <a:cxn ang="0">
                  <a:pos x="19" y="6"/>
                </a:cxn>
                <a:cxn ang="0">
                  <a:pos x="8" y="0"/>
                </a:cxn>
                <a:cxn ang="0">
                  <a:pos x="3" y="0"/>
                </a:cxn>
              </a:cxnLst>
              <a:rect l="0" t="0" r="r" b="b"/>
              <a:pathLst>
                <a:path w="19" h="22">
                  <a:moveTo>
                    <a:pt x="3" y="0"/>
                  </a:moveTo>
                  <a:lnTo>
                    <a:pt x="3" y="22"/>
                  </a:lnTo>
                  <a:lnTo>
                    <a:pt x="2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1" y="15"/>
                  </a:lnTo>
                  <a:lnTo>
                    <a:pt x="13" y="13"/>
                  </a:lnTo>
                  <a:lnTo>
                    <a:pt x="19" y="10"/>
                  </a:lnTo>
                  <a:lnTo>
                    <a:pt x="19" y="6"/>
                  </a:lnTo>
                  <a:lnTo>
                    <a:pt x="8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06" name="Greenland"/>
            <p:cNvSpPr>
              <a:spLocks noChangeAspect="1"/>
            </p:cNvSpPr>
            <p:nvPr>
              <p:custDataLst>
                <p:tags r:id="rId97"/>
              </p:custDataLst>
            </p:nvPr>
          </p:nvSpPr>
          <p:spPr bwMode="gray">
            <a:xfrm>
              <a:off x="3821719" y="1853774"/>
              <a:ext cx="67877" cy="65537"/>
            </a:xfrm>
            <a:custGeom>
              <a:avLst/>
              <a:gdLst/>
              <a:ahLst/>
              <a:cxnLst>
                <a:cxn ang="0">
                  <a:pos x="82" y="27"/>
                </a:cxn>
                <a:cxn ang="0">
                  <a:pos x="96" y="46"/>
                </a:cxn>
                <a:cxn ang="0">
                  <a:pos x="118" y="55"/>
                </a:cxn>
                <a:cxn ang="0">
                  <a:pos x="128" y="70"/>
                </a:cxn>
                <a:cxn ang="0">
                  <a:pos x="137" y="68"/>
                </a:cxn>
                <a:cxn ang="0">
                  <a:pos x="141" y="90"/>
                </a:cxn>
                <a:cxn ang="0">
                  <a:pos x="130" y="87"/>
                </a:cxn>
                <a:cxn ang="0">
                  <a:pos x="123" y="82"/>
                </a:cxn>
                <a:cxn ang="0">
                  <a:pos x="107" y="81"/>
                </a:cxn>
                <a:cxn ang="0">
                  <a:pos x="97" y="92"/>
                </a:cxn>
                <a:cxn ang="0">
                  <a:pos x="110" y="101"/>
                </a:cxn>
                <a:cxn ang="0">
                  <a:pos x="118" y="112"/>
                </a:cxn>
                <a:cxn ang="0">
                  <a:pos x="129" y="113"/>
                </a:cxn>
                <a:cxn ang="0">
                  <a:pos x="128" y="138"/>
                </a:cxn>
                <a:cxn ang="0">
                  <a:pos x="121" y="140"/>
                </a:cxn>
                <a:cxn ang="0">
                  <a:pos x="110" y="133"/>
                </a:cxn>
                <a:cxn ang="0">
                  <a:pos x="110" y="122"/>
                </a:cxn>
                <a:cxn ang="0">
                  <a:pos x="97" y="128"/>
                </a:cxn>
                <a:cxn ang="0">
                  <a:pos x="75" y="98"/>
                </a:cxn>
                <a:cxn ang="0">
                  <a:pos x="31" y="76"/>
                </a:cxn>
                <a:cxn ang="0">
                  <a:pos x="24" y="62"/>
                </a:cxn>
                <a:cxn ang="0">
                  <a:pos x="10" y="50"/>
                </a:cxn>
                <a:cxn ang="0">
                  <a:pos x="8" y="39"/>
                </a:cxn>
                <a:cxn ang="0">
                  <a:pos x="4" y="33"/>
                </a:cxn>
                <a:cxn ang="0">
                  <a:pos x="4" y="26"/>
                </a:cxn>
                <a:cxn ang="0">
                  <a:pos x="1" y="11"/>
                </a:cxn>
                <a:cxn ang="0">
                  <a:pos x="0" y="7"/>
                </a:cxn>
                <a:cxn ang="0">
                  <a:pos x="15" y="0"/>
                </a:cxn>
                <a:cxn ang="0">
                  <a:pos x="49" y="9"/>
                </a:cxn>
                <a:cxn ang="0">
                  <a:pos x="58" y="5"/>
                </a:cxn>
                <a:cxn ang="0">
                  <a:pos x="75" y="15"/>
                </a:cxn>
                <a:cxn ang="0">
                  <a:pos x="82" y="27"/>
                </a:cxn>
              </a:cxnLst>
              <a:rect l="0" t="0" r="r" b="b"/>
              <a:pathLst>
                <a:path w="141" h="140">
                  <a:moveTo>
                    <a:pt x="82" y="27"/>
                  </a:moveTo>
                  <a:lnTo>
                    <a:pt x="96" y="46"/>
                  </a:lnTo>
                  <a:lnTo>
                    <a:pt x="118" y="55"/>
                  </a:lnTo>
                  <a:lnTo>
                    <a:pt x="128" y="70"/>
                  </a:lnTo>
                  <a:lnTo>
                    <a:pt x="137" y="68"/>
                  </a:lnTo>
                  <a:lnTo>
                    <a:pt x="141" y="90"/>
                  </a:lnTo>
                  <a:lnTo>
                    <a:pt x="130" y="87"/>
                  </a:lnTo>
                  <a:lnTo>
                    <a:pt x="123" y="82"/>
                  </a:lnTo>
                  <a:lnTo>
                    <a:pt x="107" y="81"/>
                  </a:lnTo>
                  <a:lnTo>
                    <a:pt x="97" y="92"/>
                  </a:lnTo>
                  <a:lnTo>
                    <a:pt x="110" y="101"/>
                  </a:lnTo>
                  <a:lnTo>
                    <a:pt x="118" y="112"/>
                  </a:lnTo>
                  <a:lnTo>
                    <a:pt x="129" y="113"/>
                  </a:lnTo>
                  <a:lnTo>
                    <a:pt x="128" y="138"/>
                  </a:lnTo>
                  <a:lnTo>
                    <a:pt x="121" y="140"/>
                  </a:lnTo>
                  <a:lnTo>
                    <a:pt x="110" y="133"/>
                  </a:lnTo>
                  <a:lnTo>
                    <a:pt x="110" y="122"/>
                  </a:lnTo>
                  <a:lnTo>
                    <a:pt x="97" y="128"/>
                  </a:lnTo>
                  <a:lnTo>
                    <a:pt x="75" y="98"/>
                  </a:lnTo>
                  <a:lnTo>
                    <a:pt x="31" y="76"/>
                  </a:lnTo>
                  <a:lnTo>
                    <a:pt x="24" y="62"/>
                  </a:lnTo>
                  <a:lnTo>
                    <a:pt x="10" y="50"/>
                  </a:lnTo>
                  <a:lnTo>
                    <a:pt x="8" y="39"/>
                  </a:lnTo>
                  <a:lnTo>
                    <a:pt x="4" y="33"/>
                  </a:lnTo>
                  <a:lnTo>
                    <a:pt x="4" y="26"/>
                  </a:lnTo>
                  <a:lnTo>
                    <a:pt x="1" y="11"/>
                  </a:lnTo>
                  <a:lnTo>
                    <a:pt x="0" y="7"/>
                  </a:lnTo>
                  <a:lnTo>
                    <a:pt x="15" y="0"/>
                  </a:lnTo>
                  <a:lnTo>
                    <a:pt x="49" y="9"/>
                  </a:lnTo>
                  <a:lnTo>
                    <a:pt x="58" y="5"/>
                  </a:lnTo>
                  <a:lnTo>
                    <a:pt x="75" y="15"/>
                  </a:lnTo>
                  <a:lnTo>
                    <a:pt x="82" y="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07" name="Greenland"/>
            <p:cNvSpPr>
              <a:spLocks noChangeAspect="1"/>
            </p:cNvSpPr>
            <p:nvPr>
              <p:custDataLst>
                <p:tags r:id="rId98"/>
              </p:custDataLst>
            </p:nvPr>
          </p:nvSpPr>
          <p:spPr bwMode="gray">
            <a:xfrm>
              <a:off x="3732776" y="2005913"/>
              <a:ext cx="67877" cy="46812"/>
            </a:xfrm>
            <a:custGeom>
              <a:avLst/>
              <a:gdLst/>
              <a:ahLst/>
              <a:cxnLst>
                <a:cxn ang="0">
                  <a:pos x="144" y="31"/>
                </a:cxn>
                <a:cxn ang="0">
                  <a:pos x="144" y="51"/>
                </a:cxn>
                <a:cxn ang="0">
                  <a:pos x="146" y="69"/>
                </a:cxn>
                <a:cxn ang="0">
                  <a:pos x="134" y="78"/>
                </a:cxn>
                <a:cxn ang="0">
                  <a:pos x="123" y="79"/>
                </a:cxn>
                <a:cxn ang="0">
                  <a:pos x="116" y="76"/>
                </a:cxn>
                <a:cxn ang="0">
                  <a:pos x="112" y="86"/>
                </a:cxn>
                <a:cxn ang="0">
                  <a:pos x="94" y="80"/>
                </a:cxn>
                <a:cxn ang="0">
                  <a:pos x="76" y="87"/>
                </a:cxn>
                <a:cxn ang="0">
                  <a:pos x="32" y="98"/>
                </a:cxn>
                <a:cxn ang="0">
                  <a:pos x="10" y="102"/>
                </a:cxn>
                <a:cxn ang="0">
                  <a:pos x="0" y="100"/>
                </a:cxn>
                <a:cxn ang="0">
                  <a:pos x="1" y="82"/>
                </a:cxn>
                <a:cxn ang="0">
                  <a:pos x="4" y="70"/>
                </a:cxn>
                <a:cxn ang="0">
                  <a:pos x="25" y="58"/>
                </a:cxn>
                <a:cxn ang="0">
                  <a:pos x="46" y="39"/>
                </a:cxn>
                <a:cxn ang="0">
                  <a:pos x="51" y="33"/>
                </a:cxn>
                <a:cxn ang="0">
                  <a:pos x="91" y="22"/>
                </a:cxn>
                <a:cxn ang="0">
                  <a:pos x="105" y="9"/>
                </a:cxn>
                <a:cxn ang="0">
                  <a:pos x="118" y="0"/>
                </a:cxn>
                <a:cxn ang="0">
                  <a:pos x="123" y="8"/>
                </a:cxn>
                <a:cxn ang="0">
                  <a:pos x="140" y="22"/>
                </a:cxn>
                <a:cxn ang="0">
                  <a:pos x="144" y="31"/>
                </a:cxn>
              </a:cxnLst>
              <a:rect l="0" t="0" r="r" b="b"/>
              <a:pathLst>
                <a:path w="146" h="102">
                  <a:moveTo>
                    <a:pt x="144" y="31"/>
                  </a:moveTo>
                  <a:lnTo>
                    <a:pt x="144" y="51"/>
                  </a:lnTo>
                  <a:lnTo>
                    <a:pt x="146" y="69"/>
                  </a:lnTo>
                  <a:lnTo>
                    <a:pt x="134" y="78"/>
                  </a:lnTo>
                  <a:lnTo>
                    <a:pt x="123" y="79"/>
                  </a:lnTo>
                  <a:lnTo>
                    <a:pt x="116" y="76"/>
                  </a:lnTo>
                  <a:lnTo>
                    <a:pt x="112" y="86"/>
                  </a:lnTo>
                  <a:lnTo>
                    <a:pt x="94" y="80"/>
                  </a:lnTo>
                  <a:lnTo>
                    <a:pt x="76" y="87"/>
                  </a:lnTo>
                  <a:lnTo>
                    <a:pt x="32" y="98"/>
                  </a:lnTo>
                  <a:lnTo>
                    <a:pt x="10" y="102"/>
                  </a:lnTo>
                  <a:lnTo>
                    <a:pt x="0" y="100"/>
                  </a:lnTo>
                  <a:lnTo>
                    <a:pt x="1" y="82"/>
                  </a:lnTo>
                  <a:lnTo>
                    <a:pt x="4" y="70"/>
                  </a:lnTo>
                  <a:lnTo>
                    <a:pt x="25" y="58"/>
                  </a:lnTo>
                  <a:lnTo>
                    <a:pt x="46" y="39"/>
                  </a:lnTo>
                  <a:lnTo>
                    <a:pt x="51" y="33"/>
                  </a:lnTo>
                  <a:lnTo>
                    <a:pt x="91" y="22"/>
                  </a:lnTo>
                  <a:lnTo>
                    <a:pt x="105" y="9"/>
                  </a:lnTo>
                  <a:lnTo>
                    <a:pt x="118" y="0"/>
                  </a:lnTo>
                  <a:lnTo>
                    <a:pt x="123" y="8"/>
                  </a:lnTo>
                  <a:lnTo>
                    <a:pt x="140" y="22"/>
                  </a:lnTo>
                  <a:lnTo>
                    <a:pt x="144" y="3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08" name="Greenland"/>
            <p:cNvSpPr>
              <a:spLocks noChangeAspect="1"/>
            </p:cNvSpPr>
            <p:nvPr>
              <p:custDataLst>
                <p:tags r:id="rId99"/>
              </p:custDataLst>
            </p:nvPr>
          </p:nvSpPr>
          <p:spPr bwMode="gray">
            <a:xfrm>
              <a:off x="3325512" y="2696390"/>
              <a:ext cx="21065" cy="7022"/>
            </a:xfrm>
            <a:custGeom>
              <a:avLst/>
              <a:gdLst/>
              <a:ahLst/>
              <a:cxnLst>
                <a:cxn ang="0">
                  <a:pos x="44" y="4"/>
                </a:cxn>
                <a:cxn ang="0">
                  <a:pos x="41" y="6"/>
                </a:cxn>
                <a:cxn ang="0">
                  <a:pos x="14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1" y="9"/>
                </a:cxn>
                <a:cxn ang="0">
                  <a:pos x="6" y="15"/>
                </a:cxn>
                <a:cxn ang="0">
                  <a:pos x="15" y="15"/>
                </a:cxn>
                <a:cxn ang="0">
                  <a:pos x="25" y="15"/>
                </a:cxn>
                <a:cxn ang="0">
                  <a:pos x="25" y="10"/>
                </a:cxn>
                <a:cxn ang="0">
                  <a:pos x="27" y="6"/>
                </a:cxn>
                <a:cxn ang="0">
                  <a:pos x="41" y="7"/>
                </a:cxn>
                <a:cxn ang="0">
                  <a:pos x="44" y="4"/>
                </a:cxn>
              </a:cxnLst>
              <a:rect l="0" t="0" r="r" b="b"/>
              <a:pathLst>
                <a:path w="44" h="15">
                  <a:moveTo>
                    <a:pt x="44" y="4"/>
                  </a:moveTo>
                  <a:lnTo>
                    <a:pt x="41" y="6"/>
                  </a:lnTo>
                  <a:lnTo>
                    <a:pt x="14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1" y="9"/>
                  </a:lnTo>
                  <a:lnTo>
                    <a:pt x="6" y="15"/>
                  </a:lnTo>
                  <a:lnTo>
                    <a:pt x="15" y="15"/>
                  </a:lnTo>
                  <a:lnTo>
                    <a:pt x="25" y="15"/>
                  </a:lnTo>
                  <a:lnTo>
                    <a:pt x="25" y="10"/>
                  </a:lnTo>
                  <a:lnTo>
                    <a:pt x="27" y="6"/>
                  </a:lnTo>
                  <a:lnTo>
                    <a:pt x="41" y="7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09" name="Greenland"/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 bwMode="gray">
            <a:xfrm>
              <a:off x="2581201" y="1055629"/>
              <a:ext cx="1420744" cy="1643101"/>
            </a:xfrm>
            <a:custGeom>
              <a:avLst/>
              <a:gdLst/>
              <a:ahLst/>
              <a:cxnLst>
                <a:cxn ang="0">
                  <a:pos x="334" y="269"/>
                </a:cxn>
                <a:cxn ang="0">
                  <a:pos x="56" y="423"/>
                </a:cxn>
                <a:cxn ang="0">
                  <a:pos x="87" y="620"/>
                </a:cxn>
                <a:cxn ang="0">
                  <a:pos x="345" y="649"/>
                </a:cxn>
                <a:cxn ang="0">
                  <a:pos x="370" y="802"/>
                </a:cxn>
                <a:cxn ang="0">
                  <a:pos x="203" y="910"/>
                </a:cxn>
                <a:cxn ang="0">
                  <a:pos x="382" y="1005"/>
                </a:cxn>
                <a:cxn ang="0">
                  <a:pos x="663" y="1060"/>
                </a:cxn>
                <a:cxn ang="0">
                  <a:pos x="789" y="1212"/>
                </a:cxn>
                <a:cxn ang="0">
                  <a:pos x="914" y="1457"/>
                </a:cxn>
                <a:cxn ang="0">
                  <a:pos x="957" y="1666"/>
                </a:cxn>
                <a:cxn ang="0">
                  <a:pos x="946" y="1937"/>
                </a:cxn>
                <a:cxn ang="0">
                  <a:pos x="1155" y="1924"/>
                </a:cxn>
                <a:cxn ang="0">
                  <a:pos x="1212" y="2100"/>
                </a:cxn>
                <a:cxn ang="0">
                  <a:pos x="1198" y="2196"/>
                </a:cxn>
                <a:cxn ang="0">
                  <a:pos x="1193" y="2371"/>
                </a:cxn>
                <a:cxn ang="0">
                  <a:pos x="1189" y="2458"/>
                </a:cxn>
                <a:cxn ang="0">
                  <a:pos x="1066" y="2539"/>
                </a:cxn>
                <a:cxn ang="0">
                  <a:pos x="1064" y="2750"/>
                </a:cxn>
                <a:cxn ang="0">
                  <a:pos x="1125" y="2895"/>
                </a:cxn>
                <a:cxn ang="0">
                  <a:pos x="1211" y="2960"/>
                </a:cxn>
                <a:cxn ang="0">
                  <a:pos x="1195" y="3116"/>
                </a:cxn>
                <a:cxn ang="0">
                  <a:pos x="1279" y="3272"/>
                </a:cxn>
                <a:cxn ang="0">
                  <a:pos x="1338" y="3337"/>
                </a:cxn>
                <a:cxn ang="0">
                  <a:pos x="1363" y="3416"/>
                </a:cxn>
                <a:cxn ang="0">
                  <a:pos x="1470" y="3433"/>
                </a:cxn>
                <a:cxn ang="0">
                  <a:pos x="1537" y="3452"/>
                </a:cxn>
                <a:cxn ang="0">
                  <a:pos x="1629" y="3467"/>
                </a:cxn>
                <a:cxn ang="0">
                  <a:pos x="1687" y="3305"/>
                </a:cxn>
                <a:cxn ang="0">
                  <a:pos x="1689" y="3152"/>
                </a:cxn>
                <a:cxn ang="0">
                  <a:pos x="1764" y="3101"/>
                </a:cxn>
                <a:cxn ang="0">
                  <a:pos x="1753" y="2943"/>
                </a:cxn>
                <a:cxn ang="0">
                  <a:pos x="1812" y="2852"/>
                </a:cxn>
                <a:cxn ang="0">
                  <a:pos x="1901" y="2792"/>
                </a:cxn>
                <a:cxn ang="0">
                  <a:pos x="1930" y="2799"/>
                </a:cxn>
                <a:cxn ang="0">
                  <a:pos x="2028" y="2774"/>
                </a:cxn>
                <a:cxn ang="0">
                  <a:pos x="2118" y="2690"/>
                </a:cxn>
                <a:cxn ang="0">
                  <a:pos x="2174" y="2551"/>
                </a:cxn>
                <a:cxn ang="0">
                  <a:pos x="2221" y="2438"/>
                </a:cxn>
                <a:cxn ang="0">
                  <a:pos x="2324" y="2497"/>
                </a:cxn>
                <a:cxn ang="0">
                  <a:pos x="2398" y="2454"/>
                </a:cxn>
                <a:cxn ang="0">
                  <a:pos x="2533" y="2404"/>
                </a:cxn>
                <a:cxn ang="0">
                  <a:pos x="2608" y="2324"/>
                </a:cxn>
                <a:cxn ang="0">
                  <a:pos x="2693" y="2260"/>
                </a:cxn>
                <a:cxn ang="0">
                  <a:pos x="2744" y="2191"/>
                </a:cxn>
                <a:cxn ang="0">
                  <a:pos x="2518" y="2132"/>
                </a:cxn>
                <a:cxn ang="0">
                  <a:pos x="2535" y="1960"/>
                </a:cxn>
                <a:cxn ang="0">
                  <a:pos x="2675" y="2082"/>
                </a:cxn>
                <a:cxn ang="0">
                  <a:pos x="2798" y="2021"/>
                </a:cxn>
                <a:cxn ang="0">
                  <a:pos x="2734" y="1919"/>
                </a:cxn>
                <a:cxn ang="0">
                  <a:pos x="2637" y="1764"/>
                </a:cxn>
                <a:cxn ang="0">
                  <a:pos x="2526" y="1666"/>
                </a:cxn>
                <a:cxn ang="0">
                  <a:pos x="2780" y="1635"/>
                </a:cxn>
                <a:cxn ang="0">
                  <a:pos x="2761" y="1433"/>
                </a:cxn>
                <a:cxn ang="0">
                  <a:pos x="2855" y="1350"/>
                </a:cxn>
                <a:cxn ang="0">
                  <a:pos x="2914" y="1260"/>
                </a:cxn>
                <a:cxn ang="0">
                  <a:pos x="2866" y="1034"/>
                </a:cxn>
                <a:cxn ang="0">
                  <a:pos x="2763" y="931"/>
                </a:cxn>
                <a:cxn ang="0">
                  <a:pos x="3000" y="845"/>
                </a:cxn>
                <a:cxn ang="0">
                  <a:pos x="2868" y="650"/>
                </a:cxn>
                <a:cxn ang="0">
                  <a:pos x="2831" y="472"/>
                </a:cxn>
                <a:cxn ang="0">
                  <a:pos x="2931" y="232"/>
                </a:cxn>
                <a:cxn ang="0">
                  <a:pos x="3035" y="0"/>
                </a:cxn>
              </a:cxnLst>
              <a:rect l="0" t="0" r="r" b="b"/>
              <a:pathLst>
                <a:path w="3035" h="3510">
                  <a:moveTo>
                    <a:pt x="430" y="18"/>
                  </a:moveTo>
                  <a:lnTo>
                    <a:pt x="443" y="28"/>
                  </a:lnTo>
                  <a:lnTo>
                    <a:pt x="454" y="26"/>
                  </a:lnTo>
                  <a:lnTo>
                    <a:pt x="467" y="50"/>
                  </a:lnTo>
                  <a:lnTo>
                    <a:pt x="458" y="63"/>
                  </a:lnTo>
                  <a:lnTo>
                    <a:pt x="442" y="66"/>
                  </a:lnTo>
                  <a:lnTo>
                    <a:pt x="427" y="63"/>
                  </a:lnTo>
                  <a:lnTo>
                    <a:pt x="420" y="93"/>
                  </a:lnTo>
                  <a:lnTo>
                    <a:pt x="430" y="101"/>
                  </a:lnTo>
                  <a:lnTo>
                    <a:pt x="438" y="117"/>
                  </a:lnTo>
                  <a:lnTo>
                    <a:pt x="442" y="131"/>
                  </a:lnTo>
                  <a:lnTo>
                    <a:pt x="442" y="147"/>
                  </a:lnTo>
                  <a:lnTo>
                    <a:pt x="443" y="157"/>
                  </a:lnTo>
                  <a:lnTo>
                    <a:pt x="424" y="183"/>
                  </a:lnTo>
                  <a:lnTo>
                    <a:pt x="416" y="204"/>
                  </a:lnTo>
                  <a:lnTo>
                    <a:pt x="406" y="212"/>
                  </a:lnTo>
                  <a:lnTo>
                    <a:pt x="382" y="255"/>
                  </a:lnTo>
                  <a:lnTo>
                    <a:pt x="377" y="276"/>
                  </a:lnTo>
                  <a:lnTo>
                    <a:pt x="368" y="283"/>
                  </a:lnTo>
                  <a:lnTo>
                    <a:pt x="363" y="278"/>
                  </a:lnTo>
                  <a:lnTo>
                    <a:pt x="351" y="278"/>
                  </a:lnTo>
                  <a:lnTo>
                    <a:pt x="334" y="269"/>
                  </a:lnTo>
                  <a:lnTo>
                    <a:pt x="322" y="278"/>
                  </a:lnTo>
                  <a:lnTo>
                    <a:pt x="311" y="258"/>
                  </a:lnTo>
                  <a:lnTo>
                    <a:pt x="275" y="274"/>
                  </a:lnTo>
                  <a:lnTo>
                    <a:pt x="274" y="284"/>
                  </a:lnTo>
                  <a:lnTo>
                    <a:pt x="263" y="278"/>
                  </a:lnTo>
                  <a:lnTo>
                    <a:pt x="231" y="285"/>
                  </a:lnTo>
                  <a:lnTo>
                    <a:pt x="204" y="305"/>
                  </a:lnTo>
                  <a:lnTo>
                    <a:pt x="195" y="314"/>
                  </a:lnTo>
                  <a:lnTo>
                    <a:pt x="201" y="325"/>
                  </a:lnTo>
                  <a:lnTo>
                    <a:pt x="217" y="330"/>
                  </a:lnTo>
                  <a:lnTo>
                    <a:pt x="216" y="343"/>
                  </a:lnTo>
                  <a:lnTo>
                    <a:pt x="199" y="337"/>
                  </a:lnTo>
                  <a:lnTo>
                    <a:pt x="191" y="341"/>
                  </a:lnTo>
                  <a:lnTo>
                    <a:pt x="189" y="350"/>
                  </a:lnTo>
                  <a:lnTo>
                    <a:pt x="183" y="355"/>
                  </a:lnTo>
                  <a:lnTo>
                    <a:pt x="153" y="357"/>
                  </a:lnTo>
                  <a:lnTo>
                    <a:pt x="140" y="370"/>
                  </a:lnTo>
                  <a:lnTo>
                    <a:pt x="114" y="378"/>
                  </a:lnTo>
                  <a:lnTo>
                    <a:pt x="106" y="411"/>
                  </a:lnTo>
                  <a:lnTo>
                    <a:pt x="87" y="402"/>
                  </a:lnTo>
                  <a:lnTo>
                    <a:pt x="65" y="409"/>
                  </a:lnTo>
                  <a:lnTo>
                    <a:pt x="56" y="423"/>
                  </a:lnTo>
                  <a:lnTo>
                    <a:pt x="32" y="432"/>
                  </a:lnTo>
                  <a:lnTo>
                    <a:pt x="18" y="443"/>
                  </a:lnTo>
                  <a:lnTo>
                    <a:pt x="15" y="458"/>
                  </a:lnTo>
                  <a:lnTo>
                    <a:pt x="16" y="464"/>
                  </a:lnTo>
                  <a:lnTo>
                    <a:pt x="5" y="485"/>
                  </a:lnTo>
                  <a:lnTo>
                    <a:pt x="6" y="494"/>
                  </a:lnTo>
                  <a:lnTo>
                    <a:pt x="26" y="499"/>
                  </a:lnTo>
                  <a:lnTo>
                    <a:pt x="13" y="504"/>
                  </a:lnTo>
                  <a:lnTo>
                    <a:pt x="13" y="510"/>
                  </a:lnTo>
                  <a:lnTo>
                    <a:pt x="10" y="526"/>
                  </a:lnTo>
                  <a:lnTo>
                    <a:pt x="0" y="529"/>
                  </a:lnTo>
                  <a:lnTo>
                    <a:pt x="4" y="540"/>
                  </a:lnTo>
                  <a:lnTo>
                    <a:pt x="18" y="555"/>
                  </a:lnTo>
                  <a:lnTo>
                    <a:pt x="33" y="563"/>
                  </a:lnTo>
                  <a:lnTo>
                    <a:pt x="37" y="572"/>
                  </a:lnTo>
                  <a:lnTo>
                    <a:pt x="37" y="586"/>
                  </a:lnTo>
                  <a:lnTo>
                    <a:pt x="39" y="591"/>
                  </a:lnTo>
                  <a:lnTo>
                    <a:pt x="58" y="601"/>
                  </a:lnTo>
                  <a:lnTo>
                    <a:pt x="65" y="598"/>
                  </a:lnTo>
                  <a:lnTo>
                    <a:pt x="76" y="607"/>
                  </a:lnTo>
                  <a:lnTo>
                    <a:pt x="91" y="608"/>
                  </a:lnTo>
                  <a:lnTo>
                    <a:pt x="87" y="620"/>
                  </a:lnTo>
                  <a:lnTo>
                    <a:pt x="92" y="634"/>
                  </a:lnTo>
                  <a:lnTo>
                    <a:pt x="114" y="630"/>
                  </a:lnTo>
                  <a:lnTo>
                    <a:pt x="155" y="614"/>
                  </a:lnTo>
                  <a:lnTo>
                    <a:pt x="134" y="641"/>
                  </a:lnTo>
                  <a:lnTo>
                    <a:pt x="128" y="660"/>
                  </a:lnTo>
                  <a:lnTo>
                    <a:pt x="160" y="660"/>
                  </a:lnTo>
                  <a:lnTo>
                    <a:pt x="180" y="649"/>
                  </a:lnTo>
                  <a:lnTo>
                    <a:pt x="180" y="657"/>
                  </a:lnTo>
                  <a:lnTo>
                    <a:pt x="153" y="678"/>
                  </a:lnTo>
                  <a:lnTo>
                    <a:pt x="158" y="693"/>
                  </a:lnTo>
                  <a:lnTo>
                    <a:pt x="196" y="709"/>
                  </a:lnTo>
                  <a:lnTo>
                    <a:pt x="214" y="711"/>
                  </a:lnTo>
                  <a:lnTo>
                    <a:pt x="236" y="700"/>
                  </a:lnTo>
                  <a:lnTo>
                    <a:pt x="237" y="685"/>
                  </a:lnTo>
                  <a:lnTo>
                    <a:pt x="230" y="663"/>
                  </a:lnTo>
                  <a:lnTo>
                    <a:pt x="239" y="660"/>
                  </a:lnTo>
                  <a:lnTo>
                    <a:pt x="253" y="678"/>
                  </a:lnTo>
                  <a:lnTo>
                    <a:pt x="258" y="694"/>
                  </a:lnTo>
                  <a:lnTo>
                    <a:pt x="289" y="694"/>
                  </a:lnTo>
                  <a:lnTo>
                    <a:pt x="314" y="688"/>
                  </a:lnTo>
                  <a:lnTo>
                    <a:pt x="329" y="663"/>
                  </a:lnTo>
                  <a:lnTo>
                    <a:pt x="345" y="649"/>
                  </a:lnTo>
                  <a:lnTo>
                    <a:pt x="356" y="646"/>
                  </a:lnTo>
                  <a:lnTo>
                    <a:pt x="354" y="658"/>
                  </a:lnTo>
                  <a:lnTo>
                    <a:pt x="340" y="666"/>
                  </a:lnTo>
                  <a:lnTo>
                    <a:pt x="345" y="673"/>
                  </a:lnTo>
                  <a:lnTo>
                    <a:pt x="352" y="671"/>
                  </a:lnTo>
                  <a:lnTo>
                    <a:pt x="360" y="658"/>
                  </a:lnTo>
                  <a:lnTo>
                    <a:pt x="375" y="655"/>
                  </a:lnTo>
                  <a:lnTo>
                    <a:pt x="379" y="665"/>
                  </a:lnTo>
                  <a:lnTo>
                    <a:pt x="381" y="678"/>
                  </a:lnTo>
                  <a:lnTo>
                    <a:pt x="393" y="688"/>
                  </a:lnTo>
                  <a:lnTo>
                    <a:pt x="389" y="706"/>
                  </a:lnTo>
                  <a:lnTo>
                    <a:pt x="381" y="716"/>
                  </a:lnTo>
                  <a:lnTo>
                    <a:pt x="365" y="714"/>
                  </a:lnTo>
                  <a:lnTo>
                    <a:pt x="356" y="725"/>
                  </a:lnTo>
                  <a:lnTo>
                    <a:pt x="359" y="736"/>
                  </a:lnTo>
                  <a:lnTo>
                    <a:pt x="365" y="747"/>
                  </a:lnTo>
                  <a:lnTo>
                    <a:pt x="395" y="763"/>
                  </a:lnTo>
                  <a:lnTo>
                    <a:pt x="398" y="769"/>
                  </a:lnTo>
                  <a:lnTo>
                    <a:pt x="397" y="776"/>
                  </a:lnTo>
                  <a:lnTo>
                    <a:pt x="391" y="785"/>
                  </a:lnTo>
                  <a:lnTo>
                    <a:pt x="373" y="791"/>
                  </a:lnTo>
                  <a:lnTo>
                    <a:pt x="370" y="802"/>
                  </a:lnTo>
                  <a:lnTo>
                    <a:pt x="360" y="803"/>
                  </a:lnTo>
                  <a:lnTo>
                    <a:pt x="346" y="796"/>
                  </a:lnTo>
                  <a:lnTo>
                    <a:pt x="289" y="781"/>
                  </a:lnTo>
                  <a:lnTo>
                    <a:pt x="258" y="789"/>
                  </a:lnTo>
                  <a:lnTo>
                    <a:pt x="203" y="776"/>
                  </a:lnTo>
                  <a:lnTo>
                    <a:pt x="146" y="774"/>
                  </a:lnTo>
                  <a:lnTo>
                    <a:pt x="117" y="787"/>
                  </a:lnTo>
                  <a:lnTo>
                    <a:pt x="119" y="797"/>
                  </a:lnTo>
                  <a:lnTo>
                    <a:pt x="106" y="800"/>
                  </a:lnTo>
                  <a:lnTo>
                    <a:pt x="88" y="829"/>
                  </a:lnTo>
                  <a:lnTo>
                    <a:pt x="81" y="840"/>
                  </a:lnTo>
                  <a:lnTo>
                    <a:pt x="87" y="838"/>
                  </a:lnTo>
                  <a:lnTo>
                    <a:pt x="110" y="851"/>
                  </a:lnTo>
                  <a:lnTo>
                    <a:pt x="114" y="860"/>
                  </a:lnTo>
                  <a:lnTo>
                    <a:pt x="113" y="872"/>
                  </a:lnTo>
                  <a:lnTo>
                    <a:pt x="129" y="884"/>
                  </a:lnTo>
                  <a:lnTo>
                    <a:pt x="149" y="881"/>
                  </a:lnTo>
                  <a:lnTo>
                    <a:pt x="173" y="828"/>
                  </a:lnTo>
                  <a:lnTo>
                    <a:pt x="179" y="833"/>
                  </a:lnTo>
                  <a:lnTo>
                    <a:pt x="160" y="870"/>
                  </a:lnTo>
                  <a:lnTo>
                    <a:pt x="166" y="894"/>
                  </a:lnTo>
                  <a:lnTo>
                    <a:pt x="203" y="910"/>
                  </a:lnTo>
                  <a:lnTo>
                    <a:pt x="233" y="915"/>
                  </a:lnTo>
                  <a:lnTo>
                    <a:pt x="262" y="909"/>
                  </a:lnTo>
                  <a:lnTo>
                    <a:pt x="260" y="924"/>
                  </a:lnTo>
                  <a:lnTo>
                    <a:pt x="243" y="937"/>
                  </a:lnTo>
                  <a:lnTo>
                    <a:pt x="222" y="937"/>
                  </a:lnTo>
                  <a:lnTo>
                    <a:pt x="185" y="976"/>
                  </a:lnTo>
                  <a:lnTo>
                    <a:pt x="198" y="996"/>
                  </a:lnTo>
                  <a:lnTo>
                    <a:pt x="214" y="1012"/>
                  </a:lnTo>
                  <a:lnTo>
                    <a:pt x="225" y="1031"/>
                  </a:lnTo>
                  <a:lnTo>
                    <a:pt x="262" y="1061"/>
                  </a:lnTo>
                  <a:lnTo>
                    <a:pt x="292" y="1070"/>
                  </a:lnTo>
                  <a:lnTo>
                    <a:pt x="309" y="1081"/>
                  </a:lnTo>
                  <a:lnTo>
                    <a:pt x="336" y="1087"/>
                  </a:lnTo>
                  <a:lnTo>
                    <a:pt x="362" y="1099"/>
                  </a:lnTo>
                  <a:lnTo>
                    <a:pt x="329" y="1048"/>
                  </a:lnTo>
                  <a:lnTo>
                    <a:pt x="313" y="1037"/>
                  </a:lnTo>
                  <a:lnTo>
                    <a:pt x="328" y="1016"/>
                  </a:lnTo>
                  <a:lnTo>
                    <a:pt x="340" y="1016"/>
                  </a:lnTo>
                  <a:lnTo>
                    <a:pt x="357" y="1043"/>
                  </a:lnTo>
                  <a:lnTo>
                    <a:pt x="368" y="1044"/>
                  </a:lnTo>
                  <a:lnTo>
                    <a:pt x="372" y="1024"/>
                  </a:lnTo>
                  <a:lnTo>
                    <a:pt x="382" y="1005"/>
                  </a:lnTo>
                  <a:lnTo>
                    <a:pt x="410" y="1015"/>
                  </a:lnTo>
                  <a:lnTo>
                    <a:pt x="404" y="1028"/>
                  </a:lnTo>
                  <a:lnTo>
                    <a:pt x="402" y="1054"/>
                  </a:lnTo>
                  <a:lnTo>
                    <a:pt x="419" y="1071"/>
                  </a:lnTo>
                  <a:lnTo>
                    <a:pt x="430" y="1062"/>
                  </a:lnTo>
                  <a:lnTo>
                    <a:pt x="440" y="1042"/>
                  </a:lnTo>
                  <a:lnTo>
                    <a:pt x="453" y="1034"/>
                  </a:lnTo>
                  <a:lnTo>
                    <a:pt x="462" y="1038"/>
                  </a:lnTo>
                  <a:lnTo>
                    <a:pt x="465" y="1023"/>
                  </a:lnTo>
                  <a:lnTo>
                    <a:pt x="476" y="1010"/>
                  </a:lnTo>
                  <a:lnTo>
                    <a:pt x="491" y="1001"/>
                  </a:lnTo>
                  <a:lnTo>
                    <a:pt x="491" y="1021"/>
                  </a:lnTo>
                  <a:lnTo>
                    <a:pt x="502" y="1039"/>
                  </a:lnTo>
                  <a:lnTo>
                    <a:pt x="521" y="1022"/>
                  </a:lnTo>
                  <a:lnTo>
                    <a:pt x="534" y="992"/>
                  </a:lnTo>
                  <a:lnTo>
                    <a:pt x="554" y="997"/>
                  </a:lnTo>
                  <a:lnTo>
                    <a:pt x="562" y="1018"/>
                  </a:lnTo>
                  <a:lnTo>
                    <a:pt x="575" y="1024"/>
                  </a:lnTo>
                  <a:lnTo>
                    <a:pt x="581" y="1019"/>
                  </a:lnTo>
                  <a:lnTo>
                    <a:pt x="593" y="1021"/>
                  </a:lnTo>
                  <a:lnTo>
                    <a:pt x="657" y="1040"/>
                  </a:lnTo>
                  <a:lnTo>
                    <a:pt x="663" y="1060"/>
                  </a:lnTo>
                  <a:lnTo>
                    <a:pt x="671" y="1066"/>
                  </a:lnTo>
                  <a:lnTo>
                    <a:pt x="672" y="1075"/>
                  </a:lnTo>
                  <a:lnTo>
                    <a:pt x="672" y="1054"/>
                  </a:lnTo>
                  <a:lnTo>
                    <a:pt x="673" y="1054"/>
                  </a:lnTo>
                  <a:lnTo>
                    <a:pt x="698" y="1075"/>
                  </a:lnTo>
                  <a:lnTo>
                    <a:pt x="715" y="1085"/>
                  </a:lnTo>
                  <a:lnTo>
                    <a:pt x="723" y="1082"/>
                  </a:lnTo>
                  <a:lnTo>
                    <a:pt x="727" y="1092"/>
                  </a:lnTo>
                  <a:lnTo>
                    <a:pt x="725" y="1118"/>
                  </a:lnTo>
                  <a:lnTo>
                    <a:pt x="737" y="1115"/>
                  </a:lnTo>
                  <a:lnTo>
                    <a:pt x="750" y="1099"/>
                  </a:lnTo>
                  <a:lnTo>
                    <a:pt x="758" y="1121"/>
                  </a:lnTo>
                  <a:lnTo>
                    <a:pt x="763" y="1123"/>
                  </a:lnTo>
                  <a:lnTo>
                    <a:pt x="771" y="1132"/>
                  </a:lnTo>
                  <a:lnTo>
                    <a:pt x="787" y="1128"/>
                  </a:lnTo>
                  <a:lnTo>
                    <a:pt x="791" y="1140"/>
                  </a:lnTo>
                  <a:lnTo>
                    <a:pt x="798" y="1153"/>
                  </a:lnTo>
                  <a:lnTo>
                    <a:pt x="800" y="1166"/>
                  </a:lnTo>
                  <a:lnTo>
                    <a:pt x="803" y="1169"/>
                  </a:lnTo>
                  <a:lnTo>
                    <a:pt x="802" y="1180"/>
                  </a:lnTo>
                  <a:lnTo>
                    <a:pt x="792" y="1199"/>
                  </a:lnTo>
                  <a:lnTo>
                    <a:pt x="789" y="1212"/>
                  </a:lnTo>
                  <a:lnTo>
                    <a:pt x="800" y="1200"/>
                  </a:lnTo>
                  <a:lnTo>
                    <a:pt x="802" y="1215"/>
                  </a:lnTo>
                  <a:lnTo>
                    <a:pt x="801" y="1221"/>
                  </a:lnTo>
                  <a:lnTo>
                    <a:pt x="812" y="1241"/>
                  </a:lnTo>
                  <a:lnTo>
                    <a:pt x="814" y="1261"/>
                  </a:lnTo>
                  <a:lnTo>
                    <a:pt x="823" y="1275"/>
                  </a:lnTo>
                  <a:lnTo>
                    <a:pt x="877" y="1314"/>
                  </a:lnTo>
                  <a:lnTo>
                    <a:pt x="878" y="1322"/>
                  </a:lnTo>
                  <a:lnTo>
                    <a:pt x="871" y="1329"/>
                  </a:lnTo>
                  <a:lnTo>
                    <a:pt x="867" y="1336"/>
                  </a:lnTo>
                  <a:lnTo>
                    <a:pt x="872" y="1349"/>
                  </a:lnTo>
                  <a:lnTo>
                    <a:pt x="886" y="1352"/>
                  </a:lnTo>
                  <a:lnTo>
                    <a:pt x="914" y="1392"/>
                  </a:lnTo>
                  <a:lnTo>
                    <a:pt x="906" y="1397"/>
                  </a:lnTo>
                  <a:lnTo>
                    <a:pt x="882" y="1404"/>
                  </a:lnTo>
                  <a:lnTo>
                    <a:pt x="900" y="1409"/>
                  </a:lnTo>
                  <a:lnTo>
                    <a:pt x="913" y="1406"/>
                  </a:lnTo>
                  <a:lnTo>
                    <a:pt x="915" y="1422"/>
                  </a:lnTo>
                  <a:lnTo>
                    <a:pt x="892" y="1422"/>
                  </a:lnTo>
                  <a:lnTo>
                    <a:pt x="915" y="1433"/>
                  </a:lnTo>
                  <a:lnTo>
                    <a:pt x="918" y="1440"/>
                  </a:lnTo>
                  <a:lnTo>
                    <a:pt x="914" y="1457"/>
                  </a:lnTo>
                  <a:lnTo>
                    <a:pt x="911" y="1483"/>
                  </a:lnTo>
                  <a:lnTo>
                    <a:pt x="922" y="1480"/>
                  </a:lnTo>
                  <a:lnTo>
                    <a:pt x="930" y="1489"/>
                  </a:lnTo>
                  <a:lnTo>
                    <a:pt x="921" y="1501"/>
                  </a:lnTo>
                  <a:lnTo>
                    <a:pt x="941" y="1521"/>
                  </a:lnTo>
                  <a:lnTo>
                    <a:pt x="937" y="1542"/>
                  </a:lnTo>
                  <a:lnTo>
                    <a:pt x="938" y="1549"/>
                  </a:lnTo>
                  <a:lnTo>
                    <a:pt x="929" y="1544"/>
                  </a:lnTo>
                  <a:lnTo>
                    <a:pt x="927" y="1555"/>
                  </a:lnTo>
                  <a:lnTo>
                    <a:pt x="929" y="1564"/>
                  </a:lnTo>
                  <a:lnTo>
                    <a:pt x="952" y="1581"/>
                  </a:lnTo>
                  <a:lnTo>
                    <a:pt x="954" y="1587"/>
                  </a:lnTo>
                  <a:lnTo>
                    <a:pt x="956" y="1597"/>
                  </a:lnTo>
                  <a:lnTo>
                    <a:pt x="949" y="1618"/>
                  </a:lnTo>
                  <a:lnTo>
                    <a:pt x="958" y="1616"/>
                  </a:lnTo>
                  <a:lnTo>
                    <a:pt x="975" y="1607"/>
                  </a:lnTo>
                  <a:lnTo>
                    <a:pt x="967" y="1615"/>
                  </a:lnTo>
                  <a:lnTo>
                    <a:pt x="963" y="1624"/>
                  </a:lnTo>
                  <a:lnTo>
                    <a:pt x="960" y="1636"/>
                  </a:lnTo>
                  <a:lnTo>
                    <a:pt x="972" y="1646"/>
                  </a:lnTo>
                  <a:lnTo>
                    <a:pt x="962" y="1652"/>
                  </a:lnTo>
                  <a:lnTo>
                    <a:pt x="957" y="1666"/>
                  </a:lnTo>
                  <a:lnTo>
                    <a:pt x="947" y="1673"/>
                  </a:lnTo>
                  <a:lnTo>
                    <a:pt x="980" y="1683"/>
                  </a:lnTo>
                  <a:lnTo>
                    <a:pt x="999" y="1693"/>
                  </a:lnTo>
                  <a:lnTo>
                    <a:pt x="1006" y="1710"/>
                  </a:lnTo>
                  <a:lnTo>
                    <a:pt x="1005" y="1728"/>
                  </a:lnTo>
                  <a:lnTo>
                    <a:pt x="1000" y="1733"/>
                  </a:lnTo>
                  <a:lnTo>
                    <a:pt x="999" y="1748"/>
                  </a:lnTo>
                  <a:lnTo>
                    <a:pt x="1000" y="1765"/>
                  </a:lnTo>
                  <a:lnTo>
                    <a:pt x="1001" y="1781"/>
                  </a:lnTo>
                  <a:lnTo>
                    <a:pt x="992" y="1785"/>
                  </a:lnTo>
                  <a:lnTo>
                    <a:pt x="996" y="1801"/>
                  </a:lnTo>
                  <a:lnTo>
                    <a:pt x="990" y="1808"/>
                  </a:lnTo>
                  <a:lnTo>
                    <a:pt x="986" y="1825"/>
                  </a:lnTo>
                  <a:lnTo>
                    <a:pt x="981" y="1834"/>
                  </a:lnTo>
                  <a:lnTo>
                    <a:pt x="967" y="1854"/>
                  </a:lnTo>
                  <a:lnTo>
                    <a:pt x="953" y="1860"/>
                  </a:lnTo>
                  <a:lnTo>
                    <a:pt x="969" y="1878"/>
                  </a:lnTo>
                  <a:lnTo>
                    <a:pt x="992" y="1869"/>
                  </a:lnTo>
                  <a:lnTo>
                    <a:pt x="968" y="1898"/>
                  </a:lnTo>
                  <a:lnTo>
                    <a:pt x="951" y="1906"/>
                  </a:lnTo>
                  <a:lnTo>
                    <a:pt x="941" y="1921"/>
                  </a:lnTo>
                  <a:lnTo>
                    <a:pt x="946" y="1937"/>
                  </a:lnTo>
                  <a:lnTo>
                    <a:pt x="963" y="1968"/>
                  </a:lnTo>
                  <a:lnTo>
                    <a:pt x="973" y="1954"/>
                  </a:lnTo>
                  <a:lnTo>
                    <a:pt x="988" y="1970"/>
                  </a:lnTo>
                  <a:lnTo>
                    <a:pt x="1007" y="1976"/>
                  </a:lnTo>
                  <a:lnTo>
                    <a:pt x="1037" y="1960"/>
                  </a:lnTo>
                  <a:lnTo>
                    <a:pt x="1038" y="1943"/>
                  </a:lnTo>
                  <a:lnTo>
                    <a:pt x="1028" y="1931"/>
                  </a:lnTo>
                  <a:lnTo>
                    <a:pt x="1032" y="1919"/>
                  </a:lnTo>
                  <a:lnTo>
                    <a:pt x="1039" y="1926"/>
                  </a:lnTo>
                  <a:lnTo>
                    <a:pt x="1046" y="1917"/>
                  </a:lnTo>
                  <a:lnTo>
                    <a:pt x="1044" y="1908"/>
                  </a:lnTo>
                  <a:lnTo>
                    <a:pt x="1061" y="1895"/>
                  </a:lnTo>
                  <a:lnTo>
                    <a:pt x="1062" y="1865"/>
                  </a:lnTo>
                  <a:lnTo>
                    <a:pt x="1069" y="1882"/>
                  </a:lnTo>
                  <a:lnTo>
                    <a:pt x="1078" y="1899"/>
                  </a:lnTo>
                  <a:lnTo>
                    <a:pt x="1096" y="1883"/>
                  </a:lnTo>
                  <a:lnTo>
                    <a:pt x="1087" y="1904"/>
                  </a:lnTo>
                  <a:lnTo>
                    <a:pt x="1086" y="1919"/>
                  </a:lnTo>
                  <a:lnTo>
                    <a:pt x="1105" y="1926"/>
                  </a:lnTo>
                  <a:lnTo>
                    <a:pt x="1104" y="1930"/>
                  </a:lnTo>
                  <a:lnTo>
                    <a:pt x="1114" y="1930"/>
                  </a:lnTo>
                  <a:lnTo>
                    <a:pt x="1155" y="1924"/>
                  </a:lnTo>
                  <a:lnTo>
                    <a:pt x="1141" y="1941"/>
                  </a:lnTo>
                  <a:lnTo>
                    <a:pt x="1104" y="1953"/>
                  </a:lnTo>
                  <a:lnTo>
                    <a:pt x="1092" y="1969"/>
                  </a:lnTo>
                  <a:lnTo>
                    <a:pt x="1120" y="1973"/>
                  </a:lnTo>
                  <a:lnTo>
                    <a:pt x="1152" y="1962"/>
                  </a:lnTo>
                  <a:lnTo>
                    <a:pt x="1132" y="1975"/>
                  </a:lnTo>
                  <a:lnTo>
                    <a:pt x="1128" y="1994"/>
                  </a:lnTo>
                  <a:lnTo>
                    <a:pt x="1118" y="2011"/>
                  </a:lnTo>
                  <a:lnTo>
                    <a:pt x="1164" y="1981"/>
                  </a:lnTo>
                  <a:lnTo>
                    <a:pt x="1136" y="2017"/>
                  </a:lnTo>
                  <a:lnTo>
                    <a:pt x="1180" y="2012"/>
                  </a:lnTo>
                  <a:lnTo>
                    <a:pt x="1175" y="2025"/>
                  </a:lnTo>
                  <a:lnTo>
                    <a:pt x="1183" y="2033"/>
                  </a:lnTo>
                  <a:lnTo>
                    <a:pt x="1180" y="2041"/>
                  </a:lnTo>
                  <a:lnTo>
                    <a:pt x="1152" y="2029"/>
                  </a:lnTo>
                  <a:lnTo>
                    <a:pt x="1167" y="2045"/>
                  </a:lnTo>
                  <a:lnTo>
                    <a:pt x="1199" y="2059"/>
                  </a:lnTo>
                  <a:lnTo>
                    <a:pt x="1212" y="2075"/>
                  </a:lnTo>
                  <a:lnTo>
                    <a:pt x="1218" y="2091"/>
                  </a:lnTo>
                  <a:lnTo>
                    <a:pt x="1196" y="2082"/>
                  </a:lnTo>
                  <a:lnTo>
                    <a:pt x="1212" y="2092"/>
                  </a:lnTo>
                  <a:lnTo>
                    <a:pt x="1212" y="2100"/>
                  </a:lnTo>
                  <a:lnTo>
                    <a:pt x="1200" y="2103"/>
                  </a:lnTo>
                  <a:lnTo>
                    <a:pt x="1204" y="2111"/>
                  </a:lnTo>
                  <a:lnTo>
                    <a:pt x="1188" y="2105"/>
                  </a:lnTo>
                  <a:lnTo>
                    <a:pt x="1190" y="2121"/>
                  </a:lnTo>
                  <a:lnTo>
                    <a:pt x="1199" y="2132"/>
                  </a:lnTo>
                  <a:lnTo>
                    <a:pt x="1218" y="2124"/>
                  </a:lnTo>
                  <a:lnTo>
                    <a:pt x="1223" y="2136"/>
                  </a:lnTo>
                  <a:lnTo>
                    <a:pt x="1221" y="2148"/>
                  </a:lnTo>
                  <a:lnTo>
                    <a:pt x="1191" y="2142"/>
                  </a:lnTo>
                  <a:lnTo>
                    <a:pt x="1164" y="2131"/>
                  </a:lnTo>
                  <a:lnTo>
                    <a:pt x="1124" y="2094"/>
                  </a:lnTo>
                  <a:lnTo>
                    <a:pt x="1102" y="2080"/>
                  </a:lnTo>
                  <a:lnTo>
                    <a:pt x="1039" y="2071"/>
                  </a:lnTo>
                  <a:lnTo>
                    <a:pt x="1023" y="2073"/>
                  </a:lnTo>
                  <a:lnTo>
                    <a:pt x="1010" y="2091"/>
                  </a:lnTo>
                  <a:lnTo>
                    <a:pt x="1042" y="2138"/>
                  </a:lnTo>
                  <a:lnTo>
                    <a:pt x="1070" y="2147"/>
                  </a:lnTo>
                  <a:lnTo>
                    <a:pt x="1102" y="2162"/>
                  </a:lnTo>
                  <a:lnTo>
                    <a:pt x="1125" y="2190"/>
                  </a:lnTo>
                  <a:lnTo>
                    <a:pt x="1174" y="2201"/>
                  </a:lnTo>
                  <a:lnTo>
                    <a:pt x="1183" y="2194"/>
                  </a:lnTo>
                  <a:lnTo>
                    <a:pt x="1198" y="2196"/>
                  </a:lnTo>
                  <a:lnTo>
                    <a:pt x="1204" y="2202"/>
                  </a:lnTo>
                  <a:lnTo>
                    <a:pt x="1234" y="2200"/>
                  </a:lnTo>
                  <a:lnTo>
                    <a:pt x="1232" y="2216"/>
                  </a:lnTo>
                  <a:lnTo>
                    <a:pt x="1238" y="2232"/>
                  </a:lnTo>
                  <a:lnTo>
                    <a:pt x="1221" y="2238"/>
                  </a:lnTo>
                  <a:lnTo>
                    <a:pt x="1225" y="2255"/>
                  </a:lnTo>
                  <a:lnTo>
                    <a:pt x="1211" y="2261"/>
                  </a:lnTo>
                  <a:lnTo>
                    <a:pt x="1215" y="2276"/>
                  </a:lnTo>
                  <a:lnTo>
                    <a:pt x="1217" y="2281"/>
                  </a:lnTo>
                  <a:lnTo>
                    <a:pt x="1204" y="2288"/>
                  </a:lnTo>
                  <a:lnTo>
                    <a:pt x="1202" y="2313"/>
                  </a:lnTo>
                  <a:lnTo>
                    <a:pt x="1217" y="2324"/>
                  </a:lnTo>
                  <a:lnTo>
                    <a:pt x="1234" y="2312"/>
                  </a:lnTo>
                  <a:lnTo>
                    <a:pt x="1242" y="2326"/>
                  </a:lnTo>
                  <a:lnTo>
                    <a:pt x="1226" y="2337"/>
                  </a:lnTo>
                  <a:lnTo>
                    <a:pt x="1234" y="2349"/>
                  </a:lnTo>
                  <a:lnTo>
                    <a:pt x="1221" y="2350"/>
                  </a:lnTo>
                  <a:lnTo>
                    <a:pt x="1215" y="2337"/>
                  </a:lnTo>
                  <a:lnTo>
                    <a:pt x="1201" y="2334"/>
                  </a:lnTo>
                  <a:lnTo>
                    <a:pt x="1194" y="2341"/>
                  </a:lnTo>
                  <a:lnTo>
                    <a:pt x="1193" y="2356"/>
                  </a:lnTo>
                  <a:lnTo>
                    <a:pt x="1193" y="2371"/>
                  </a:lnTo>
                  <a:lnTo>
                    <a:pt x="1199" y="2378"/>
                  </a:lnTo>
                  <a:lnTo>
                    <a:pt x="1188" y="2392"/>
                  </a:lnTo>
                  <a:lnTo>
                    <a:pt x="1191" y="2398"/>
                  </a:lnTo>
                  <a:lnTo>
                    <a:pt x="1204" y="2395"/>
                  </a:lnTo>
                  <a:lnTo>
                    <a:pt x="1199" y="2404"/>
                  </a:lnTo>
                  <a:lnTo>
                    <a:pt x="1193" y="2421"/>
                  </a:lnTo>
                  <a:lnTo>
                    <a:pt x="1171" y="2428"/>
                  </a:lnTo>
                  <a:lnTo>
                    <a:pt x="1155" y="2421"/>
                  </a:lnTo>
                  <a:lnTo>
                    <a:pt x="1140" y="2420"/>
                  </a:lnTo>
                  <a:lnTo>
                    <a:pt x="1118" y="2426"/>
                  </a:lnTo>
                  <a:lnTo>
                    <a:pt x="1114" y="2436"/>
                  </a:lnTo>
                  <a:lnTo>
                    <a:pt x="1098" y="2452"/>
                  </a:lnTo>
                  <a:lnTo>
                    <a:pt x="1102" y="2462"/>
                  </a:lnTo>
                  <a:lnTo>
                    <a:pt x="1099" y="2463"/>
                  </a:lnTo>
                  <a:lnTo>
                    <a:pt x="1103" y="2474"/>
                  </a:lnTo>
                  <a:lnTo>
                    <a:pt x="1115" y="2468"/>
                  </a:lnTo>
                  <a:lnTo>
                    <a:pt x="1128" y="2476"/>
                  </a:lnTo>
                  <a:lnTo>
                    <a:pt x="1182" y="2459"/>
                  </a:lnTo>
                  <a:lnTo>
                    <a:pt x="1172" y="2442"/>
                  </a:lnTo>
                  <a:lnTo>
                    <a:pt x="1191" y="2443"/>
                  </a:lnTo>
                  <a:lnTo>
                    <a:pt x="1194" y="2447"/>
                  </a:lnTo>
                  <a:lnTo>
                    <a:pt x="1189" y="2458"/>
                  </a:lnTo>
                  <a:lnTo>
                    <a:pt x="1174" y="2466"/>
                  </a:lnTo>
                  <a:lnTo>
                    <a:pt x="1198" y="2479"/>
                  </a:lnTo>
                  <a:lnTo>
                    <a:pt x="1184" y="2476"/>
                  </a:lnTo>
                  <a:lnTo>
                    <a:pt x="1188" y="2485"/>
                  </a:lnTo>
                  <a:lnTo>
                    <a:pt x="1205" y="2493"/>
                  </a:lnTo>
                  <a:lnTo>
                    <a:pt x="1199" y="2498"/>
                  </a:lnTo>
                  <a:lnTo>
                    <a:pt x="1188" y="2493"/>
                  </a:lnTo>
                  <a:lnTo>
                    <a:pt x="1171" y="2500"/>
                  </a:lnTo>
                  <a:lnTo>
                    <a:pt x="1155" y="2502"/>
                  </a:lnTo>
                  <a:lnTo>
                    <a:pt x="1114" y="2481"/>
                  </a:lnTo>
                  <a:lnTo>
                    <a:pt x="1101" y="2487"/>
                  </a:lnTo>
                  <a:lnTo>
                    <a:pt x="1101" y="2492"/>
                  </a:lnTo>
                  <a:lnTo>
                    <a:pt x="1078" y="2485"/>
                  </a:lnTo>
                  <a:lnTo>
                    <a:pt x="1071" y="2491"/>
                  </a:lnTo>
                  <a:lnTo>
                    <a:pt x="1088" y="2491"/>
                  </a:lnTo>
                  <a:lnTo>
                    <a:pt x="1104" y="2508"/>
                  </a:lnTo>
                  <a:lnTo>
                    <a:pt x="1098" y="2513"/>
                  </a:lnTo>
                  <a:lnTo>
                    <a:pt x="1081" y="2503"/>
                  </a:lnTo>
                  <a:lnTo>
                    <a:pt x="1091" y="2516"/>
                  </a:lnTo>
                  <a:lnTo>
                    <a:pt x="1078" y="2516"/>
                  </a:lnTo>
                  <a:lnTo>
                    <a:pt x="1064" y="2525"/>
                  </a:lnTo>
                  <a:lnTo>
                    <a:pt x="1066" y="2539"/>
                  </a:lnTo>
                  <a:lnTo>
                    <a:pt x="1065" y="2555"/>
                  </a:lnTo>
                  <a:lnTo>
                    <a:pt x="1067" y="2556"/>
                  </a:lnTo>
                  <a:lnTo>
                    <a:pt x="1056" y="2570"/>
                  </a:lnTo>
                  <a:lnTo>
                    <a:pt x="1067" y="2578"/>
                  </a:lnTo>
                  <a:lnTo>
                    <a:pt x="1072" y="2575"/>
                  </a:lnTo>
                  <a:lnTo>
                    <a:pt x="1051" y="2590"/>
                  </a:lnTo>
                  <a:lnTo>
                    <a:pt x="1055" y="2600"/>
                  </a:lnTo>
                  <a:lnTo>
                    <a:pt x="1049" y="2605"/>
                  </a:lnTo>
                  <a:lnTo>
                    <a:pt x="1044" y="2615"/>
                  </a:lnTo>
                  <a:lnTo>
                    <a:pt x="1043" y="2640"/>
                  </a:lnTo>
                  <a:lnTo>
                    <a:pt x="1061" y="2653"/>
                  </a:lnTo>
                  <a:lnTo>
                    <a:pt x="1059" y="2667"/>
                  </a:lnTo>
                  <a:lnTo>
                    <a:pt x="1074" y="2664"/>
                  </a:lnTo>
                  <a:lnTo>
                    <a:pt x="1091" y="2665"/>
                  </a:lnTo>
                  <a:lnTo>
                    <a:pt x="1089" y="2685"/>
                  </a:lnTo>
                  <a:lnTo>
                    <a:pt x="1082" y="2690"/>
                  </a:lnTo>
                  <a:lnTo>
                    <a:pt x="1071" y="2705"/>
                  </a:lnTo>
                  <a:lnTo>
                    <a:pt x="1085" y="2719"/>
                  </a:lnTo>
                  <a:lnTo>
                    <a:pt x="1065" y="2716"/>
                  </a:lnTo>
                  <a:lnTo>
                    <a:pt x="1060" y="2728"/>
                  </a:lnTo>
                  <a:lnTo>
                    <a:pt x="1061" y="2742"/>
                  </a:lnTo>
                  <a:lnTo>
                    <a:pt x="1064" y="2750"/>
                  </a:lnTo>
                  <a:lnTo>
                    <a:pt x="1076" y="2750"/>
                  </a:lnTo>
                  <a:lnTo>
                    <a:pt x="1065" y="2764"/>
                  </a:lnTo>
                  <a:lnTo>
                    <a:pt x="1072" y="2767"/>
                  </a:lnTo>
                  <a:lnTo>
                    <a:pt x="1086" y="2767"/>
                  </a:lnTo>
                  <a:lnTo>
                    <a:pt x="1097" y="2764"/>
                  </a:lnTo>
                  <a:lnTo>
                    <a:pt x="1071" y="2787"/>
                  </a:lnTo>
                  <a:lnTo>
                    <a:pt x="1071" y="2797"/>
                  </a:lnTo>
                  <a:lnTo>
                    <a:pt x="1085" y="2802"/>
                  </a:lnTo>
                  <a:lnTo>
                    <a:pt x="1086" y="2810"/>
                  </a:lnTo>
                  <a:lnTo>
                    <a:pt x="1102" y="2802"/>
                  </a:lnTo>
                  <a:lnTo>
                    <a:pt x="1096" y="2805"/>
                  </a:lnTo>
                  <a:lnTo>
                    <a:pt x="1089" y="2815"/>
                  </a:lnTo>
                  <a:lnTo>
                    <a:pt x="1092" y="2823"/>
                  </a:lnTo>
                  <a:lnTo>
                    <a:pt x="1086" y="2834"/>
                  </a:lnTo>
                  <a:lnTo>
                    <a:pt x="1099" y="2830"/>
                  </a:lnTo>
                  <a:lnTo>
                    <a:pt x="1108" y="2825"/>
                  </a:lnTo>
                  <a:lnTo>
                    <a:pt x="1110" y="2856"/>
                  </a:lnTo>
                  <a:lnTo>
                    <a:pt x="1125" y="2855"/>
                  </a:lnTo>
                  <a:lnTo>
                    <a:pt x="1125" y="2864"/>
                  </a:lnTo>
                  <a:lnTo>
                    <a:pt x="1137" y="2864"/>
                  </a:lnTo>
                  <a:lnTo>
                    <a:pt x="1120" y="2882"/>
                  </a:lnTo>
                  <a:lnTo>
                    <a:pt x="1125" y="2895"/>
                  </a:lnTo>
                  <a:lnTo>
                    <a:pt x="1135" y="2880"/>
                  </a:lnTo>
                  <a:lnTo>
                    <a:pt x="1137" y="2896"/>
                  </a:lnTo>
                  <a:lnTo>
                    <a:pt x="1134" y="2900"/>
                  </a:lnTo>
                  <a:lnTo>
                    <a:pt x="1131" y="2916"/>
                  </a:lnTo>
                  <a:lnTo>
                    <a:pt x="1140" y="2920"/>
                  </a:lnTo>
                  <a:lnTo>
                    <a:pt x="1141" y="2932"/>
                  </a:lnTo>
                  <a:lnTo>
                    <a:pt x="1144" y="2945"/>
                  </a:lnTo>
                  <a:lnTo>
                    <a:pt x="1151" y="2937"/>
                  </a:lnTo>
                  <a:lnTo>
                    <a:pt x="1151" y="2941"/>
                  </a:lnTo>
                  <a:lnTo>
                    <a:pt x="1157" y="2943"/>
                  </a:lnTo>
                  <a:lnTo>
                    <a:pt x="1145" y="2957"/>
                  </a:lnTo>
                  <a:lnTo>
                    <a:pt x="1142" y="2965"/>
                  </a:lnTo>
                  <a:lnTo>
                    <a:pt x="1142" y="2979"/>
                  </a:lnTo>
                  <a:lnTo>
                    <a:pt x="1141" y="2990"/>
                  </a:lnTo>
                  <a:lnTo>
                    <a:pt x="1141" y="3002"/>
                  </a:lnTo>
                  <a:lnTo>
                    <a:pt x="1145" y="3017"/>
                  </a:lnTo>
                  <a:lnTo>
                    <a:pt x="1151" y="3013"/>
                  </a:lnTo>
                  <a:lnTo>
                    <a:pt x="1164" y="3013"/>
                  </a:lnTo>
                  <a:lnTo>
                    <a:pt x="1175" y="2990"/>
                  </a:lnTo>
                  <a:lnTo>
                    <a:pt x="1190" y="2961"/>
                  </a:lnTo>
                  <a:lnTo>
                    <a:pt x="1198" y="2965"/>
                  </a:lnTo>
                  <a:lnTo>
                    <a:pt x="1211" y="2960"/>
                  </a:lnTo>
                  <a:lnTo>
                    <a:pt x="1218" y="2944"/>
                  </a:lnTo>
                  <a:lnTo>
                    <a:pt x="1237" y="2954"/>
                  </a:lnTo>
                  <a:lnTo>
                    <a:pt x="1248" y="2952"/>
                  </a:lnTo>
                  <a:lnTo>
                    <a:pt x="1255" y="2968"/>
                  </a:lnTo>
                  <a:lnTo>
                    <a:pt x="1226" y="2960"/>
                  </a:lnTo>
                  <a:lnTo>
                    <a:pt x="1216" y="2970"/>
                  </a:lnTo>
                  <a:lnTo>
                    <a:pt x="1215" y="2977"/>
                  </a:lnTo>
                  <a:lnTo>
                    <a:pt x="1228" y="2988"/>
                  </a:lnTo>
                  <a:lnTo>
                    <a:pt x="1247" y="2988"/>
                  </a:lnTo>
                  <a:lnTo>
                    <a:pt x="1218" y="3000"/>
                  </a:lnTo>
                  <a:lnTo>
                    <a:pt x="1206" y="3002"/>
                  </a:lnTo>
                  <a:lnTo>
                    <a:pt x="1202" y="3018"/>
                  </a:lnTo>
                  <a:lnTo>
                    <a:pt x="1191" y="3025"/>
                  </a:lnTo>
                  <a:lnTo>
                    <a:pt x="1175" y="3027"/>
                  </a:lnTo>
                  <a:lnTo>
                    <a:pt x="1173" y="3036"/>
                  </a:lnTo>
                  <a:lnTo>
                    <a:pt x="1179" y="3057"/>
                  </a:lnTo>
                  <a:lnTo>
                    <a:pt x="1177" y="3082"/>
                  </a:lnTo>
                  <a:lnTo>
                    <a:pt x="1187" y="3078"/>
                  </a:lnTo>
                  <a:lnTo>
                    <a:pt x="1177" y="3093"/>
                  </a:lnTo>
                  <a:lnTo>
                    <a:pt x="1187" y="3110"/>
                  </a:lnTo>
                  <a:lnTo>
                    <a:pt x="1190" y="3119"/>
                  </a:lnTo>
                  <a:lnTo>
                    <a:pt x="1195" y="3116"/>
                  </a:lnTo>
                  <a:lnTo>
                    <a:pt x="1198" y="3136"/>
                  </a:lnTo>
                  <a:lnTo>
                    <a:pt x="1212" y="3160"/>
                  </a:lnTo>
                  <a:lnTo>
                    <a:pt x="1217" y="3162"/>
                  </a:lnTo>
                  <a:lnTo>
                    <a:pt x="1217" y="3165"/>
                  </a:lnTo>
                  <a:lnTo>
                    <a:pt x="1218" y="3170"/>
                  </a:lnTo>
                  <a:lnTo>
                    <a:pt x="1234" y="3173"/>
                  </a:lnTo>
                  <a:lnTo>
                    <a:pt x="1236" y="3186"/>
                  </a:lnTo>
                  <a:lnTo>
                    <a:pt x="1241" y="3195"/>
                  </a:lnTo>
                  <a:lnTo>
                    <a:pt x="1242" y="3203"/>
                  </a:lnTo>
                  <a:lnTo>
                    <a:pt x="1249" y="3196"/>
                  </a:lnTo>
                  <a:lnTo>
                    <a:pt x="1254" y="3195"/>
                  </a:lnTo>
                  <a:lnTo>
                    <a:pt x="1247" y="3212"/>
                  </a:lnTo>
                  <a:lnTo>
                    <a:pt x="1247" y="3226"/>
                  </a:lnTo>
                  <a:lnTo>
                    <a:pt x="1250" y="3232"/>
                  </a:lnTo>
                  <a:lnTo>
                    <a:pt x="1260" y="3233"/>
                  </a:lnTo>
                  <a:lnTo>
                    <a:pt x="1269" y="3238"/>
                  </a:lnTo>
                  <a:lnTo>
                    <a:pt x="1265" y="3246"/>
                  </a:lnTo>
                  <a:lnTo>
                    <a:pt x="1265" y="3255"/>
                  </a:lnTo>
                  <a:lnTo>
                    <a:pt x="1276" y="3260"/>
                  </a:lnTo>
                  <a:lnTo>
                    <a:pt x="1285" y="3260"/>
                  </a:lnTo>
                  <a:lnTo>
                    <a:pt x="1275" y="3265"/>
                  </a:lnTo>
                  <a:lnTo>
                    <a:pt x="1279" y="3272"/>
                  </a:lnTo>
                  <a:lnTo>
                    <a:pt x="1288" y="3270"/>
                  </a:lnTo>
                  <a:lnTo>
                    <a:pt x="1281" y="3275"/>
                  </a:lnTo>
                  <a:lnTo>
                    <a:pt x="1273" y="3277"/>
                  </a:lnTo>
                  <a:lnTo>
                    <a:pt x="1276" y="3282"/>
                  </a:lnTo>
                  <a:lnTo>
                    <a:pt x="1277" y="3288"/>
                  </a:lnTo>
                  <a:lnTo>
                    <a:pt x="1291" y="3286"/>
                  </a:lnTo>
                  <a:lnTo>
                    <a:pt x="1308" y="3272"/>
                  </a:lnTo>
                  <a:lnTo>
                    <a:pt x="1313" y="3276"/>
                  </a:lnTo>
                  <a:lnTo>
                    <a:pt x="1314" y="3283"/>
                  </a:lnTo>
                  <a:lnTo>
                    <a:pt x="1300" y="3292"/>
                  </a:lnTo>
                  <a:lnTo>
                    <a:pt x="1291" y="3298"/>
                  </a:lnTo>
                  <a:lnTo>
                    <a:pt x="1293" y="3304"/>
                  </a:lnTo>
                  <a:lnTo>
                    <a:pt x="1300" y="3313"/>
                  </a:lnTo>
                  <a:lnTo>
                    <a:pt x="1308" y="3319"/>
                  </a:lnTo>
                  <a:lnTo>
                    <a:pt x="1308" y="3324"/>
                  </a:lnTo>
                  <a:lnTo>
                    <a:pt x="1316" y="3325"/>
                  </a:lnTo>
                  <a:lnTo>
                    <a:pt x="1311" y="3332"/>
                  </a:lnTo>
                  <a:lnTo>
                    <a:pt x="1297" y="3339"/>
                  </a:lnTo>
                  <a:lnTo>
                    <a:pt x="1300" y="3343"/>
                  </a:lnTo>
                  <a:lnTo>
                    <a:pt x="1312" y="3350"/>
                  </a:lnTo>
                  <a:lnTo>
                    <a:pt x="1320" y="3347"/>
                  </a:lnTo>
                  <a:lnTo>
                    <a:pt x="1338" y="3337"/>
                  </a:lnTo>
                  <a:lnTo>
                    <a:pt x="1344" y="3337"/>
                  </a:lnTo>
                  <a:lnTo>
                    <a:pt x="1355" y="3342"/>
                  </a:lnTo>
                  <a:lnTo>
                    <a:pt x="1311" y="3358"/>
                  </a:lnTo>
                  <a:lnTo>
                    <a:pt x="1314" y="3361"/>
                  </a:lnTo>
                  <a:lnTo>
                    <a:pt x="1322" y="3358"/>
                  </a:lnTo>
                  <a:lnTo>
                    <a:pt x="1334" y="3358"/>
                  </a:lnTo>
                  <a:lnTo>
                    <a:pt x="1336" y="3361"/>
                  </a:lnTo>
                  <a:lnTo>
                    <a:pt x="1335" y="3364"/>
                  </a:lnTo>
                  <a:lnTo>
                    <a:pt x="1334" y="3373"/>
                  </a:lnTo>
                  <a:lnTo>
                    <a:pt x="1340" y="3378"/>
                  </a:lnTo>
                  <a:lnTo>
                    <a:pt x="1344" y="3379"/>
                  </a:lnTo>
                  <a:lnTo>
                    <a:pt x="1356" y="3374"/>
                  </a:lnTo>
                  <a:lnTo>
                    <a:pt x="1360" y="3379"/>
                  </a:lnTo>
                  <a:lnTo>
                    <a:pt x="1362" y="3386"/>
                  </a:lnTo>
                  <a:lnTo>
                    <a:pt x="1363" y="3388"/>
                  </a:lnTo>
                  <a:lnTo>
                    <a:pt x="1373" y="3390"/>
                  </a:lnTo>
                  <a:lnTo>
                    <a:pt x="1382" y="3395"/>
                  </a:lnTo>
                  <a:lnTo>
                    <a:pt x="1386" y="3394"/>
                  </a:lnTo>
                  <a:lnTo>
                    <a:pt x="1389" y="3397"/>
                  </a:lnTo>
                  <a:lnTo>
                    <a:pt x="1388" y="3400"/>
                  </a:lnTo>
                  <a:lnTo>
                    <a:pt x="1373" y="3411"/>
                  </a:lnTo>
                  <a:lnTo>
                    <a:pt x="1363" y="3416"/>
                  </a:lnTo>
                  <a:lnTo>
                    <a:pt x="1359" y="3422"/>
                  </a:lnTo>
                  <a:lnTo>
                    <a:pt x="1370" y="3420"/>
                  </a:lnTo>
                  <a:lnTo>
                    <a:pt x="1377" y="3421"/>
                  </a:lnTo>
                  <a:lnTo>
                    <a:pt x="1400" y="3420"/>
                  </a:lnTo>
                  <a:lnTo>
                    <a:pt x="1397" y="3410"/>
                  </a:lnTo>
                  <a:lnTo>
                    <a:pt x="1397" y="3407"/>
                  </a:lnTo>
                  <a:lnTo>
                    <a:pt x="1399" y="3406"/>
                  </a:lnTo>
                  <a:lnTo>
                    <a:pt x="1410" y="3410"/>
                  </a:lnTo>
                  <a:lnTo>
                    <a:pt x="1419" y="3407"/>
                  </a:lnTo>
                  <a:lnTo>
                    <a:pt x="1442" y="3410"/>
                  </a:lnTo>
                  <a:lnTo>
                    <a:pt x="1462" y="3397"/>
                  </a:lnTo>
                  <a:lnTo>
                    <a:pt x="1464" y="3401"/>
                  </a:lnTo>
                  <a:lnTo>
                    <a:pt x="1480" y="3394"/>
                  </a:lnTo>
                  <a:lnTo>
                    <a:pt x="1478" y="3401"/>
                  </a:lnTo>
                  <a:lnTo>
                    <a:pt x="1476" y="3407"/>
                  </a:lnTo>
                  <a:lnTo>
                    <a:pt x="1483" y="3410"/>
                  </a:lnTo>
                  <a:lnTo>
                    <a:pt x="1499" y="3404"/>
                  </a:lnTo>
                  <a:lnTo>
                    <a:pt x="1495" y="3409"/>
                  </a:lnTo>
                  <a:lnTo>
                    <a:pt x="1470" y="3422"/>
                  </a:lnTo>
                  <a:lnTo>
                    <a:pt x="1478" y="3422"/>
                  </a:lnTo>
                  <a:lnTo>
                    <a:pt x="1465" y="3431"/>
                  </a:lnTo>
                  <a:lnTo>
                    <a:pt x="1470" y="3433"/>
                  </a:lnTo>
                  <a:lnTo>
                    <a:pt x="1474" y="3432"/>
                  </a:lnTo>
                  <a:lnTo>
                    <a:pt x="1483" y="3426"/>
                  </a:lnTo>
                  <a:lnTo>
                    <a:pt x="1491" y="3427"/>
                  </a:lnTo>
                  <a:lnTo>
                    <a:pt x="1501" y="3418"/>
                  </a:lnTo>
                  <a:lnTo>
                    <a:pt x="1508" y="3407"/>
                  </a:lnTo>
                  <a:lnTo>
                    <a:pt x="1512" y="3410"/>
                  </a:lnTo>
                  <a:lnTo>
                    <a:pt x="1508" y="3421"/>
                  </a:lnTo>
                  <a:lnTo>
                    <a:pt x="1496" y="3429"/>
                  </a:lnTo>
                  <a:lnTo>
                    <a:pt x="1491" y="3437"/>
                  </a:lnTo>
                  <a:lnTo>
                    <a:pt x="1495" y="3442"/>
                  </a:lnTo>
                  <a:lnTo>
                    <a:pt x="1497" y="3450"/>
                  </a:lnTo>
                  <a:lnTo>
                    <a:pt x="1500" y="3455"/>
                  </a:lnTo>
                  <a:lnTo>
                    <a:pt x="1502" y="3461"/>
                  </a:lnTo>
                  <a:lnTo>
                    <a:pt x="1506" y="3455"/>
                  </a:lnTo>
                  <a:lnTo>
                    <a:pt x="1511" y="3444"/>
                  </a:lnTo>
                  <a:lnTo>
                    <a:pt x="1516" y="3440"/>
                  </a:lnTo>
                  <a:lnTo>
                    <a:pt x="1521" y="3440"/>
                  </a:lnTo>
                  <a:lnTo>
                    <a:pt x="1519" y="3448"/>
                  </a:lnTo>
                  <a:lnTo>
                    <a:pt x="1516" y="3461"/>
                  </a:lnTo>
                  <a:lnTo>
                    <a:pt x="1518" y="3465"/>
                  </a:lnTo>
                  <a:lnTo>
                    <a:pt x="1528" y="3461"/>
                  </a:lnTo>
                  <a:lnTo>
                    <a:pt x="1537" y="3452"/>
                  </a:lnTo>
                  <a:lnTo>
                    <a:pt x="1537" y="3458"/>
                  </a:lnTo>
                  <a:lnTo>
                    <a:pt x="1534" y="3474"/>
                  </a:lnTo>
                  <a:lnTo>
                    <a:pt x="1529" y="3477"/>
                  </a:lnTo>
                  <a:lnTo>
                    <a:pt x="1522" y="3487"/>
                  </a:lnTo>
                  <a:lnTo>
                    <a:pt x="1522" y="3493"/>
                  </a:lnTo>
                  <a:lnTo>
                    <a:pt x="1524" y="3493"/>
                  </a:lnTo>
                  <a:lnTo>
                    <a:pt x="1527" y="3501"/>
                  </a:lnTo>
                  <a:lnTo>
                    <a:pt x="1530" y="3502"/>
                  </a:lnTo>
                  <a:lnTo>
                    <a:pt x="1542" y="3501"/>
                  </a:lnTo>
                  <a:lnTo>
                    <a:pt x="1550" y="3510"/>
                  </a:lnTo>
                  <a:lnTo>
                    <a:pt x="1564" y="3507"/>
                  </a:lnTo>
                  <a:lnTo>
                    <a:pt x="1577" y="3492"/>
                  </a:lnTo>
                  <a:lnTo>
                    <a:pt x="1583" y="3482"/>
                  </a:lnTo>
                  <a:lnTo>
                    <a:pt x="1583" y="3487"/>
                  </a:lnTo>
                  <a:lnTo>
                    <a:pt x="1586" y="3497"/>
                  </a:lnTo>
                  <a:lnTo>
                    <a:pt x="1618" y="3499"/>
                  </a:lnTo>
                  <a:lnTo>
                    <a:pt x="1636" y="3498"/>
                  </a:lnTo>
                  <a:lnTo>
                    <a:pt x="1636" y="3497"/>
                  </a:lnTo>
                  <a:lnTo>
                    <a:pt x="1634" y="3490"/>
                  </a:lnTo>
                  <a:lnTo>
                    <a:pt x="1635" y="3485"/>
                  </a:lnTo>
                  <a:lnTo>
                    <a:pt x="1632" y="3476"/>
                  </a:lnTo>
                  <a:lnTo>
                    <a:pt x="1629" y="3467"/>
                  </a:lnTo>
                  <a:lnTo>
                    <a:pt x="1624" y="3466"/>
                  </a:lnTo>
                  <a:lnTo>
                    <a:pt x="1605" y="3454"/>
                  </a:lnTo>
                  <a:lnTo>
                    <a:pt x="1624" y="3458"/>
                  </a:lnTo>
                  <a:lnTo>
                    <a:pt x="1632" y="3458"/>
                  </a:lnTo>
                  <a:lnTo>
                    <a:pt x="1636" y="3453"/>
                  </a:lnTo>
                  <a:lnTo>
                    <a:pt x="1645" y="3454"/>
                  </a:lnTo>
                  <a:lnTo>
                    <a:pt x="1650" y="3449"/>
                  </a:lnTo>
                  <a:lnTo>
                    <a:pt x="1648" y="3432"/>
                  </a:lnTo>
                  <a:lnTo>
                    <a:pt x="1650" y="3420"/>
                  </a:lnTo>
                  <a:lnTo>
                    <a:pt x="1651" y="3412"/>
                  </a:lnTo>
                  <a:lnTo>
                    <a:pt x="1656" y="3405"/>
                  </a:lnTo>
                  <a:lnTo>
                    <a:pt x="1661" y="3379"/>
                  </a:lnTo>
                  <a:lnTo>
                    <a:pt x="1661" y="3373"/>
                  </a:lnTo>
                  <a:lnTo>
                    <a:pt x="1658" y="3372"/>
                  </a:lnTo>
                  <a:lnTo>
                    <a:pt x="1661" y="3367"/>
                  </a:lnTo>
                  <a:lnTo>
                    <a:pt x="1669" y="3358"/>
                  </a:lnTo>
                  <a:lnTo>
                    <a:pt x="1674" y="3348"/>
                  </a:lnTo>
                  <a:lnTo>
                    <a:pt x="1669" y="3348"/>
                  </a:lnTo>
                  <a:lnTo>
                    <a:pt x="1672" y="3340"/>
                  </a:lnTo>
                  <a:lnTo>
                    <a:pt x="1684" y="3318"/>
                  </a:lnTo>
                  <a:lnTo>
                    <a:pt x="1690" y="3311"/>
                  </a:lnTo>
                  <a:lnTo>
                    <a:pt x="1687" y="3305"/>
                  </a:lnTo>
                  <a:lnTo>
                    <a:pt x="1690" y="3296"/>
                  </a:lnTo>
                  <a:lnTo>
                    <a:pt x="1689" y="3287"/>
                  </a:lnTo>
                  <a:lnTo>
                    <a:pt x="1682" y="3282"/>
                  </a:lnTo>
                  <a:lnTo>
                    <a:pt x="1679" y="3239"/>
                  </a:lnTo>
                  <a:lnTo>
                    <a:pt x="1673" y="3235"/>
                  </a:lnTo>
                  <a:lnTo>
                    <a:pt x="1674" y="3230"/>
                  </a:lnTo>
                  <a:lnTo>
                    <a:pt x="1669" y="3216"/>
                  </a:lnTo>
                  <a:lnTo>
                    <a:pt x="1651" y="3210"/>
                  </a:lnTo>
                  <a:lnTo>
                    <a:pt x="1667" y="3205"/>
                  </a:lnTo>
                  <a:lnTo>
                    <a:pt x="1669" y="3201"/>
                  </a:lnTo>
                  <a:lnTo>
                    <a:pt x="1669" y="3195"/>
                  </a:lnTo>
                  <a:lnTo>
                    <a:pt x="1673" y="3191"/>
                  </a:lnTo>
                  <a:lnTo>
                    <a:pt x="1680" y="3190"/>
                  </a:lnTo>
                  <a:lnTo>
                    <a:pt x="1684" y="3192"/>
                  </a:lnTo>
                  <a:lnTo>
                    <a:pt x="1691" y="3192"/>
                  </a:lnTo>
                  <a:lnTo>
                    <a:pt x="1711" y="3189"/>
                  </a:lnTo>
                  <a:lnTo>
                    <a:pt x="1715" y="3180"/>
                  </a:lnTo>
                  <a:lnTo>
                    <a:pt x="1723" y="3179"/>
                  </a:lnTo>
                  <a:lnTo>
                    <a:pt x="1723" y="3169"/>
                  </a:lnTo>
                  <a:lnTo>
                    <a:pt x="1714" y="3170"/>
                  </a:lnTo>
                  <a:lnTo>
                    <a:pt x="1700" y="3160"/>
                  </a:lnTo>
                  <a:lnTo>
                    <a:pt x="1689" y="3152"/>
                  </a:lnTo>
                  <a:lnTo>
                    <a:pt x="1696" y="3152"/>
                  </a:lnTo>
                  <a:lnTo>
                    <a:pt x="1702" y="3158"/>
                  </a:lnTo>
                  <a:lnTo>
                    <a:pt x="1709" y="3160"/>
                  </a:lnTo>
                  <a:lnTo>
                    <a:pt x="1729" y="3162"/>
                  </a:lnTo>
                  <a:lnTo>
                    <a:pt x="1729" y="3156"/>
                  </a:lnTo>
                  <a:lnTo>
                    <a:pt x="1716" y="3154"/>
                  </a:lnTo>
                  <a:lnTo>
                    <a:pt x="1714" y="3146"/>
                  </a:lnTo>
                  <a:lnTo>
                    <a:pt x="1720" y="3144"/>
                  </a:lnTo>
                  <a:lnTo>
                    <a:pt x="1722" y="3140"/>
                  </a:lnTo>
                  <a:lnTo>
                    <a:pt x="1716" y="3133"/>
                  </a:lnTo>
                  <a:lnTo>
                    <a:pt x="1717" y="3130"/>
                  </a:lnTo>
                  <a:lnTo>
                    <a:pt x="1728" y="3138"/>
                  </a:lnTo>
                  <a:lnTo>
                    <a:pt x="1739" y="3141"/>
                  </a:lnTo>
                  <a:lnTo>
                    <a:pt x="1737" y="3131"/>
                  </a:lnTo>
                  <a:lnTo>
                    <a:pt x="1745" y="3130"/>
                  </a:lnTo>
                  <a:lnTo>
                    <a:pt x="1742" y="3124"/>
                  </a:lnTo>
                  <a:lnTo>
                    <a:pt x="1741" y="3117"/>
                  </a:lnTo>
                  <a:lnTo>
                    <a:pt x="1748" y="3121"/>
                  </a:lnTo>
                  <a:lnTo>
                    <a:pt x="1755" y="3119"/>
                  </a:lnTo>
                  <a:lnTo>
                    <a:pt x="1757" y="3115"/>
                  </a:lnTo>
                  <a:lnTo>
                    <a:pt x="1758" y="3103"/>
                  </a:lnTo>
                  <a:lnTo>
                    <a:pt x="1764" y="3101"/>
                  </a:lnTo>
                  <a:lnTo>
                    <a:pt x="1764" y="3090"/>
                  </a:lnTo>
                  <a:lnTo>
                    <a:pt x="1760" y="3085"/>
                  </a:lnTo>
                  <a:lnTo>
                    <a:pt x="1727" y="3077"/>
                  </a:lnTo>
                  <a:lnTo>
                    <a:pt x="1728" y="3071"/>
                  </a:lnTo>
                  <a:lnTo>
                    <a:pt x="1759" y="3079"/>
                  </a:lnTo>
                  <a:lnTo>
                    <a:pt x="1774" y="3077"/>
                  </a:lnTo>
                  <a:lnTo>
                    <a:pt x="1763" y="3045"/>
                  </a:lnTo>
                  <a:lnTo>
                    <a:pt x="1768" y="3041"/>
                  </a:lnTo>
                  <a:lnTo>
                    <a:pt x="1770" y="3036"/>
                  </a:lnTo>
                  <a:lnTo>
                    <a:pt x="1764" y="3027"/>
                  </a:lnTo>
                  <a:lnTo>
                    <a:pt x="1726" y="3022"/>
                  </a:lnTo>
                  <a:lnTo>
                    <a:pt x="1722" y="3008"/>
                  </a:lnTo>
                  <a:lnTo>
                    <a:pt x="1732" y="3011"/>
                  </a:lnTo>
                  <a:lnTo>
                    <a:pt x="1755" y="2997"/>
                  </a:lnTo>
                  <a:lnTo>
                    <a:pt x="1772" y="2997"/>
                  </a:lnTo>
                  <a:lnTo>
                    <a:pt x="1784" y="3002"/>
                  </a:lnTo>
                  <a:lnTo>
                    <a:pt x="1786" y="2998"/>
                  </a:lnTo>
                  <a:lnTo>
                    <a:pt x="1777" y="2995"/>
                  </a:lnTo>
                  <a:lnTo>
                    <a:pt x="1770" y="2987"/>
                  </a:lnTo>
                  <a:lnTo>
                    <a:pt x="1766" y="2966"/>
                  </a:lnTo>
                  <a:lnTo>
                    <a:pt x="1758" y="2958"/>
                  </a:lnTo>
                  <a:lnTo>
                    <a:pt x="1753" y="2943"/>
                  </a:lnTo>
                  <a:lnTo>
                    <a:pt x="1747" y="2938"/>
                  </a:lnTo>
                  <a:lnTo>
                    <a:pt x="1744" y="2928"/>
                  </a:lnTo>
                  <a:lnTo>
                    <a:pt x="1733" y="2931"/>
                  </a:lnTo>
                  <a:lnTo>
                    <a:pt x="1743" y="2906"/>
                  </a:lnTo>
                  <a:lnTo>
                    <a:pt x="1749" y="2912"/>
                  </a:lnTo>
                  <a:lnTo>
                    <a:pt x="1760" y="2911"/>
                  </a:lnTo>
                  <a:lnTo>
                    <a:pt x="1768" y="2916"/>
                  </a:lnTo>
                  <a:lnTo>
                    <a:pt x="1768" y="2905"/>
                  </a:lnTo>
                  <a:lnTo>
                    <a:pt x="1776" y="2907"/>
                  </a:lnTo>
                  <a:lnTo>
                    <a:pt x="1782" y="2915"/>
                  </a:lnTo>
                  <a:lnTo>
                    <a:pt x="1786" y="2909"/>
                  </a:lnTo>
                  <a:lnTo>
                    <a:pt x="1793" y="2917"/>
                  </a:lnTo>
                  <a:lnTo>
                    <a:pt x="1801" y="2909"/>
                  </a:lnTo>
                  <a:lnTo>
                    <a:pt x="1801" y="2901"/>
                  </a:lnTo>
                  <a:lnTo>
                    <a:pt x="1813" y="2885"/>
                  </a:lnTo>
                  <a:lnTo>
                    <a:pt x="1808" y="2877"/>
                  </a:lnTo>
                  <a:lnTo>
                    <a:pt x="1809" y="2871"/>
                  </a:lnTo>
                  <a:lnTo>
                    <a:pt x="1807" y="2863"/>
                  </a:lnTo>
                  <a:lnTo>
                    <a:pt x="1793" y="2855"/>
                  </a:lnTo>
                  <a:lnTo>
                    <a:pt x="1801" y="2852"/>
                  </a:lnTo>
                  <a:lnTo>
                    <a:pt x="1804" y="2848"/>
                  </a:lnTo>
                  <a:lnTo>
                    <a:pt x="1812" y="2852"/>
                  </a:lnTo>
                  <a:lnTo>
                    <a:pt x="1819" y="2832"/>
                  </a:lnTo>
                  <a:lnTo>
                    <a:pt x="1827" y="2836"/>
                  </a:lnTo>
                  <a:lnTo>
                    <a:pt x="1829" y="2845"/>
                  </a:lnTo>
                  <a:lnTo>
                    <a:pt x="1836" y="2846"/>
                  </a:lnTo>
                  <a:lnTo>
                    <a:pt x="1841" y="2830"/>
                  </a:lnTo>
                  <a:lnTo>
                    <a:pt x="1851" y="2839"/>
                  </a:lnTo>
                  <a:lnTo>
                    <a:pt x="1854" y="2845"/>
                  </a:lnTo>
                  <a:lnTo>
                    <a:pt x="1862" y="2842"/>
                  </a:lnTo>
                  <a:lnTo>
                    <a:pt x="1878" y="2841"/>
                  </a:lnTo>
                  <a:lnTo>
                    <a:pt x="1871" y="2831"/>
                  </a:lnTo>
                  <a:lnTo>
                    <a:pt x="1886" y="2831"/>
                  </a:lnTo>
                  <a:lnTo>
                    <a:pt x="1898" y="2837"/>
                  </a:lnTo>
                  <a:lnTo>
                    <a:pt x="1899" y="2828"/>
                  </a:lnTo>
                  <a:lnTo>
                    <a:pt x="1904" y="2828"/>
                  </a:lnTo>
                  <a:lnTo>
                    <a:pt x="1901" y="2818"/>
                  </a:lnTo>
                  <a:lnTo>
                    <a:pt x="1904" y="2815"/>
                  </a:lnTo>
                  <a:lnTo>
                    <a:pt x="1900" y="2812"/>
                  </a:lnTo>
                  <a:lnTo>
                    <a:pt x="1895" y="2812"/>
                  </a:lnTo>
                  <a:lnTo>
                    <a:pt x="1888" y="2803"/>
                  </a:lnTo>
                  <a:lnTo>
                    <a:pt x="1890" y="2788"/>
                  </a:lnTo>
                  <a:lnTo>
                    <a:pt x="1900" y="2801"/>
                  </a:lnTo>
                  <a:lnTo>
                    <a:pt x="1901" y="2792"/>
                  </a:lnTo>
                  <a:lnTo>
                    <a:pt x="1906" y="2796"/>
                  </a:lnTo>
                  <a:lnTo>
                    <a:pt x="1911" y="2796"/>
                  </a:lnTo>
                  <a:lnTo>
                    <a:pt x="1914" y="2782"/>
                  </a:lnTo>
                  <a:lnTo>
                    <a:pt x="1904" y="2774"/>
                  </a:lnTo>
                  <a:lnTo>
                    <a:pt x="1916" y="2767"/>
                  </a:lnTo>
                  <a:lnTo>
                    <a:pt x="1914" y="2761"/>
                  </a:lnTo>
                  <a:lnTo>
                    <a:pt x="1919" y="2755"/>
                  </a:lnTo>
                  <a:lnTo>
                    <a:pt x="1925" y="2756"/>
                  </a:lnTo>
                  <a:lnTo>
                    <a:pt x="1911" y="2745"/>
                  </a:lnTo>
                  <a:lnTo>
                    <a:pt x="1910" y="2739"/>
                  </a:lnTo>
                  <a:lnTo>
                    <a:pt x="1919" y="2744"/>
                  </a:lnTo>
                  <a:lnTo>
                    <a:pt x="1922" y="2731"/>
                  </a:lnTo>
                  <a:lnTo>
                    <a:pt x="1933" y="2746"/>
                  </a:lnTo>
                  <a:lnTo>
                    <a:pt x="1941" y="2744"/>
                  </a:lnTo>
                  <a:lnTo>
                    <a:pt x="1947" y="2746"/>
                  </a:lnTo>
                  <a:lnTo>
                    <a:pt x="1960" y="2745"/>
                  </a:lnTo>
                  <a:lnTo>
                    <a:pt x="1936" y="2765"/>
                  </a:lnTo>
                  <a:lnTo>
                    <a:pt x="1935" y="2777"/>
                  </a:lnTo>
                  <a:lnTo>
                    <a:pt x="1925" y="2787"/>
                  </a:lnTo>
                  <a:lnTo>
                    <a:pt x="1927" y="2793"/>
                  </a:lnTo>
                  <a:lnTo>
                    <a:pt x="1927" y="2797"/>
                  </a:lnTo>
                  <a:lnTo>
                    <a:pt x="1930" y="2799"/>
                  </a:lnTo>
                  <a:lnTo>
                    <a:pt x="1936" y="2799"/>
                  </a:lnTo>
                  <a:lnTo>
                    <a:pt x="1943" y="2803"/>
                  </a:lnTo>
                  <a:lnTo>
                    <a:pt x="1954" y="2812"/>
                  </a:lnTo>
                  <a:lnTo>
                    <a:pt x="1956" y="2804"/>
                  </a:lnTo>
                  <a:lnTo>
                    <a:pt x="1947" y="2796"/>
                  </a:lnTo>
                  <a:lnTo>
                    <a:pt x="1957" y="2801"/>
                  </a:lnTo>
                  <a:lnTo>
                    <a:pt x="1956" y="2788"/>
                  </a:lnTo>
                  <a:lnTo>
                    <a:pt x="1957" y="2775"/>
                  </a:lnTo>
                  <a:lnTo>
                    <a:pt x="1967" y="2785"/>
                  </a:lnTo>
                  <a:lnTo>
                    <a:pt x="1973" y="2802"/>
                  </a:lnTo>
                  <a:lnTo>
                    <a:pt x="1983" y="2801"/>
                  </a:lnTo>
                  <a:lnTo>
                    <a:pt x="1987" y="2810"/>
                  </a:lnTo>
                  <a:lnTo>
                    <a:pt x="1992" y="2794"/>
                  </a:lnTo>
                  <a:lnTo>
                    <a:pt x="1997" y="2782"/>
                  </a:lnTo>
                  <a:lnTo>
                    <a:pt x="2005" y="2781"/>
                  </a:lnTo>
                  <a:lnTo>
                    <a:pt x="2002" y="2797"/>
                  </a:lnTo>
                  <a:lnTo>
                    <a:pt x="2007" y="2793"/>
                  </a:lnTo>
                  <a:lnTo>
                    <a:pt x="2012" y="2797"/>
                  </a:lnTo>
                  <a:lnTo>
                    <a:pt x="2014" y="2793"/>
                  </a:lnTo>
                  <a:lnTo>
                    <a:pt x="2022" y="2801"/>
                  </a:lnTo>
                  <a:lnTo>
                    <a:pt x="2023" y="2788"/>
                  </a:lnTo>
                  <a:lnTo>
                    <a:pt x="2028" y="2774"/>
                  </a:lnTo>
                  <a:lnTo>
                    <a:pt x="2038" y="2778"/>
                  </a:lnTo>
                  <a:lnTo>
                    <a:pt x="2038" y="2767"/>
                  </a:lnTo>
                  <a:lnTo>
                    <a:pt x="2042" y="2758"/>
                  </a:lnTo>
                  <a:lnTo>
                    <a:pt x="2034" y="2746"/>
                  </a:lnTo>
                  <a:lnTo>
                    <a:pt x="2030" y="2740"/>
                  </a:lnTo>
                  <a:lnTo>
                    <a:pt x="2033" y="2731"/>
                  </a:lnTo>
                  <a:lnTo>
                    <a:pt x="2044" y="2744"/>
                  </a:lnTo>
                  <a:lnTo>
                    <a:pt x="2065" y="2753"/>
                  </a:lnTo>
                  <a:lnTo>
                    <a:pt x="2072" y="2753"/>
                  </a:lnTo>
                  <a:lnTo>
                    <a:pt x="2065" y="2740"/>
                  </a:lnTo>
                  <a:lnTo>
                    <a:pt x="2073" y="2728"/>
                  </a:lnTo>
                  <a:lnTo>
                    <a:pt x="2076" y="2740"/>
                  </a:lnTo>
                  <a:lnTo>
                    <a:pt x="2081" y="2744"/>
                  </a:lnTo>
                  <a:lnTo>
                    <a:pt x="2086" y="2739"/>
                  </a:lnTo>
                  <a:lnTo>
                    <a:pt x="2093" y="2739"/>
                  </a:lnTo>
                  <a:lnTo>
                    <a:pt x="2097" y="2734"/>
                  </a:lnTo>
                  <a:lnTo>
                    <a:pt x="2098" y="2724"/>
                  </a:lnTo>
                  <a:lnTo>
                    <a:pt x="2102" y="2717"/>
                  </a:lnTo>
                  <a:lnTo>
                    <a:pt x="2105" y="2700"/>
                  </a:lnTo>
                  <a:lnTo>
                    <a:pt x="2110" y="2685"/>
                  </a:lnTo>
                  <a:lnTo>
                    <a:pt x="2114" y="2700"/>
                  </a:lnTo>
                  <a:lnTo>
                    <a:pt x="2118" y="2690"/>
                  </a:lnTo>
                  <a:lnTo>
                    <a:pt x="2120" y="2702"/>
                  </a:lnTo>
                  <a:lnTo>
                    <a:pt x="2123" y="2691"/>
                  </a:lnTo>
                  <a:lnTo>
                    <a:pt x="2126" y="2683"/>
                  </a:lnTo>
                  <a:lnTo>
                    <a:pt x="2126" y="2679"/>
                  </a:lnTo>
                  <a:lnTo>
                    <a:pt x="2131" y="2680"/>
                  </a:lnTo>
                  <a:lnTo>
                    <a:pt x="2130" y="2672"/>
                  </a:lnTo>
                  <a:lnTo>
                    <a:pt x="2137" y="2678"/>
                  </a:lnTo>
                  <a:lnTo>
                    <a:pt x="2132" y="2664"/>
                  </a:lnTo>
                  <a:lnTo>
                    <a:pt x="2134" y="2660"/>
                  </a:lnTo>
                  <a:lnTo>
                    <a:pt x="2140" y="2656"/>
                  </a:lnTo>
                  <a:lnTo>
                    <a:pt x="2142" y="2649"/>
                  </a:lnTo>
                  <a:lnTo>
                    <a:pt x="2156" y="2642"/>
                  </a:lnTo>
                  <a:lnTo>
                    <a:pt x="2158" y="2619"/>
                  </a:lnTo>
                  <a:lnTo>
                    <a:pt x="2161" y="2615"/>
                  </a:lnTo>
                  <a:lnTo>
                    <a:pt x="2159" y="2604"/>
                  </a:lnTo>
                  <a:lnTo>
                    <a:pt x="2156" y="2599"/>
                  </a:lnTo>
                  <a:lnTo>
                    <a:pt x="2164" y="2599"/>
                  </a:lnTo>
                  <a:lnTo>
                    <a:pt x="2163" y="2590"/>
                  </a:lnTo>
                  <a:lnTo>
                    <a:pt x="2168" y="2573"/>
                  </a:lnTo>
                  <a:lnTo>
                    <a:pt x="2175" y="2571"/>
                  </a:lnTo>
                  <a:lnTo>
                    <a:pt x="2177" y="2560"/>
                  </a:lnTo>
                  <a:lnTo>
                    <a:pt x="2174" y="2551"/>
                  </a:lnTo>
                  <a:lnTo>
                    <a:pt x="2184" y="2555"/>
                  </a:lnTo>
                  <a:lnTo>
                    <a:pt x="2196" y="2547"/>
                  </a:lnTo>
                  <a:lnTo>
                    <a:pt x="2209" y="2534"/>
                  </a:lnTo>
                  <a:lnTo>
                    <a:pt x="2207" y="2528"/>
                  </a:lnTo>
                  <a:lnTo>
                    <a:pt x="2215" y="2519"/>
                  </a:lnTo>
                  <a:lnTo>
                    <a:pt x="2220" y="2528"/>
                  </a:lnTo>
                  <a:lnTo>
                    <a:pt x="2226" y="2522"/>
                  </a:lnTo>
                  <a:lnTo>
                    <a:pt x="2229" y="2525"/>
                  </a:lnTo>
                  <a:lnTo>
                    <a:pt x="2231" y="2518"/>
                  </a:lnTo>
                  <a:lnTo>
                    <a:pt x="2234" y="2514"/>
                  </a:lnTo>
                  <a:lnTo>
                    <a:pt x="2233" y="2501"/>
                  </a:lnTo>
                  <a:lnTo>
                    <a:pt x="2242" y="2498"/>
                  </a:lnTo>
                  <a:lnTo>
                    <a:pt x="2237" y="2489"/>
                  </a:lnTo>
                  <a:lnTo>
                    <a:pt x="2217" y="2477"/>
                  </a:lnTo>
                  <a:lnTo>
                    <a:pt x="2225" y="2475"/>
                  </a:lnTo>
                  <a:lnTo>
                    <a:pt x="2216" y="2454"/>
                  </a:lnTo>
                  <a:lnTo>
                    <a:pt x="2202" y="2436"/>
                  </a:lnTo>
                  <a:lnTo>
                    <a:pt x="2201" y="2428"/>
                  </a:lnTo>
                  <a:lnTo>
                    <a:pt x="2214" y="2427"/>
                  </a:lnTo>
                  <a:lnTo>
                    <a:pt x="2211" y="2415"/>
                  </a:lnTo>
                  <a:lnTo>
                    <a:pt x="2221" y="2425"/>
                  </a:lnTo>
                  <a:lnTo>
                    <a:pt x="2221" y="2438"/>
                  </a:lnTo>
                  <a:lnTo>
                    <a:pt x="2223" y="2448"/>
                  </a:lnTo>
                  <a:lnTo>
                    <a:pt x="2229" y="2436"/>
                  </a:lnTo>
                  <a:lnTo>
                    <a:pt x="2232" y="2439"/>
                  </a:lnTo>
                  <a:lnTo>
                    <a:pt x="2233" y="2449"/>
                  </a:lnTo>
                  <a:lnTo>
                    <a:pt x="2239" y="2458"/>
                  </a:lnTo>
                  <a:lnTo>
                    <a:pt x="2241" y="2465"/>
                  </a:lnTo>
                  <a:lnTo>
                    <a:pt x="2260" y="2471"/>
                  </a:lnTo>
                  <a:lnTo>
                    <a:pt x="2256" y="2480"/>
                  </a:lnTo>
                  <a:lnTo>
                    <a:pt x="2248" y="2476"/>
                  </a:lnTo>
                  <a:lnTo>
                    <a:pt x="2250" y="2489"/>
                  </a:lnTo>
                  <a:lnTo>
                    <a:pt x="2261" y="2495"/>
                  </a:lnTo>
                  <a:lnTo>
                    <a:pt x="2260" y="2501"/>
                  </a:lnTo>
                  <a:lnTo>
                    <a:pt x="2270" y="2493"/>
                  </a:lnTo>
                  <a:lnTo>
                    <a:pt x="2280" y="2493"/>
                  </a:lnTo>
                  <a:lnTo>
                    <a:pt x="2297" y="2501"/>
                  </a:lnTo>
                  <a:lnTo>
                    <a:pt x="2288" y="2490"/>
                  </a:lnTo>
                  <a:lnTo>
                    <a:pt x="2291" y="2486"/>
                  </a:lnTo>
                  <a:lnTo>
                    <a:pt x="2290" y="2481"/>
                  </a:lnTo>
                  <a:lnTo>
                    <a:pt x="2295" y="2481"/>
                  </a:lnTo>
                  <a:lnTo>
                    <a:pt x="2296" y="2485"/>
                  </a:lnTo>
                  <a:lnTo>
                    <a:pt x="2314" y="2497"/>
                  </a:lnTo>
                  <a:lnTo>
                    <a:pt x="2324" y="2497"/>
                  </a:lnTo>
                  <a:lnTo>
                    <a:pt x="2322" y="2486"/>
                  </a:lnTo>
                  <a:lnTo>
                    <a:pt x="2311" y="2481"/>
                  </a:lnTo>
                  <a:lnTo>
                    <a:pt x="2311" y="2468"/>
                  </a:lnTo>
                  <a:lnTo>
                    <a:pt x="2317" y="2473"/>
                  </a:lnTo>
                  <a:lnTo>
                    <a:pt x="2330" y="2474"/>
                  </a:lnTo>
                  <a:lnTo>
                    <a:pt x="2330" y="2484"/>
                  </a:lnTo>
                  <a:lnTo>
                    <a:pt x="2339" y="2493"/>
                  </a:lnTo>
                  <a:lnTo>
                    <a:pt x="2346" y="2484"/>
                  </a:lnTo>
                  <a:lnTo>
                    <a:pt x="2338" y="2475"/>
                  </a:lnTo>
                  <a:lnTo>
                    <a:pt x="2341" y="2469"/>
                  </a:lnTo>
                  <a:lnTo>
                    <a:pt x="2351" y="2474"/>
                  </a:lnTo>
                  <a:lnTo>
                    <a:pt x="2349" y="2460"/>
                  </a:lnTo>
                  <a:lnTo>
                    <a:pt x="2350" y="2452"/>
                  </a:lnTo>
                  <a:lnTo>
                    <a:pt x="2357" y="2448"/>
                  </a:lnTo>
                  <a:lnTo>
                    <a:pt x="2360" y="2448"/>
                  </a:lnTo>
                  <a:lnTo>
                    <a:pt x="2366" y="2460"/>
                  </a:lnTo>
                  <a:lnTo>
                    <a:pt x="2378" y="2473"/>
                  </a:lnTo>
                  <a:lnTo>
                    <a:pt x="2381" y="2471"/>
                  </a:lnTo>
                  <a:lnTo>
                    <a:pt x="2384" y="2466"/>
                  </a:lnTo>
                  <a:lnTo>
                    <a:pt x="2387" y="2459"/>
                  </a:lnTo>
                  <a:lnTo>
                    <a:pt x="2395" y="2465"/>
                  </a:lnTo>
                  <a:lnTo>
                    <a:pt x="2398" y="2454"/>
                  </a:lnTo>
                  <a:lnTo>
                    <a:pt x="2424" y="2450"/>
                  </a:lnTo>
                  <a:lnTo>
                    <a:pt x="2435" y="2441"/>
                  </a:lnTo>
                  <a:lnTo>
                    <a:pt x="2443" y="2446"/>
                  </a:lnTo>
                  <a:lnTo>
                    <a:pt x="2443" y="2436"/>
                  </a:lnTo>
                  <a:lnTo>
                    <a:pt x="2452" y="2441"/>
                  </a:lnTo>
                  <a:lnTo>
                    <a:pt x="2458" y="2438"/>
                  </a:lnTo>
                  <a:lnTo>
                    <a:pt x="2460" y="2426"/>
                  </a:lnTo>
                  <a:lnTo>
                    <a:pt x="2468" y="2430"/>
                  </a:lnTo>
                  <a:lnTo>
                    <a:pt x="2473" y="2439"/>
                  </a:lnTo>
                  <a:lnTo>
                    <a:pt x="2478" y="2438"/>
                  </a:lnTo>
                  <a:lnTo>
                    <a:pt x="2476" y="2428"/>
                  </a:lnTo>
                  <a:lnTo>
                    <a:pt x="2483" y="2426"/>
                  </a:lnTo>
                  <a:lnTo>
                    <a:pt x="2489" y="2425"/>
                  </a:lnTo>
                  <a:lnTo>
                    <a:pt x="2494" y="2431"/>
                  </a:lnTo>
                  <a:lnTo>
                    <a:pt x="2499" y="2428"/>
                  </a:lnTo>
                  <a:lnTo>
                    <a:pt x="2499" y="2422"/>
                  </a:lnTo>
                  <a:lnTo>
                    <a:pt x="2501" y="2420"/>
                  </a:lnTo>
                  <a:lnTo>
                    <a:pt x="2510" y="2419"/>
                  </a:lnTo>
                  <a:lnTo>
                    <a:pt x="2514" y="2423"/>
                  </a:lnTo>
                  <a:lnTo>
                    <a:pt x="2517" y="2411"/>
                  </a:lnTo>
                  <a:lnTo>
                    <a:pt x="2521" y="2407"/>
                  </a:lnTo>
                  <a:lnTo>
                    <a:pt x="2533" y="2404"/>
                  </a:lnTo>
                  <a:lnTo>
                    <a:pt x="2537" y="2411"/>
                  </a:lnTo>
                  <a:lnTo>
                    <a:pt x="2539" y="2406"/>
                  </a:lnTo>
                  <a:lnTo>
                    <a:pt x="2554" y="2406"/>
                  </a:lnTo>
                  <a:lnTo>
                    <a:pt x="2551" y="2400"/>
                  </a:lnTo>
                  <a:lnTo>
                    <a:pt x="2555" y="2393"/>
                  </a:lnTo>
                  <a:lnTo>
                    <a:pt x="2573" y="2389"/>
                  </a:lnTo>
                  <a:lnTo>
                    <a:pt x="2577" y="2383"/>
                  </a:lnTo>
                  <a:lnTo>
                    <a:pt x="2577" y="2378"/>
                  </a:lnTo>
                  <a:lnTo>
                    <a:pt x="2586" y="2378"/>
                  </a:lnTo>
                  <a:lnTo>
                    <a:pt x="2591" y="2363"/>
                  </a:lnTo>
                  <a:lnTo>
                    <a:pt x="2600" y="2363"/>
                  </a:lnTo>
                  <a:lnTo>
                    <a:pt x="2593" y="2360"/>
                  </a:lnTo>
                  <a:lnTo>
                    <a:pt x="2591" y="2353"/>
                  </a:lnTo>
                  <a:lnTo>
                    <a:pt x="2591" y="2345"/>
                  </a:lnTo>
                  <a:lnTo>
                    <a:pt x="2608" y="2353"/>
                  </a:lnTo>
                  <a:lnTo>
                    <a:pt x="2607" y="2342"/>
                  </a:lnTo>
                  <a:lnTo>
                    <a:pt x="2613" y="2340"/>
                  </a:lnTo>
                  <a:lnTo>
                    <a:pt x="2623" y="2345"/>
                  </a:lnTo>
                  <a:lnTo>
                    <a:pt x="2620" y="2337"/>
                  </a:lnTo>
                  <a:lnTo>
                    <a:pt x="2621" y="2334"/>
                  </a:lnTo>
                  <a:lnTo>
                    <a:pt x="2621" y="2329"/>
                  </a:lnTo>
                  <a:lnTo>
                    <a:pt x="2608" y="2324"/>
                  </a:lnTo>
                  <a:lnTo>
                    <a:pt x="2619" y="2314"/>
                  </a:lnTo>
                  <a:lnTo>
                    <a:pt x="2627" y="2318"/>
                  </a:lnTo>
                  <a:lnTo>
                    <a:pt x="2635" y="2324"/>
                  </a:lnTo>
                  <a:lnTo>
                    <a:pt x="2639" y="2320"/>
                  </a:lnTo>
                  <a:lnTo>
                    <a:pt x="2634" y="2319"/>
                  </a:lnTo>
                  <a:lnTo>
                    <a:pt x="2635" y="2314"/>
                  </a:lnTo>
                  <a:lnTo>
                    <a:pt x="2646" y="2310"/>
                  </a:lnTo>
                  <a:lnTo>
                    <a:pt x="2646" y="2301"/>
                  </a:lnTo>
                  <a:lnTo>
                    <a:pt x="2661" y="2296"/>
                  </a:lnTo>
                  <a:lnTo>
                    <a:pt x="2658" y="2288"/>
                  </a:lnTo>
                  <a:lnTo>
                    <a:pt x="2673" y="2294"/>
                  </a:lnTo>
                  <a:lnTo>
                    <a:pt x="2666" y="2283"/>
                  </a:lnTo>
                  <a:lnTo>
                    <a:pt x="2674" y="2286"/>
                  </a:lnTo>
                  <a:lnTo>
                    <a:pt x="2669" y="2276"/>
                  </a:lnTo>
                  <a:lnTo>
                    <a:pt x="2661" y="2272"/>
                  </a:lnTo>
                  <a:lnTo>
                    <a:pt x="2666" y="2267"/>
                  </a:lnTo>
                  <a:lnTo>
                    <a:pt x="2675" y="2269"/>
                  </a:lnTo>
                  <a:lnTo>
                    <a:pt x="2679" y="2264"/>
                  </a:lnTo>
                  <a:lnTo>
                    <a:pt x="2684" y="2271"/>
                  </a:lnTo>
                  <a:lnTo>
                    <a:pt x="2693" y="2276"/>
                  </a:lnTo>
                  <a:lnTo>
                    <a:pt x="2698" y="2265"/>
                  </a:lnTo>
                  <a:lnTo>
                    <a:pt x="2693" y="2260"/>
                  </a:lnTo>
                  <a:lnTo>
                    <a:pt x="2698" y="2259"/>
                  </a:lnTo>
                  <a:lnTo>
                    <a:pt x="2686" y="2245"/>
                  </a:lnTo>
                  <a:lnTo>
                    <a:pt x="2699" y="2239"/>
                  </a:lnTo>
                  <a:lnTo>
                    <a:pt x="2717" y="2236"/>
                  </a:lnTo>
                  <a:lnTo>
                    <a:pt x="2720" y="2226"/>
                  </a:lnTo>
                  <a:lnTo>
                    <a:pt x="2736" y="2236"/>
                  </a:lnTo>
                  <a:lnTo>
                    <a:pt x="2732" y="2229"/>
                  </a:lnTo>
                  <a:lnTo>
                    <a:pt x="2726" y="2228"/>
                  </a:lnTo>
                  <a:lnTo>
                    <a:pt x="2722" y="2223"/>
                  </a:lnTo>
                  <a:lnTo>
                    <a:pt x="2728" y="2222"/>
                  </a:lnTo>
                  <a:lnTo>
                    <a:pt x="2729" y="2212"/>
                  </a:lnTo>
                  <a:lnTo>
                    <a:pt x="2738" y="2216"/>
                  </a:lnTo>
                  <a:lnTo>
                    <a:pt x="2744" y="2208"/>
                  </a:lnTo>
                  <a:lnTo>
                    <a:pt x="2750" y="2212"/>
                  </a:lnTo>
                  <a:lnTo>
                    <a:pt x="2758" y="2212"/>
                  </a:lnTo>
                  <a:lnTo>
                    <a:pt x="2763" y="2205"/>
                  </a:lnTo>
                  <a:lnTo>
                    <a:pt x="2769" y="2212"/>
                  </a:lnTo>
                  <a:lnTo>
                    <a:pt x="2781" y="2193"/>
                  </a:lnTo>
                  <a:lnTo>
                    <a:pt x="2786" y="2178"/>
                  </a:lnTo>
                  <a:lnTo>
                    <a:pt x="2783" y="2178"/>
                  </a:lnTo>
                  <a:lnTo>
                    <a:pt x="2760" y="2190"/>
                  </a:lnTo>
                  <a:lnTo>
                    <a:pt x="2744" y="2191"/>
                  </a:lnTo>
                  <a:lnTo>
                    <a:pt x="2693" y="2184"/>
                  </a:lnTo>
                  <a:lnTo>
                    <a:pt x="2634" y="2154"/>
                  </a:lnTo>
                  <a:lnTo>
                    <a:pt x="2627" y="2157"/>
                  </a:lnTo>
                  <a:lnTo>
                    <a:pt x="2627" y="2145"/>
                  </a:lnTo>
                  <a:lnTo>
                    <a:pt x="2618" y="2148"/>
                  </a:lnTo>
                  <a:lnTo>
                    <a:pt x="2607" y="2154"/>
                  </a:lnTo>
                  <a:lnTo>
                    <a:pt x="2602" y="2142"/>
                  </a:lnTo>
                  <a:lnTo>
                    <a:pt x="2564" y="2161"/>
                  </a:lnTo>
                  <a:lnTo>
                    <a:pt x="2549" y="2173"/>
                  </a:lnTo>
                  <a:lnTo>
                    <a:pt x="2529" y="2164"/>
                  </a:lnTo>
                  <a:lnTo>
                    <a:pt x="2507" y="2174"/>
                  </a:lnTo>
                  <a:lnTo>
                    <a:pt x="2497" y="2201"/>
                  </a:lnTo>
                  <a:lnTo>
                    <a:pt x="2463" y="2200"/>
                  </a:lnTo>
                  <a:lnTo>
                    <a:pt x="2427" y="2195"/>
                  </a:lnTo>
                  <a:lnTo>
                    <a:pt x="2446" y="2179"/>
                  </a:lnTo>
                  <a:lnTo>
                    <a:pt x="2463" y="2186"/>
                  </a:lnTo>
                  <a:lnTo>
                    <a:pt x="2479" y="2180"/>
                  </a:lnTo>
                  <a:lnTo>
                    <a:pt x="2508" y="2156"/>
                  </a:lnTo>
                  <a:lnTo>
                    <a:pt x="2528" y="2154"/>
                  </a:lnTo>
                  <a:lnTo>
                    <a:pt x="2541" y="2147"/>
                  </a:lnTo>
                  <a:lnTo>
                    <a:pt x="2534" y="2135"/>
                  </a:lnTo>
                  <a:lnTo>
                    <a:pt x="2518" y="2132"/>
                  </a:lnTo>
                  <a:lnTo>
                    <a:pt x="2465" y="2141"/>
                  </a:lnTo>
                  <a:lnTo>
                    <a:pt x="2437" y="2138"/>
                  </a:lnTo>
                  <a:lnTo>
                    <a:pt x="2425" y="2127"/>
                  </a:lnTo>
                  <a:lnTo>
                    <a:pt x="2409" y="2126"/>
                  </a:lnTo>
                  <a:lnTo>
                    <a:pt x="2441" y="2111"/>
                  </a:lnTo>
                  <a:lnTo>
                    <a:pt x="2449" y="2099"/>
                  </a:lnTo>
                  <a:lnTo>
                    <a:pt x="2458" y="2073"/>
                  </a:lnTo>
                  <a:lnTo>
                    <a:pt x="2444" y="2055"/>
                  </a:lnTo>
                  <a:lnTo>
                    <a:pt x="2448" y="2046"/>
                  </a:lnTo>
                  <a:lnTo>
                    <a:pt x="2465" y="2044"/>
                  </a:lnTo>
                  <a:lnTo>
                    <a:pt x="2476" y="2050"/>
                  </a:lnTo>
                  <a:lnTo>
                    <a:pt x="2478" y="2029"/>
                  </a:lnTo>
                  <a:lnTo>
                    <a:pt x="2494" y="2045"/>
                  </a:lnTo>
                  <a:lnTo>
                    <a:pt x="2535" y="2045"/>
                  </a:lnTo>
                  <a:lnTo>
                    <a:pt x="2571" y="2024"/>
                  </a:lnTo>
                  <a:lnTo>
                    <a:pt x="2584" y="2008"/>
                  </a:lnTo>
                  <a:lnTo>
                    <a:pt x="2578" y="1991"/>
                  </a:lnTo>
                  <a:lnTo>
                    <a:pt x="2594" y="2001"/>
                  </a:lnTo>
                  <a:lnTo>
                    <a:pt x="2592" y="1975"/>
                  </a:lnTo>
                  <a:lnTo>
                    <a:pt x="2577" y="1959"/>
                  </a:lnTo>
                  <a:lnTo>
                    <a:pt x="2553" y="1955"/>
                  </a:lnTo>
                  <a:lnTo>
                    <a:pt x="2535" y="1960"/>
                  </a:lnTo>
                  <a:lnTo>
                    <a:pt x="2516" y="1949"/>
                  </a:lnTo>
                  <a:lnTo>
                    <a:pt x="2499" y="1958"/>
                  </a:lnTo>
                  <a:lnTo>
                    <a:pt x="2501" y="1944"/>
                  </a:lnTo>
                  <a:lnTo>
                    <a:pt x="2490" y="1938"/>
                  </a:lnTo>
                  <a:lnTo>
                    <a:pt x="2471" y="1931"/>
                  </a:lnTo>
                  <a:lnTo>
                    <a:pt x="2487" y="1927"/>
                  </a:lnTo>
                  <a:lnTo>
                    <a:pt x="2483" y="1912"/>
                  </a:lnTo>
                  <a:lnTo>
                    <a:pt x="2480" y="1898"/>
                  </a:lnTo>
                  <a:lnTo>
                    <a:pt x="2505" y="1915"/>
                  </a:lnTo>
                  <a:lnTo>
                    <a:pt x="2521" y="1938"/>
                  </a:lnTo>
                  <a:lnTo>
                    <a:pt x="2538" y="1942"/>
                  </a:lnTo>
                  <a:lnTo>
                    <a:pt x="2550" y="1932"/>
                  </a:lnTo>
                  <a:lnTo>
                    <a:pt x="2565" y="1941"/>
                  </a:lnTo>
                  <a:lnTo>
                    <a:pt x="2583" y="1944"/>
                  </a:lnTo>
                  <a:lnTo>
                    <a:pt x="2604" y="1964"/>
                  </a:lnTo>
                  <a:lnTo>
                    <a:pt x="2620" y="1984"/>
                  </a:lnTo>
                  <a:lnTo>
                    <a:pt x="2640" y="1982"/>
                  </a:lnTo>
                  <a:lnTo>
                    <a:pt x="2646" y="1990"/>
                  </a:lnTo>
                  <a:lnTo>
                    <a:pt x="2651" y="2008"/>
                  </a:lnTo>
                  <a:lnTo>
                    <a:pt x="2667" y="2027"/>
                  </a:lnTo>
                  <a:lnTo>
                    <a:pt x="2669" y="2049"/>
                  </a:lnTo>
                  <a:lnTo>
                    <a:pt x="2675" y="2082"/>
                  </a:lnTo>
                  <a:lnTo>
                    <a:pt x="2689" y="2107"/>
                  </a:lnTo>
                  <a:lnTo>
                    <a:pt x="2710" y="2124"/>
                  </a:lnTo>
                  <a:lnTo>
                    <a:pt x="2734" y="2134"/>
                  </a:lnTo>
                  <a:lnTo>
                    <a:pt x="2755" y="2130"/>
                  </a:lnTo>
                  <a:lnTo>
                    <a:pt x="2756" y="2087"/>
                  </a:lnTo>
                  <a:lnTo>
                    <a:pt x="2759" y="2068"/>
                  </a:lnTo>
                  <a:lnTo>
                    <a:pt x="2765" y="2070"/>
                  </a:lnTo>
                  <a:lnTo>
                    <a:pt x="2768" y="2099"/>
                  </a:lnTo>
                  <a:lnTo>
                    <a:pt x="2772" y="2123"/>
                  </a:lnTo>
                  <a:lnTo>
                    <a:pt x="2788" y="2119"/>
                  </a:lnTo>
                  <a:lnTo>
                    <a:pt x="2796" y="2132"/>
                  </a:lnTo>
                  <a:lnTo>
                    <a:pt x="2811" y="2126"/>
                  </a:lnTo>
                  <a:lnTo>
                    <a:pt x="2812" y="2108"/>
                  </a:lnTo>
                  <a:lnTo>
                    <a:pt x="2803" y="2104"/>
                  </a:lnTo>
                  <a:lnTo>
                    <a:pt x="2804" y="2087"/>
                  </a:lnTo>
                  <a:lnTo>
                    <a:pt x="2797" y="2070"/>
                  </a:lnTo>
                  <a:lnTo>
                    <a:pt x="2802" y="2064"/>
                  </a:lnTo>
                  <a:lnTo>
                    <a:pt x="2799" y="2045"/>
                  </a:lnTo>
                  <a:lnTo>
                    <a:pt x="2802" y="2038"/>
                  </a:lnTo>
                  <a:lnTo>
                    <a:pt x="2797" y="2027"/>
                  </a:lnTo>
                  <a:lnTo>
                    <a:pt x="2785" y="2029"/>
                  </a:lnTo>
                  <a:lnTo>
                    <a:pt x="2798" y="2021"/>
                  </a:lnTo>
                  <a:lnTo>
                    <a:pt x="2799" y="2003"/>
                  </a:lnTo>
                  <a:lnTo>
                    <a:pt x="2797" y="1991"/>
                  </a:lnTo>
                  <a:lnTo>
                    <a:pt x="2801" y="1984"/>
                  </a:lnTo>
                  <a:lnTo>
                    <a:pt x="2802" y="1955"/>
                  </a:lnTo>
                  <a:lnTo>
                    <a:pt x="2795" y="1952"/>
                  </a:lnTo>
                  <a:lnTo>
                    <a:pt x="2781" y="1965"/>
                  </a:lnTo>
                  <a:lnTo>
                    <a:pt x="2774" y="1963"/>
                  </a:lnTo>
                  <a:lnTo>
                    <a:pt x="2766" y="1989"/>
                  </a:lnTo>
                  <a:lnTo>
                    <a:pt x="2759" y="1991"/>
                  </a:lnTo>
                  <a:lnTo>
                    <a:pt x="2759" y="1962"/>
                  </a:lnTo>
                  <a:lnTo>
                    <a:pt x="2781" y="1930"/>
                  </a:lnTo>
                  <a:lnTo>
                    <a:pt x="2786" y="1915"/>
                  </a:lnTo>
                  <a:lnTo>
                    <a:pt x="2776" y="1915"/>
                  </a:lnTo>
                  <a:lnTo>
                    <a:pt x="2769" y="1922"/>
                  </a:lnTo>
                  <a:lnTo>
                    <a:pt x="2760" y="1936"/>
                  </a:lnTo>
                  <a:lnTo>
                    <a:pt x="2754" y="1939"/>
                  </a:lnTo>
                  <a:lnTo>
                    <a:pt x="2761" y="1920"/>
                  </a:lnTo>
                  <a:lnTo>
                    <a:pt x="2763" y="1905"/>
                  </a:lnTo>
                  <a:lnTo>
                    <a:pt x="2742" y="1920"/>
                  </a:lnTo>
                  <a:lnTo>
                    <a:pt x="2732" y="1936"/>
                  </a:lnTo>
                  <a:lnTo>
                    <a:pt x="2726" y="1939"/>
                  </a:lnTo>
                  <a:lnTo>
                    <a:pt x="2734" y="1919"/>
                  </a:lnTo>
                  <a:lnTo>
                    <a:pt x="2747" y="1904"/>
                  </a:lnTo>
                  <a:lnTo>
                    <a:pt x="2749" y="1894"/>
                  </a:lnTo>
                  <a:lnTo>
                    <a:pt x="2758" y="1882"/>
                  </a:lnTo>
                  <a:lnTo>
                    <a:pt x="2723" y="1867"/>
                  </a:lnTo>
                  <a:lnTo>
                    <a:pt x="2720" y="1855"/>
                  </a:lnTo>
                  <a:lnTo>
                    <a:pt x="2691" y="1844"/>
                  </a:lnTo>
                  <a:lnTo>
                    <a:pt x="2689" y="1834"/>
                  </a:lnTo>
                  <a:lnTo>
                    <a:pt x="2680" y="1822"/>
                  </a:lnTo>
                  <a:lnTo>
                    <a:pt x="2643" y="1792"/>
                  </a:lnTo>
                  <a:lnTo>
                    <a:pt x="2632" y="1790"/>
                  </a:lnTo>
                  <a:lnTo>
                    <a:pt x="2616" y="1799"/>
                  </a:lnTo>
                  <a:lnTo>
                    <a:pt x="2609" y="1813"/>
                  </a:lnTo>
                  <a:lnTo>
                    <a:pt x="2605" y="1834"/>
                  </a:lnTo>
                  <a:lnTo>
                    <a:pt x="2597" y="1850"/>
                  </a:lnTo>
                  <a:lnTo>
                    <a:pt x="2597" y="1835"/>
                  </a:lnTo>
                  <a:lnTo>
                    <a:pt x="2602" y="1819"/>
                  </a:lnTo>
                  <a:lnTo>
                    <a:pt x="2605" y="1801"/>
                  </a:lnTo>
                  <a:lnTo>
                    <a:pt x="2593" y="1797"/>
                  </a:lnTo>
                  <a:lnTo>
                    <a:pt x="2594" y="1790"/>
                  </a:lnTo>
                  <a:lnTo>
                    <a:pt x="2621" y="1785"/>
                  </a:lnTo>
                  <a:lnTo>
                    <a:pt x="2637" y="1779"/>
                  </a:lnTo>
                  <a:lnTo>
                    <a:pt x="2637" y="1764"/>
                  </a:lnTo>
                  <a:lnTo>
                    <a:pt x="2634" y="1743"/>
                  </a:lnTo>
                  <a:lnTo>
                    <a:pt x="2599" y="1721"/>
                  </a:lnTo>
                  <a:lnTo>
                    <a:pt x="2583" y="1725"/>
                  </a:lnTo>
                  <a:lnTo>
                    <a:pt x="2564" y="1739"/>
                  </a:lnTo>
                  <a:lnTo>
                    <a:pt x="2549" y="1755"/>
                  </a:lnTo>
                  <a:lnTo>
                    <a:pt x="2546" y="1755"/>
                  </a:lnTo>
                  <a:lnTo>
                    <a:pt x="2546" y="1736"/>
                  </a:lnTo>
                  <a:lnTo>
                    <a:pt x="2526" y="1741"/>
                  </a:lnTo>
                  <a:lnTo>
                    <a:pt x="2533" y="1732"/>
                  </a:lnTo>
                  <a:lnTo>
                    <a:pt x="2540" y="1729"/>
                  </a:lnTo>
                  <a:lnTo>
                    <a:pt x="2530" y="1720"/>
                  </a:lnTo>
                  <a:lnTo>
                    <a:pt x="2561" y="1723"/>
                  </a:lnTo>
                  <a:lnTo>
                    <a:pt x="2580" y="1717"/>
                  </a:lnTo>
                  <a:lnTo>
                    <a:pt x="2593" y="1706"/>
                  </a:lnTo>
                  <a:lnTo>
                    <a:pt x="2612" y="1701"/>
                  </a:lnTo>
                  <a:lnTo>
                    <a:pt x="2624" y="1678"/>
                  </a:lnTo>
                  <a:lnTo>
                    <a:pt x="2613" y="1672"/>
                  </a:lnTo>
                  <a:lnTo>
                    <a:pt x="2592" y="1669"/>
                  </a:lnTo>
                  <a:lnTo>
                    <a:pt x="2580" y="1657"/>
                  </a:lnTo>
                  <a:lnTo>
                    <a:pt x="2564" y="1648"/>
                  </a:lnTo>
                  <a:lnTo>
                    <a:pt x="2539" y="1655"/>
                  </a:lnTo>
                  <a:lnTo>
                    <a:pt x="2526" y="1666"/>
                  </a:lnTo>
                  <a:lnTo>
                    <a:pt x="2517" y="1656"/>
                  </a:lnTo>
                  <a:lnTo>
                    <a:pt x="2534" y="1648"/>
                  </a:lnTo>
                  <a:lnTo>
                    <a:pt x="2544" y="1639"/>
                  </a:lnTo>
                  <a:lnTo>
                    <a:pt x="2521" y="1627"/>
                  </a:lnTo>
                  <a:lnTo>
                    <a:pt x="2543" y="1623"/>
                  </a:lnTo>
                  <a:lnTo>
                    <a:pt x="2557" y="1639"/>
                  </a:lnTo>
                  <a:lnTo>
                    <a:pt x="2577" y="1640"/>
                  </a:lnTo>
                  <a:lnTo>
                    <a:pt x="2598" y="1619"/>
                  </a:lnTo>
                  <a:lnTo>
                    <a:pt x="2605" y="1607"/>
                  </a:lnTo>
                  <a:lnTo>
                    <a:pt x="2634" y="1592"/>
                  </a:lnTo>
                  <a:lnTo>
                    <a:pt x="2630" y="1582"/>
                  </a:lnTo>
                  <a:lnTo>
                    <a:pt x="2625" y="1561"/>
                  </a:lnTo>
                  <a:lnTo>
                    <a:pt x="2643" y="1575"/>
                  </a:lnTo>
                  <a:lnTo>
                    <a:pt x="2655" y="1577"/>
                  </a:lnTo>
                  <a:lnTo>
                    <a:pt x="2658" y="1540"/>
                  </a:lnTo>
                  <a:lnTo>
                    <a:pt x="2668" y="1535"/>
                  </a:lnTo>
                  <a:lnTo>
                    <a:pt x="2677" y="1537"/>
                  </a:lnTo>
                  <a:lnTo>
                    <a:pt x="2680" y="1564"/>
                  </a:lnTo>
                  <a:lnTo>
                    <a:pt x="2696" y="1587"/>
                  </a:lnTo>
                  <a:lnTo>
                    <a:pt x="2732" y="1620"/>
                  </a:lnTo>
                  <a:lnTo>
                    <a:pt x="2766" y="1636"/>
                  </a:lnTo>
                  <a:lnTo>
                    <a:pt x="2780" y="1635"/>
                  </a:lnTo>
                  <a:lnTo>
                    <a:pt x="2786" y="1619"/>
                  </a:lnTo>
                  <a:lnTo>
                    <a:pt x="2802" y="1612"/>
                  </a:lnTo>
                  <a:lnTo>
                    <a:pt x="2820" y="1591"/>
                  </a:lnTo>
                  <a:lnTo>
                    <a:pt x="2840" y="1598"/>
                  </a:lnTo>
                  <a:lnTo>
                    <a:pt x="2863" y="1597"/>
                  </a:lnTo>
                  <a:lnTo>
                    <a:pt x="2872" y="1588"/>
                  </a:lnTo>
                  <a:lnTo>
                    <a:pt x="2869" y="1577"/>
                  </a:lnTo>
                  <a:lnTo>
                    <a:pt x="2871" y="1546"/>
                  </a:lnTo>
                  <a:lnTo>
                    <a:pt x="2878" y="1530"/>
                  </a:lnTo>
                  <a:lnTo>
                    <a:pt x="2879" y="1522"/>
                  </a:lnTo>
                  <a:lnTo>
                    <a:pt x="2867" y="1514"/>
                  </a:lnTo>
                  <a:lnTo>
                    <a:pt x="2835" y="1503"/>
                  </a:lnTo>
                  <a:lnTo>
                    <a:pt x="2819" y="1496"/>
                  </a:lnTo>
                  <a:lnTo>
                    <a:pt x="2808" y="1484"/>
                  </a:lnTo>
                  <a:lnTo>
                    <a:pt x="2785" y="1490"/>
                  </a:lnTo>
                  <a:lnTo>
                    <a:pt x="2766" y="1484"/>
                  </a:lnTo>
                  <a:lnTo>
                    <a:pt x="2768" y="1475"/>
                  </a:lnTo>
                  <a:lnTo>
                    <a:pt x="2774" y="1474"/>
                  </a:lnTo>
                  <a:lnTo>
                    <a:pt x="2771" y="1460"/>
                  </a:lnTo>
                  <a:lnTo>
                    <a:pt x="2782" y="1448"/>
                  </a:lnTo>
                  <a:lnTo>
                    <a:pt x="2781" y="1436"/>
                  </a:lnTo>
                  <a:lnTo>
                    <a:pt x="2761" y="1433"/>
                  </a:lnTo>
                  <a:lnTo>
                    <a:pt x="2792" y="1420"/>
                  </a:lnTo>
                  <a:lnTo>
                    <a:pt x="2791" y="1404"/>
                  </a:lnTo>
                  <a:lnTo>
                    <a:pt x="2786" y="1383"/>
                  </a:lnTo>
                  <a:lnTo>
                    <a:pt x="2797" y="1387"/>
                  </a:lnTo>
                  <a:lnTo>
                    <a:pt x="2806" y="1398"/>
                  </a:lnTo>
                  <a:lnTo>
                    <a:pt x="2833" y="1395"/>
                  </a:lnTo>
                  <a:lnTo>
                    <a:pt x="2852" y="1400"/>
                  </a:lnTo>
                  <a:lnTo>
                    <a:pt x="2868" y="1398"/>
                  </a:lnTo>
                  <a:lnTo>
                    <a:pt x="2881" y="1404"/>
                  </a:lnTo>
                  <a:lnTo>
                    <a:pt x="2887" y="1425"/>
                  </a:lnTo>
                  <a:lnTo>
                    <a:pt x="2897" y="1440"/>
                  </a:lnTo>
                  <a:lnTo>
                    <a:pt x="2922" y="1446"/>
                  </a:lnTo>
                  <a:lnTo>
                    <a:pt x="2949" y="1408"/>
                  </a:lnTo>
                  <a:lnTo>
                    <a:pt x="2946" y="1392"/>
                  </a:lnTo>
                  <a:lnTo>
                    <a:pt x="2935" y="1379"/>
                  </a:lnTo>
                  <a:lnTo>
                    <a:pt x="2927" y="1358"/>
                  </a:lnTo>
                  <a:lnTo>
                    <a:pt x="2905" y="1371"/>
                  </a:lnTo>
                  <a:lnTo>
                    <a:pt x="2890" y="1361"/>
                  </a:lnTo>
                  <a:lnTo>
                    <a:pt x="2862" y="1356"/>
                  </a:lnTo>
                  <a:lnTo>
                    <a:pt x="2844" y="1358"/>
                  </a:lnTo>
                  <a:lnTo>
                    <a:pt x="2842" y="1355"/>
                  </a:lnTo>
                  <a:lnTo>
                    <a:pt x="2855" y="1350"/>
                  </a:lnTo>
                  <a:lnTo>
                    <a:pt x="2857" y="1334"/>
                  </a:lnTo>
                  <a:lnTo>
                    <a:pt x="2856" y="1318"/>
                  </a:lnTo>
                  <a:lnTo>
                    <a:pt x="2858" y="1298"/>
                  </a:lnTo>
                  <a:lnTo>
                    <a:pt x="2860" y="1284"/>
                  </a:lnTo>
                  <a:lnTo>
                    <a:pt x="2852" y="1276"/>
                  </a:lnTo>
                  <a:lnTo>
                    <a:pt x="2840" y="1274"/>
                  </a:lnTo>
                  <a:lnTo>
                    <a:pt x="2825" y="1285"/>
                  </a:lnTo>
                  <a:lnTo>
                    <a:pt x="2812" y="1288"/>
                  </a:lnTo>
                  <a:lnTo>
                    <a:pt x="2826" y="1269"/>
                  </a:lnTo>
                  <a:lnTo>
                    <a:pt x="2852" y="1258"/>
                  </a:lnTo>
                  <a:lnTo>
                    <a:pt x="2866" y="1260"/>
                  </a:lnTo>
                  <a:lnTo>
                    <a:pt x="2863" y="1243"/>
                  </a:lnTo>
                  <a:lnTo>
                    <a:pt x="2833" y="1215"/>
                  </a:lnTo>
                  <a:lnTo>
                    <a:pt x="2818" y="1196"/>
                  </a:lnTo>
                  <a:lnTo>
                    <a:pt x="2796" y="1195"/>
                  </a:lnTo>
                  <a:lnTo>
                    <a:pt x="2782" y="1184"/>
                  </a:lnTo>
                  <a:lnTo>
                    <a:pt x="2817" y="1187"/>
                  </a:lnTo>
                  <a:lnTo>
                    <a:pt x="2797" y="1166"/>
                  </a:lnTo>
                  <a:lnTo>
                    <a:pt x="2889" y="1216"/>
                  </a:lnTo>
                  <a:lnTo>
                    <a:pt x="2898" y="1231"/>
                  </a:lnTo>
                  <a:lnTo>
                    <a:pt x="2900" y="1252"/>
                  </a:lnTo>
                  <a:lnTo>
                    <a:pt x="2914" y="1260"/>
                  </a:lnTo>
                  <a:lnTo>
                    <a:pt x="2922" y="1257"/>
                  </a:lnTo>
                  <a:lnTo>
                    <a:pt x="2930" y="1225"/>
                  </a:lnTo>
                  <a:lnTo>
                    <a:pt x="2930" y="1194"/>
                  </a:lnTo>
                  <a:lnTo>
                    <a:pt x="2925" y="1160"/>
                  </a:lnTo>
                  <a:lnTo>
                    <a:pt x="2925" y="1130"/>
                  </a:lnTo>
                  <a:lnTo>
                    <a:pt x="2910" y="1105"/>
                  </a:lnTo>
                  <a:lnTo>
                    <a:pt x="2897" y="1090"/>
                  </a:lnTo>
                  <a:lnTo>
                    <a:pt x="2883" y="1093"/>
                  </a:lnTo>
                  <a:lnTo>
                    <a:pt x="2873" y="1090"/>
                  </a:lnTo>
                  <a:lnTo>
                    <a:pt x="2862" y="1081"/>
                  </a:lnTo>
                  <a:lnTo>
                    <a:pt x="2842" y="1078"/>
                  </a:lnTo>
                  <a:lnTo>
                    <a:pt x="2842" y="1070"/>
                  </a:lnTo>
                  <a:lnTo>
                    <a:pt x="2868" y="1070"/>
                  </a:lnTo>
                  <a:lnTo>
                    <a:pt x="2885" y="1066"/>
                  </a:lnTo>
                  <a:lnTo>
                    <a:pt x="2898" y="1059"/>
                  </a:lnTo>
                  <a:lnTo>
                    <a:pt x="2911" y="1056"/>
                  </a:lnTo>
                  <a:lnTo>
                    <a:pt x="2912" y="1045"/>
                  </a:lnTo>
                  <a:lnTo>
                    <a:pt x="2904" y="1019"/>
                  </a:lnTo>
                  <a:lnTo>
                    <a:pt x="2889" y="1016"/>
                  </a:lnTo>
                  <a:lnTo>
                    <a:pt x="2869" y="1021"/>
                  </a:lnTo>
                  <a:lnTo>
                    <a:pt x="2844" y="1001"/>
                  </a:lnTo>
                  <a:lnTo>
                    <a:pt x="2866" y="1034"/>
                  </a:lnTo>
                  <a:lnTo>
                    <a:pt x="2854" y="1033"/>
                  </a:lnTo>
                  <a:lnTo>
                    <a:pt x="2841" y="1016"/>
                  </a:lnTo>
                  <a:lnTo>
                    <a:pt x="2833" y="1010"/>
                  </a:lnTo>
                  <a:lnTo>
                    <a:pt x="2839" y="1029"/>
                  </a:lnTo>
                  <a:lnTo>
                    <a:pt x="2824" y="1024"/>
                  </a:lnTo>
                  <a:lnTo>
                    <a:pt x="2820" y="1016"/>
                  </a:lnTo>
                  <a:lnTo>
                    <a:pt x="2808" y="1015"/>
                  </a:lnTo>
                  <a:lnTo>
                    <a:pt x="2809" y="1004"/>
                  </a:lnTo>
                  <a:lnTo>
                    <a:pt x="2809" y="990"/>
                  </a:lnTo>
                  <a:lnTo>
                    <a:pt x="2811" y="985"/>
                  </a:lnTo>
                  <a:lnTo>
                    <a:pt x="2808" y="973"/>
                  </a:lnTo>
                  <a:lnTo>
                    <a:pt x="2775" y="976"/>
                  </a:lnTo>
                  <a:lnTo>
                    <a:pt x="2759" y="968"/>
                  </a:lnTo>
                  <a:lnTo>
                    <a:pt x="2766" y="962"/>
                  </a:lnTo>
                  <a:lnTo>
                    <a:pt x="2801" y="968"/>
                  </a:lnTo>
                  <a:lnTo>
                    <a:pt x="2792" y="961"/>
                  </a:lnTo>
                  <a:lnTo>
                    <a:pt x="2799" y="951"/>
                  </a:lnTo>
                  <a:lnTo>
                    <a:pt x="2783" y="947"/>
                  </a:lnTo>
                  <a:lnTo>
                    <a:pt x="2779" y="934"/>
                  </a:lnTo>
                  <a:lnTo>
                    <a:pt x="2771" y="931"/>
                  </a:lnTo>
                  <a:lnTo>
                    <a:pt x="2763" y="946"/>
                  </a:lnTo>
                  <a:lnTo>
                    <a:pt x="2763" y="931"/>
                  </a:lnTo>
                  <a:lnTo>
                    <a:pt x="2753" y="906"/>
                  </a:lnTo>
                  <a:lnTo>
                    <a:pt x="2766" y="897"/>
                  </a:lnTo>
                  <a:lnTo>
                    <a:pt x="2768" y="884"/>
                  </a:lnTo>
                  <a:lnTo>
                    <a:pt x="2785" y="881"/>
                  </a:lnTo>
                  <a:lnTo>
                    <a:pt x="2797" y="898"/>
                  </a:lnTo>
                  <a:lnTo>
                    <a:pt x="2806" y="916"/>
                  </a:lnTo>
                  <a:lnTo>
                    <a:pt x="2823" y="903"/>
                  </a:lnTo>
                  <a:lnTo>
                    <a:pt x="2831" y="888"/>
                  </a:lnTo>
                  <a:lnTo>
                    <a:pt x="2855" y="881"/>
                  </a:lnTo>
                  <a:lnTo>
                    <a:pt x="2809" y="868"/>
                  </a:lnTo>
                  <a:lnTo>
                    <a:pt x="2815" y="862"/>
                  </a:lnTo>
                  <a:lnTo>
                    <a:pt x="2852" y="866"/>
                  </a:lnTo>
                  <a:lnTo>
                    <a:pt x="2863" y="859"/>
                  </a:lnTo>
                  <a:lnTo>
                    <a:pt x="2860" y="855"/>
                  </a:lnTo>
                  <a:lnTo>
                    <a:pt x="2807" y="841"/>
                  </a:lnTo>
                  <a:lnTo>
                    <a:pt x="2874" y="844"/>
                  </a:lnTo>
                  <a:lnTo>
                    <a:pt x="2915" y="854"/>
                  </a:lnTo>
                  <a:lnTo>
                    <a:pt x="2943" y="870"/>
                  </a:lnTo>
                  <a:lnTo>
                    <a:pt x="2985" y="884"/>
                  </a:lnTo>
                  <a:lnTo>
                    <a:pt x="2997" y="865"/>
                  </a:lnTo>
                  <a:lnTo>
                    <a:pt x="2997" y="856"/>
                  </a:lnTo>
                  <a:lnTo>
                    <a:pt x="3000" y="845"/>
                  </a:lnTo>
                  <a:lnTo>
                    <a:pt x="3000" y="833"/>
                  </a:lnTo>
                  <a:lnTo>
                    <a:pt x="3000" y="805"/>
                  </a:lnTo>
                  <a:lnTo>
                    <a:pt x="2995" y="757"/>
                  </a:lnTo>
                  <a:lnTo>
                    <a:pt x="2992" y="754"/>
                  </a:lnTo>
                  <a:lnTo>
                    <a:pt x="2986" y="758"/>
                  </a:lnTo>
                  <a:lnTo>
                    <a:pt x="2963" y="741"/>
                  </a:lnTo>
                  <a:lnTo>
                    <a:pt x="2954" y="752"/>
                  </a:lnTo>
                  <a:lnTo>
                    <a:pt x="2955" y="773"/>
                  </a:lnTo>
                  <a:lnTo>
                    <a:pt x="2949" y="775"/>
                  </a:lnTo>
                  <a:lnTo>
                    <a:pt x="2936" y="771"/>
                  </a:lnTo>
                  <a:lnTo>
                    <a:pt x="2935" y="754"/>
                  </a:lnTo>
                  <a:lnTo>
                    <a:pt x="2915" y="738"/>
                  </a:lnTo>
                  <a:lnTo>
                    <a:pt x="2868" y="733"/>
                  </a:lnTo>
                  <a:lnTo>
                    <a:pt x="2889" y="730"/>
                  </a:lnTo>
                  <a:lnTo>
                    <a:pt x="2887" y="720"/>
                  </a:lnTo>
                  <a:lnTo>
                    <a:pt x="2863" y="709"/>
                  </a:lnTo>
                  <a:lnTo>
                    <a:pt x="2873" y="706"/>
                  </a:lnTo>
                  <a:lnTo>
                    <a:pt x="2873" y="695"/>
                  </a:lnTo>
                  <a:lnTo>
                    <a:pt x="2889" y="696"/>
                  </a:lnTo>
                  <a:lnTo>
                    <a:pt x="2862" y="676"/>
                  </a:lnTo>
                  <a:lnTo>
                    <a:pt x="2858" y="667"/>
                  </a:lnTo>
                  <a:lnTo>
                    <a:pt x="2868" y="650"/>
                  </a:lnTo>
                  <a:lnTo>
                    <a:pt x="2884" y="657"/>
                  </a:lnTo>
                  <a:lnTo>
                    <a:pt x="2910" y="657"/>
                  </a:lnTo>
                  <a:lnTo>
                    <a:pt x="2941" y="689"/>
                  </a:lnTo>
                  <a:lnTo>
                    <a:pt x="2955" y="680"/>
                  </a:lnTo>
                  <a:lnTo>
                    <a:pt x="2953" y="660"/>
                  </a:lnTo>
                  <a:lnTo>
                    <a:pt x="2943" y="646"/>
                  </a:lnTo>
                  <a:lnTo>
                    <a:pt x="2884" y="618"/>
                  </a:lnTo>
                  <a:lnTo>
                    <a:pt x="2869" y="607"/>
                  </a:lnTo>
                  <a:lnTo>
                    <a:pt x="2867" y="592"/>
                  </a:lnTo>
                  <a:lnTo>
                    <a:pt x="2857" y="585"/>
                  </a:lnTo>
                  <a:lnTo>
                    <a:pt x="2846" y="593"/>
                  </a:lnTo>
                  <a:lnTo>
                    <a:pt x="2820" y="663"/>
                  </a:lnTo>
                  <a:lnTo>
                    <a:pt x="2807" y="666"/>
                  </a:lnTo>
                  <a:lnTo>
                    <a:pt x="2798" y="646"/>
                  </a:lnTo>
                  <a:lnTo>
                    <a:pt x="2808" y="619"/>
                  </a:lnTo>
                  <a:lnTo>
                    <a:pt x="2811" y="594"/>
                  </a:lnTo>
                  <a:lnTo>
                    <a:pt x="2813" y="579"/>
                  </a:lnTo>
                  <a:lnTo>
                    <a:pt x="2826" y="561"/>
                  </a:lnTo>
                  <a:lnTo>
                    <a:pt x="2829" y="550"/>
                  </a:lnTo>
                  <a:lnTo>
                    <a:pt x="2824" y="537"/>
                  </a:lnTo>
                  <a:lnTo>
                    <a:pt x="2829" y="505"/>
                  </a:lnTo>
                  <a:lnTo>
                    <a:pt x="2831" y="472"/>
                  </a:lnTo>
                  <a:lnTo>
                    <a:pt x="2844" y="425"/>
                  </a:lnTo>
                  <a:lnTo>
                    <a:pt x="2849" y="411"/>
                  </a:lnTo>
                  <a:lnTo>
                    <a:pt x="2833" y="413"/>
                  </a:lnTo>
                  <a:lnTo>
                    <a:pt x="2829" y="404"/>
                  </a:lnTo>
                  <a:lnTo>
                    <a:pt x="2841" y="403"/>
                  </a:lnTo>
                  <a:lnTo>
                    <a:pt x="2842" y="391"/>
                  </a:lnTo>
                  <a:lnTo>
                    <a:pt x="2842" y="376"/>
                  </a:lnTo>
                  <a:lnTo>
                    <a:pt x="2839" y="366"/>
                  </a:lnTo>
                  <a:lnTo>
                    <a:pt x="2842" y="359"/>
                  </a:lnTo>
                  <a:lnTo>
                    <a:pt x="2852" y="362"/>
                  </a:lnTo>
                  <a:lnTo>
                    <a:pt x="2872" y="345"/>
                  </a:lnTo>
                  <a:lnTo>
                    <a:pt x="2890" y="353"/>
                  </a:lnTo>
                  <a:lnTo>
                    <a:pt x="2908" y="333"/>
                  </a:lnTo>
                  <a:lnTo>
                    <a:pt x="2908" y="314"/>
                  </a:lnTo>
                  <a:lnTo>
                    <a:pt x="2904" y="297"/>
                  </a:lnTo>
                  <a:lnTo>
                    <a:pt x="2904" y="270"/>
                  </a:lnTo>
                  <a:lnTo>
                    <a:pt x="2908" y="274"/>
                  </a:lnTo>
                  <a:lnTo>
                    <a:pt x="2919" y="265"/>
                  </a:lnTo>
                  <a:lnTo>
                    <a:pt x="2920" y="273"/>
                  </a:lnTo>
                  <a:lnTo>
                    <a:pt x="2924" y="270"/>
                  </a:lnTo>
                  <a:lnTo>
                    <a:pt x="2924" y="248"/>
                  </a:lnTo>
                  <a:lnTo>
                    <a:pt x="2931" y="232"/>
                  </a:lnTo>
                  <a:lnTo>
                    <a:pt x="2941" y="228"/>
                  </a:lnTo>
                  <a:lnTo>
                    <a:pt x="2941" y="248"/>
                  </a:lnTo>
                  <a:lnTo>
                    <a:pt x="2944" y="240"/>
                  </a:lnTo>
                  <a:lnTo>
                    <a:pt x="2951" y="215"/>
                  </a:lnTo>
                  <a:lnTo>
                    <a:pt x="2924" y="211"/>
                  </a:lnTo>
                  <a:lnTo>
                    <a:pt x="2920" y="235"/>
                  </a:lnTo>
                  <a:lnTo>
                    <a:pt x="2910" y="260"/>
                  </a:lnTo>
                  <a:lnTo>
                    <a:pt x="2909" y="237"/>
                  </a:lnTo>
                  <a:lnTo>
                    <a:pt x="2919" y="211"/>
                  </a:lnTo>
                  <a:lnTo>
                    <a:pt x="2921" y="182"/>
                  </a:lnTo>
                  <a:lnTo>
                    <a:pt x="2916" y="173"/>
                  </a:lnTo>
                  <a:lnTo>
                    <a:pt x="2921" y="154"/>
                  </a:lnTo>
                  <a:lnTo>
                    <a:pt x="2925" y="104"/>
                  </a:lnTo>
                  <a:lnTo>
                    <a:pt x="2936" y="81"/>
                  </a:lnTo>
                  <a:lnTo>
                    <a:pt x="2944" y="74"/>
                  </a:lnTo>
                  <a:lnTo>
                    <a:pt x="2979" y="86"/>
                  </a:lnTo>
                  <a:lnTo>
                    <a:pt x="3005" y="77"/>
                  </a:lnTo>
                  <a:lnTo>
                    <a:pt x="3018" y="54"/>
                  </a:lnTo>
                  <a:lnTo>
                    <a:pt x="3021" y="39"/>
                  </a:lnTo>
                  <a:lnTo>
                    <a:pt x="3030" y="21"/>
                  </a:lnTo>
                  <a:lnTo>
                    <a:pt x="3033" y="5"/>
                  </a:lnTo>
                  <a:lnTo>
                    <a:pt x="3035" y="0"/>
                  </a:lnTo>
                  <a:lnTo>
                    <a:pt x="2920" y="0"/>
                  </a:lnTo>
                  <a:lnTo>
                    <a:pt x="2901" y="25"/>
                  </a:lnTo>
                  <a:lnTo>
                    <a:pt x="2894" y="47"/>
                  </a:lnTo>
                  <a:lnTo>
                    <a:pt x="2894" y="63"/>
                  </a:lnTo>
                  <a:lnTo>
                    <a:pt x="2906" y="65"/>
                  </a:lnTo>
                  <a:lnTo>
                    <a:pt x="2887" y="79"/>
                  </a:lnTo>
                  <a:lnTo>
                    <a:pt x="2877" y="52"/>
                  </a:lnTo>
                  <a:lnTo>
                    <a:pt x="2868" y="48"/>
                  </a:lnTo>
                  <a:lnTo>
                    <a:pt x="2877" y="20"/>
                  </a:lnTo>
                  <a:lnTo>
                    <a:pt x="2877" y="7"/>
                  </a:lnTo>
                  <a:lnTo>
                    <a:pt x="2874" y="0"/>
                  </a:lnTo>
                  <a:lnTo>
                    <a:pt x="451" y="0"/>
                  </a:lnTo>
                  <a:lnTo>
                    <a:pt x="430" y="1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10" name="Greenland"/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 bwMode="gray">
            <a:xfrm>
              <a:off x="3044640" y="2062087"/>
              <a:ext cx="77240" cy="77240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49" y="10"/>
                </a:cxn>
                <a:cxn ang="0">
                  <a:pos x="67" y="13"/>
                </a:cxn>
                <a:cxn ang="0">
                  <a:pos x="92" y="25"/>
                </a:cxn>
                <a:cxn ang="0">
                  <a:pos x="128" y="80"/>
                </a:cxn>
                <a:cxn ang="0">
                  <a:pos x="150" y="86"/>
                </a:cxn>
                <a:cxn ang="0">
                  <a:pos x="163" y="99"/>
                </a:cxn>
                <a:cxn ang="0">
                  <a:pos x="163" y="116"/>
                </a:cxn>
                <a:cxn ang="0">
                  <a:pos x="161" y="126"/>
                </a:cxn>
                <a:cxn ang="0">
                  <a:pos x="146" y="143"/>
                </a:cxn>
                <a:cxn ang="0">
                  <a:pos x="87" y="162"/>
                </a:cxn>
                <a:cxn ang="0">
                  <a:pos x="70" y="166"/>
                </a:cxn>
                <a:cxn ang="0">
                  <a:pos x="60" y="165"/>
                </a:cxn>
                <a:cxn ang="0">
                  <a:pos x="40" y="150"/>
                </a:cxn>
                <a:cxn ang="0">
                  <a:pos x="40" y="142"/>
                </a:cxn>
                <a:cxn ang="0">
                  <a:pos x="53" y="139"/>
                </a:cxn>
                <a:cxn ang="0">
                  <a:pos x="66" y="143"/>
                </a:cxn>
                <a:cxn ang="0">
                  <a:pos x="77" y="139"/>
                </a:cxn>
                <a:cxn ang="0">
                  <a:pos x="77" y="130"/>
                </a:cxn>
                <a:cxn ang="0">
                  <a:pos x="69" y="138"/>
                </a:cxn>
                <a:cxn ang="0">
                  <a:pos x="67" y="130"/>
                </a:cxn>
                <a:cxn ang="0">
                  <a:pos x="55" y="129"/>
                </a:cxn>
                <a:cxn ang="0">
                  <a:pos x="55" y="117"/>
                </a:cxn>
                <a:cxn ang="0">
                  <a:pos x="45" y="126"/>
                </a:cxn>
                <a:cxn ang="0">
                  <a:pos x="22" y="126"/>
                </a:cxn>
                <a:cxn ang="0">
                  <a:pos x="2" y="117"/>
                </a:cxn>
                <a:cxn ang="0">
                  <a:pos x="1" y="103"/>
                </a:cxn>
                <a:cxn ang="0">
                  <a:pos x="11" y="100"/>
                </a:cxn>
                <a:cxn ang="0">
                  <a:pos x="28" y="106"/>
                </a:cxn>
                <a:cxn ang="0">
                  <a:pos x="16" y="91"/>
                </a:cxn>
                <a:cxn ang="0">
                  <a:pos x="0" y="79"/>
                </a:cxn>
                <a:cxn ang="0">
                  <a:pos x="5" y="72"/>
                </a:cxn>
                <a:cxn ang="0">
                  <a:pos x="34" y="69"/>
                </a:cxn>
                <a:cxn ang="0">
                  <a:pos x="19" y="58"/>
                </a:cxn>
                <a:cxn ang="0">
                  <a:pos x="7" y="35"/>
                </a:cxn>
                <a:cxn ang="0">
                  <a:pos x="7" y="15"/>
                </a:cxn>
                <a:cxn ang="0">
                  <a:pos x="29" y="0"/>
                </a:cxn>
              </a:cxnLst>
              <a:rect l="0" t="0" r="r" b="b"/>
              <a:pathLst>
                <a:path w="163" h="166">
                  <a:moveTo>
                    <a:pt x="29" y="0"/>
                  </a:moveTo>
                  <a:lnTo>
                    <a:pt x="49" y="10"/>
                  </a:lnTo>
                  <a:lnTo>
                    <a:pt x="67" y="13"/>
                  </a:lnTo>
                  <a:lnTo>
                    <a:pt x="92" y="25"/>
                  </a:lnTo>
                  <a:lnTo>
                    <a:pt x="128" y="80"/>
                  </a:lnTo>
                  <a:lnTo>
                    <a:pt x="150" y="86"/>
                  </a:lnTo>
                  <a:lnTo>
                    <a:pt x="163" y="99"/>
                  </a:lnTo>
                  <a:lnTo>
                    <a:pt x="163" y="116"/>
                  </a:lnTo>
                  <a:lnTo>
                    <a:pt x="161" y="126"/>
                  </a:lnTo>
                  <a:lnTo>
                    <a:pt x="146" y="143"/>
                  </a:lnTo>
                  <a:lnTo>
                    <a:pt x="87" y="162"/>
                  </a:lnTo>
                  <a:lnTo>
                    <a:pt x="70" y="166"/>
                  </a:lnTo>
                  <a:lnTo>
                    <a:pt x="60" y="165"/>
                  </a:lnTo>
                  <a:lnTo>
                    <a:pt x="40" y="150"/>
                  </a:lnTo>
                  <a:lnTo>
                    <a:pt x="40" y="142"/>
                  </a:lnTo>
                  <a:lnTo>
                    <a:pt x="53" y="139"/>
                  </a:lnTo>
                  <a:lnTo>
                    <a:pt x="66" y="143"/>
                  </a:lnTo>
                  <a:lnTo>
                    <a:pt x="77" y="139"/>
                  </a:lnTo>
                  <a:lnTo>
                    <a:pt x="77" y="130"/>
                  </a:lnTo>
                  <a:lnTo>
                    <a:pt x="69" y="138"/>
                  </a:lnTo>
                  <a:lnTo>
                    <a:pt x="67" y="130"/>
                  </a:lnTo>
                  <a:lnTo>
                    <a:pt x="55" y="129"/>
                  </a:lnTo>
                  <a:lnTo>
                    <a:pt x="55" y="117"/>
                  </a:lnTo>
                  <a:lnTo>
                    <a:pt x="45" y="126"/>
                  </a:lnTo>
                  <a:lnTo>
                    <a:pt x="22" y="126"/>
                  </a:lnTo>
                  <a:lnTo>
                    <a:pt x="2" y="117"/>
                  </a:lnTo>
                  <a:lnTo>
                    <a:pt x="1" y="103"/>
                  </a:lnTo>
                  <a:lnTo>
                    <a:pt x="11" y="100"/>
                  </a:lnTo>
                  <a:lnTo>
                    <a:pt x="28" y="106"/>
                  </a:lnTo>
                  <a:lnTo>
                    <a:pt x="16" y="91"/>
                  </a:lnTo>
                  <a:lnTo>
                    <a:pt x="0" y="79"/>
                  </a:lnTo>
                  <a:lnTo>
                    <a:pt x="5" y="72"/>
                  </a:lnTo>
                  <a:lnTo>
                    <a:pt x="34" y="69"/>
                  </a:lnTo>
                  <a:lnTo>
                    <a:pt x="19" y="58"/>
                  </a:lnTo>
                  <a:lnTo>
                    <a:pt x="7" y="35"/>
                  </a:lnTo>
                  <a:lnTo>
                    <a:pt x="7" y="15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11" name="Greenland"/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 bwMode="gray">
            <a:xfrm>
              <a:off x="2684187" y="1397357"/>
              <a:ext cx="77240" cy="28087"/>
            </a:xfrm>
            <a:custGeom>
              <a:avLst/>
              <a:gdLst/>
              <a:ahLst/>
              <a:cxnLst>
                <a:cxn ang="0">
                  <a:pos x="0" y="35"/>
                </a:cxn>
                <a:cxn ang="0">
                  <a:pos x="0" y="30"/>
                </a:cxn>
                <a:cxn ang="0">
                  <a:pos x="17" y="20"/>
                </a:cxn>
                <a:cxn ang="0">
                  <a:pos x="31" y="5"/>
                </a:cxn>
                <a:cxn ang="0">
                  <a:pos x="94" y="0"/>
                </a:cxn>
                <a:cxn ang="0">
                  <a:pos x="119" y="6"/>
                </a:cxn>
                <a:cxn ang="0">
                  <a:pos x="131" y="14"/>
                </a:cxn>
                <a:cxn ang="0">
                  <a:pos x="137" y="25"/>
                </a:cxn>
                <a:cxn ang="0">
                  <a:pos x="165" y="38"/>
                </a:cxn>
                <a:cxn ang="0">
                  <a:pos x="167" y="44"/>
                </a:cxn>
                <a:cxn ang="0">
                  <a:pos x="153" y="55"/>
                </a:cxn>
                <a:cxn ang="0">
                  <a:pos x="124" y="61"/>
                </a:cxn>
                <a:cxn ang="0">
                  <a:pos x="67" y="43"/>
                </a:cxn>
                <a:cxn ang="0">
                  <a:pos x="47" y="48"/>
                </a:cxn>
                <a:cxn ang="0">
                  <a:pos x="30" y="46"/>
                </a:cxn>
                <a:cxn ang="0">
                  <a:pos x="0" y="35"/>
                </a:cxn>
              </a:cxnLst>
              <a:rect l="0" t="0" r="r" b="b"/>
              <a:pathLst>
                <a:path w="167" h="61">
                  <a:moveTo>
                    <a:pt x="0" y="35"/>
                  </a:moveTo>
                  <a:lnTo>
                    <a:pt x="0" y="30"/>
                  </a:lnTo>
                  <a:lnTo>
                    <a:pt x="17" y="20"/>
                  </a:lnTo>
                  <a:lnTo>
                    <a:pt x="31" y="5"/>
                  </a:lnTo>
                  <a:lnTo>
                    <a:pt x="94" y="0"/>
                  </a:lnTo>
                  <a:lnTo>
                    <a:pt x="119" y="6"/>
                  </a:lnTo>
                  <a:lnTo>
                    <a:pt x="131" y="14"/>
                  </a:lnTo>
                  <a:lnTo>
                    <a:pt x="137" y="25"/>
                  </a:lnTo>
                  <a:lnTo>
                    <a:pt x="165" y="38"/>
                  </a:lnTo>
                  <a:lnTo>
                    <a:pt x="167" y="44"/>
                  </a:lnTo>
                  <a:lnTo>
                    <a:pt x="153" y="55"/>
                  </a:lnTo>
                  <a:lnTo>
                    <a:pt x="124" y="61"/>
                  </a:lnTo>
                  <a:lnTo>
                    <a:pt x="67" y="43"/>
                  </a:lnTo>
                  <a:lnTo>
                    <a:pt x="47" y="48"/>
                  </a:lnTo>
                  <a:lnTo>
                    <a:pt x="30" y="46"/>
                  </a:lnTo>
                  <a:lnTo>
                    <a:pt x="0" y="3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12" name="Chile"/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 bwMode="gray">
            <a:xfrm>
              <a:off x="2564817" y="6190905"/>
              <a:ext cx="53834" cy="63196"/>
            </a:xfrm>
            <a:custGeom>
              <a:avLst/>
              <a:gdLst/>
              <a:ahLst/>
              <a:cxnLst>
                <a:cxn ang="0">
                  <a:pos x="4" y="17"/>
                </a:cxn>
                <a:cxn ang="0">
                  <a:pos x="7" y="12"/>
                </a:cxn>
                <a:cxn ang="0">
                  <a:pos x="17" y="17"/>
                </a:cxn>
                <a:cxn ang="0">
                  <a:pos x="28" y="10"/>
                </a:cxn>
                <a:cxn ang="0">
                  <a:pos x="33" y="23"/>
                </a:cxn>
                <a:cxn ang="0">
                  <a:pos x="41" y="23"/>
                </a:cxn>
                <a:cxn ang="0">
                  <a:pos x="41" y="7"/>
                </a:cxn>
                <a:cxn ang="0">
                  <a:pos x="43" y="1"/>
                </a:cxn>
                <a:cxn ang="0">
                  <a:pos x="53" y="15"/>
                </a:cxn>
                <a:cxn ang="0">
                  <a:pos x="43" y="39"/>
                </a:cxn>
                <a:cxn ang="0">
                  <a:pos x="45" y="60"/>
                </a:cxn>
                <a:cxn ang="0">
                  <a:pos x="53" y="72"/>
                </a:cxn>
                <a:cxn ang="0">
                  <a:pos x="80" y="61"/>
                </a:cxn>
                <a:cxn ang="0">
                  <a:pos x="100" y="64"/>
                </a:cxn>
                <a:cxn ang="0">
                  <a:pos x="115" y="70"/>
                </a:cxn>
                <a:cxn ang="0">
                  <a:pos x="92" y="97"/>
                </a:cxn>
                <a:cxn ang="0">
                  <a:pos x="77" y="99"/>
                </a:cxn>
                <a:cxn ang="0">
                  <a:pos x="74" y="107"/>
                </a:cxn>
                <a:cxn ang="0">
                  <a:pos x="66" y="107"/>
                </a:cxn>
                <a:cxn ang="0">
                  <a:pos x="63" y="117"/>
                </a:cxn>
                <a:cxn ang="0">
                  <a:pos x="59" y="128"/>
                </a:cxn>
                <a:cxn ang="0">
                  <a:pos x="53" y="131"/>
                </a:cxn>
                <a:cxn ang="0">
                  <a:pos x="26" y="106"/>
                </a:cxn>
                <a:cxn ang="0">
                  <a:pos x="43" y="108"/>
                </a:cxn>
                <a:cxn ang="0">
                  <a:pos x="49" y="99"/>
                </a:cxn>
                <a:cxn ang="0">
                  <a:pos x="39" y="83"/>
                </a:cxn>
                <a:cxn ang="0">
                  <a:pos x="33" y="93"/>
                </a:cxn>
                <a:cxn ang="0">
                  <a:pos x="20" y="86"/>
                </a:cxn>
                <a:cxn ang="0">
                  <a:pos x="10" y="77"/>
                </a:cxn>
                <a:cxn ang="0">
                  <a:pos x="7" y="66"/>
                </a:cxn>
                <a:cxn ang="0">
                  <a:pos x="0" y="66"/>
                </a:cxn>
                <a:cxn ang="0">
                  <a:pos x="1" y="50"/>
                </a:cxn>
                <a:cxn ang="0">
                  <a:pos x="1" y="31"/>
                </a:cxn>
              </a:cxnLst>
              <a:rect l="0" t="0" r="r" b="b"/>
              <a:pathLst>
                <a:path w="115" h="134">
                  <a:moveTo>
                    <a:pt x="2" y="17"/>
                  </a:moveTo>
                  <a:lnTo>
                    <a:pt x="4" y="17"/>
                  </a:lnTo>
                  <a:lnTo>
                    <a:pt x="5" y="13"/>
                  </a:lnTo>
                  <a:lnTo>
                    <a:pt x="7" y="12"/>
                  </a:lnTo>
                  <a:lnTo>
                    <a:pt x="12" y="16"/>
                  </a:lnTo>
                  <a:lnTo>
                    <a:pt x="17" y="17"/>
                  </a:lnTo>
                  <a:lnTo>
                    <a:pt x="22" y="12"/>
                  </a:lnTo>
                  <a:lnTo>
                    <a:pt x="28" y="10"/>
                  </a:lnTo>
                  <a:lnTo>
                    <a:pt x="32" y="13"/>
                  </a:lnTo>
                  <a:lnTo>
                    <a:pt x="33" y="23"/>
                  </a:lnTo>
                  <a:lnTo>
                    <a:pt x="36" y="27"/>
                  </a:lnTo>
                  <a:lnTo>
                    <a:pt x="41" y="23"/>
                  </a:lnTo>
                  <a:lnTo>
                    <a:pt x="44" y="11"/>
                  </a:lnTo>
                  <a:lnTo>
                    <a:pt x="41" y="7"/>
                  </a:lnTo>
                  <a:lnTo>
                    <a:pt x="41" y="0"/>
                  </a:lnTo>
                  <a:lnTo>
                    <a:pt x="43" y="1"/>
                  </a:lnTo>
                  <a:lnTo>
                    <a:pt x="50" y="6"/>
                  </a:lnTo>
                  <a:lnTo>
                    <a:pt x="53" y="15"/>
                  </a:lnTo>
                  <a:lnTo>
                    <a:pt x="54" y="27"/>
                  </a:lnTo>
                  <a:lnTo>
                    <a:pt x="43" y="39"/>
                  </a:lnTo>
                  <a:lnTo>
                    <a:pt x="37" y="55"/>
                  </a:lnTo>
                  <a:lnTo>
                    <a:pt x="45" y="60"/>
                  </a:lnTo>
                  <a:lnTo>
                    <a:pt x="52" y="66"/>
                  </a:lnTo>
                  <a:lnTo>
                    <a:pt x="53" y="72"/>
                  </a:lnTo>
                  <a:lnTo>
                    <a:pt x="63" y="80"/>
                  </a:lnTo>
                  <a:lnTo>
                    <a:pt x="80" y="61"/>
                  </a:lnTo>
                  <a:lnTo>
                    <a:pt x="87" y="61"/>
                  </a:lnTo>
                  <a:lnTo>
                    <a:pt x="100" y="64"/>
                  </a:lnTo>
                  <a:lnTo>
                    <a:pt x="112" y="63"/>
                  </a:lnTo>
                  <a:lnTo>
                    <a:pt x="115" y="70"/>
                  </a:lnTo>
                  <a:lnTo>
                    <a:pt x="115" y="79"/>
                  </a:lnTo>
                  <a:lnTo>
                    <a:pt x="92" y="97"/>
                  </a:lnTo>
                  <a:lnTo>
                    <a:pt x="85" y="102"/>
                  </a:lnTo>
                  <a:lnTo>
                    <a:pt x="77" y="99"/>
                  </a:lnTo>
                  <a:lnTo>
                    <a:pt x="74" y="101"/>
                  </a:lnTo>
                  <a:lnTo>
                    <a:pt x="74" y="107"/>
                  </a:lnTo>
                  <a:lnTo>
                    <a:pt x="71" y="109"/>
                  </a:lnTo>
                  <a:lnTo>
                    <a:pt x="66" y="107"/>
                  </a:lnTo>
                  <a:lnTo>
                    <a:pt x="60" y="110"/>
                  </a:lnTo>
                  <a:lnTo>
                    <a:pt x="63" y="117"/>
                  </a:lnTo>
                  <a:lnTo>
                    <a:pt x="59" y="120"/>
                  </a:lnTo>
                  <a:lnTo>
                    <a:pt x="59" y="128"/>
                  </a:lnTo>
                  <a:lnTo>
                    <a:pt x="61" y="134"/>
                  </a:lnTo>
                  <a:lnTo>
                    <a:pt x="53" y="131"/>
                  </a:lnTo>
                  <a:lnTo>
                    <a:pt x="28" y="108"/>
                  </a:lnTo>
                  <a:lnTo>
                    <a:pt x="26" y="106"/>
                  </a:lnTo>
                  <a:lnTo>
                    <a:pt x="34" y="104"/>
                  </a:lnTo>
                  <a:lnTo>
                    <a:pt x="43" y="108"/>
                  </a:lnTo>
                  <a:lnTo>
                    <a:pt x="49" y="106"/>
                  </a:lnTo>
                  <a:lnTo>
                    <a:pt x="49" y="99"/>
                  </a:lnTo>
                  <a:lnTo>
                    <a:pt x="44" y="95"/>
                  </a:lnTo>
                  <a:lnTo>
                    <a:pt x="39" y="83"/>
                  </a:lnTo>
                  <a:lnTo>
                    <a:pt x="37" y="88"/>
                  </a:lnTo>
                  <a:lnTo>
                    <a:pt x="33" y="93"/>
                  </a:lnTo>
                  <a:lnTo>
                    <a:pt x="17" y="92"/>
                  </a:lnTo>
                  <a:lnTo>
                    <a:pt x="20" y="86"/>
                  </a:lnTo>
                  <a:lnTo>
                    <a:pt x="20" y="81"/>
                  </a:lnTo>
                  <a:lnTo>
                    <a:pt x="10" y="77"/>
                  </a:lnTo>
                  <a:lnTo>
                    <a:pt x="7" y="74"/>
                  </a:lnTo>
                  <a:lnTo>
                    <a:pt x="7" y="66"/>
                  </a:lnTo>
                  <a:lnTo>
                    <a:pt x="6" y="65"/>
                  </a:lnTo>
                  <a:lnTo>
                    <a:pt x="0" y="66"/>
                  </a:lnTo>
                  <a:lnTo>
                    <a:pt x="1" y="60"/>
                  </a:lnTo>
                  <a:lnTo>
                    <a:pt x="1" y="50"/>
                  </a:lnTo>
                  <a:lnTo>
                    <a:pt x="2" y="40"/>
                  </a:lnTo>
                  <a:lnTo>
                    <a:pt x="1" y="31"/>
                  </a:lnTo>
                  <a:lnTo>
                    <a:pt x="2" y="1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13" name="Venezuela"/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 bwMode="gray">
            <a:xfrm>
              <a:off x="2571839" y="4316085"/>
              <a:ext cx="346409" cy="294916"/>
            </a:xfrm>
            <a:custGeom>
              <a:avLst/>
              <a:gdLst/>
              <a:ahLst/>
              <a:cxnLst>
                <a:cxn ang="0">
                  <a:pos x="84" y="47"/>
                </a:cxn>
                <a:cxn ang="0">
                  <a:pos x="97" y="77"/>
                </a:cxn>
                <a:cxn ang="0">
                  <a:pos x="73" y="133"/>
                </a:cxn>
                <a:cxn ang="0">
                  <a:pos x="98" y="176"/>
                </a:cxn>
                <a:cxn ang="0">
                  <a:pos x="126" y="148"/>
                </a:cxn>
                <a:cxn ang="0">
                  <a:pos x="108" y="74"/>
                </a:cxn>
                <a:cxn ang="0">
                  <a:pos x="196" y="42"/>
                </a:cxn>
                <a:cxn ang="0">
                  <a:pos x="169" y="27"/>
                </a:cxn>
                <a:cxn ang="0">
                  <a:pos x="191" y="2"/>
                </a:cxn>
                <a:cxn ang="0">
                  <a:pos x="243" y="46"/>
                </a:cxn>
                <a:cxn ang="0">
                  <a:pos x="285" y="88"/>
                </a:cxn>
                <a:cxn ang="0">
                  <a:pos x="366" y="88"/>
                </a:cxn>
                <a:cxn ang="0">
                  <a:pos x="411" y="106"/>
                </a:cxn>
                <a:cxn ang="0">
                  <a:pos x="495" y="99"/>
                </a:cxn>
                <a:cxn ang="0">
                  <a:pos x="499" y="88"/>
                </a:cxn>
                <a:cxn ang="0">
                  <a:pos x="621" y="86"/>
                </a:cxn>
                <a:cxn ang="0">
                  <a:pos x="573" y="95"/>
                </a:cxn>
                <a:cxn ang="0">
                  <a:pos x="593" y="117"/>
                </a:cxn>
                <a:cxn ang="0">
                  <a:pos x="663" y="150"/>
                </a:cxn>
                <a:cxn ang="0">
                  <a:pos x="689" y="197"/>
                </a:cxn>
                <a:cxn ang="0">
                  <a:pos x="695" y="211"/>
                </a:cxn>
                <a:cxn ang="0">
                  <a:pos x="737" y="209"/>
                </a:cxn>
                <a:cxn ang="0">
                  <a:pos x="728" y="231"/>
                </a:cxn>
                <a:cxn ang="0">
                  <a:pos x="689" y="252"/>
                </a:cxn>
                <a:cxn ang="0">
                  <a:pos x="702" y="279"/>
                </a:cxn>
                <a:cxn ang="0">
                  <a:pos x="673" y="321"/>
                </a:cxn>
                <a:cxn ang="0">
                  <a:pos x="674" y="359"/>
                </a:cxn>
                <a:cxn ang="0">
                  <a:pos x="699" y="401"/>
                </a:cxn>
                <a:cxn ang="0">
                  <a:pos x="646" y="432"/>
                </a:cxn>
                <a:cxn ang="0">
                  <a:pos x="568" y="459"/>
                </a:cxn>
                <a:cxn ang="0">
                  <a:pos x="474" y="437"/>
                </a:cxn>
                <a:cxn ang="0">
                  <a:pos x="497" y="467"/>
                </a:cxn>
                <a:cxn ang="0">
                  <a:pos x="501" y="524"/>
                </a:cxn>
                <a:cxn ang="0">
                  <a:pos x="546" y="550"/>
                </a:cxn>
                <a:cxn ang="0">
                  <a:pos x="518" y="565"/>
                </a:cxn>
                <a:cxn ang="0">
                  <a:pos x="486" y="593"/>
                </a:cxn>
                <a:cxn ang="0">
                  <a:pos x="452" y="607"/>
                </a:cxn>
                <a:cxn ang="0">
                  <a:pos x="402" y="631"/>
                </a:cxn>
                <a:cxn ang="0">
                  <a:pos x="361" y="612"/>
                </a:cxn>
                <a:cxn ang="0">
                  <a:pos x="321" y="532"/>
                </a:cxn>
                <a:cxn ang="0">
                  <a:pos x="328" y="492"/>
                </a:cxn>
                <a:cxn ang="0">
                  <a:pos x="315" y="459"/>
                </a:cxn>
                <a:cxn ang="0">
                  <a:pos x="299" y="419"/>
                </a:cxn>
                <a:cxn ang="0">
                  <a:pos x="314" y="357"/>
                </a:cxn>
                <a:cxn ang="0">
                  <a:pos x="314" y="330"/>
                </a:cxn>
                <a:cxn ang="0">
                  <a:pos x="253" y="337"/>
                </a:cxn>
                <a:cxn ang="0">
                  <a:pos x="217" y="338"/>
                </a:cxn>
                <a:cxn ang="0">
                  <a:pos x="169" y="289"/>
                </a:cxn>
                <a:cxn ang="0">
                  <a:pos x="90" y="287"/>
                </a:cxn>
                <a:cxn ang="0">
                  <a:pos x="52" y="229"/>
                </a:cxn>
                <a:cxn ang="0">
                  <a:pos x="31" y="196"/>
                </a:cxn>
                <a:cxn ang="0">
                  <a:pos x="14" y="140"/>
                </a:cxn>
                <a:cxn ang="0">
                  <a:pos x="79" y="29"/>
                </a:cxn>
              </a:cxnLst>
              <a:rect l="0" t="0" r="r" b="b"/>
              <a:pathLst>
                <a:path w="743" h="631">
                  <a:moveTo>
                    <a:pt x="109" y="21"/>
                  </a:moveTo>
                  <a:lnTo>
                    <a:pt x="99" y="29"/>
                  </a:lnTo>
                  <a:lnTo>
                    <a:pt x="88" y="31"/>
                  </a:lnTo>
                  <a:lnTo>
                    <a:pt x="82" y="35"/>
                  </a:lnTo>
                  <a:lnTo>
                    <a:pt x="82" y="39"/>
                  </a:lnTo>
                  <a:lnTo>
                    <a:pt x="84" y="47"/>
                  </a:lnTo>
                  <a:lnTo>
                    <a:pt x="87" y="56"/>
                  </a:lnTo>
                  <a:lnTo>
                    <a:pt x="94" y="66"/>
                  </a:lnTo>
                  <a:lnTo>
                    <a:pt x="95" y="69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7" y="77"/>
                  </a:lnTo>
                  <a:lnTo>
                    <a:pt x="97" y="83"/>
                  </a:lnTo>
                  <a:lnTo>
                    <a:pt x="93" y="95"/>
                  </a:lnTo>
                  <a:lnTo>
                    <a:pt x="78" y="109"/>
                  </a:lnTo>
                  <a:lnTo>
                    <a:pt x="76" y="111"/>
                  </a:lnTo>
                  <a:lnTo>
                    <a:pt x="73" y="118"/>
                  </a:lnTo>
                  <a:lnTo>
                    <a:pt x="73" y="133"/>
                  </a:lnTo>
                  <a:lnTo>
                    <a:pt x="74" y="140"/>
                  </a:lnTo>
                  <a:lnTo>
                    <a:pt x="78" y="145"/>
                  </a:lnTo>
                  <a:lnTo>
                    <a:pt x="87" y="152"/>
                  </a:lnTo>
                  <a:lnTo>
                    <a:pt x="93" y="165"/>
                  </a:lnTo>
                  <a:lnTo>
                    <a:pt x="95" y="174"/>
                  </a:lnTo>
                  <a:lnTo>
                    <a:pt x="98" y="176"/>
                  </a:lnTo>
                  <a:lnTo>
                    <a:pt x="105" y="176"/>
                  </a:lnTo>
                  <a:lnTo>
                    <a:pt x="113" y="174"/>
                  </a:lnTo>
                  <a:lnTo>
                    <a:pt x="119" y="169"/>
                  </a:lnTo>
                  <a:lnTo>
                    <a:pt x="125" y="161"/>
                  </a:lnTo>
                  <a:lnTo>
                    <a:pt x="126" y="159"/>
                  </a:lnTo>
                  <a:lnTo>
                    <a:pt x="126" y="148"/>
                  </a:lnTo>
                  <a:lnTo>
                    <a:pt x="125" y="134"/>
                  </a:lnTo>
                  <a:lnTo>
                    <a:pt x="115" y="117"/>
                  </a:lnTo>
                  <a:lnTo>
                    <a:pt x="109" y="110"/>
                  </a:lnTo>
                  <a:lnTo>
                    <a:pt x="104" y="101"/>
                  </a:lnTo>
                  <a:lnTo>
                    <a:pt x="104" y="77"/>
                  </a:lnTo>
                  <a:lnTo>
                    <a:pt x="108" y="74"/>
                  </a:lnTo>
                  <a:lnTo>
                    <a:pt x="110" y="70"/>
                  </a:lnTo>
                  <a:lnTo>
                    <a:pt x="111" y="68"/>
                  </a:lnTo>
                  <a:lnTo>
                    <a:pt x="120" y="66"/>
                  </a:lnTo>
                  <a:lnTo>
                    <a:pt x="140" y="53"/>
                  </a:lnTo>
                  <a:lnTo>
                    <a:pt x="173" y="43"/>
                  </a:lnTo>
                  <a:lnTo>
                    <a:pt x="196" y="42"/>
                  </a:lnTo>
                  <a:lnTo>
                    <a:pt x="196" y="36"/>
                  </a:lnTo>
                  <a:lnTo>
                    <a:pt x="195" y="32"/>
                  </a:lnTo>
                  <a:lnTo>
                    <a:pt x="190" y="30"/>
                  </a:lnTo>
                  <a:lnTo>
                    <a:pt x="174" y="29"/>
                  </a:lnTo>
                  <a:lnTo>
                    <a:pt x="172" y="27"/>
                  </a:lnTo>
                  <a:lnTo>
                    <a:pt x="169" y="27"/>
                  </a:lnTo>
                  <a:lnTo>
                    <a:pt x="168" y="25"/>
                  </a:lnTo>
                  <a:lnTo>
                    <a:pt x="169" y="18"/>
                  </a:lnTo>
                  <a:lnTo>
                    <a:pt x="175" y="5"/>
                  </a:lnTo>
                  <a:lnTo>
                    <a:pt x="181" y="0"/>
                  </a:lnTo>
                  <a:lnTo>
                    <a:pt x="186" y="0"/>
                  </a:lnTo>
                  <a:lnTo>
                    <a:pt x="191" y="2"/>
                  </a:lnTo>
                  <a:lnTo>
                    <a:pt x="192" y="4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7" y="40"/>
                  </a:lnTo>
                  <a:lnTo>
                    <a:pt x="223" y="42"/>
                  </a:lnTo>
                  <a:lnTo>
                    <a:pt x="243" y="46"/>
                  </a:lnTo>
                  <a:lnTo>
                    <a:pt x="246" y="46"/>
                  </a:lnTo>
                  <a:lnTo>
                    <a:pt x="260" y="50"/>
                  </a:lnTo>
                  <a:lnTo>
                    <a:pt x="271" y="56"/>
                  </a:lnTo>
                  <a:lnTo>
                    <a:pt x="276" y="61"/>
                  </a:lnTo>
                  <a:lnTo>
                    <a:pt x="280" y="77"/>
                  </a:lnTo>
                  <a:lnTo>
                    <a:pt x="285" y="88"/>
                  </a:lnTo>
                  <a:lnTo>
                    <a:pt x="286" y="90"/>
                  </a:lnTo>
                  <a:lnTo>
                    <a:pt x="292" y="95"/>
                  </a:lnTo>
                  <a:lnTo>
                    <a:pt x="303" y="95"/>
                  </a:lnTo>
                  <a:lnTo>
                    <a:pt x="329" y="90"/>
                  </a:lnTo>
                  <a:lnTo>
                    <a:pt x="340" y="91"/>
                  </a:lnTo>
                  <a:lnTo>
                    <a:pt x="366" y="88"/>
                  </a:lnTo>
                  <a:lnTo>
                    <a:pt x="395" y="88"/>
                  </a:lnTo>
                  <a:lnTo>
                    <a:pt x="398" y="89"/>
                  </a:lnTo>
                  <a:lnTo>
                    <a:pt x="401" y="91"/>
                  </a:lnTo>
                  <a:lnTo>
                    <a:pt x="405" y="97"/>
                  </a:lnTo>
                  <a:lnTo>
                    <a:pt x="405" y="101"/>
                  </a:lnTo>
                  <a:lnTo>
                    <a:pt x="411" y="106"/>
                  </a:lnTo>
                  <a:lnTo>
                    <a:pt x="422" y="112"/>
                  </a:lnTo>
                  <a:lnTo>
                    <a:pt x="432" y="115"/>
                  </a:lnTo>
                  <a:lnTo>
                    <a:pt x="450" y="115"/>
                  </a:lnTo>
                  <a:lnTo>
                    <a:pt x="476" y="110"/>
                  </a:lnTo>
                  <a:lnTo>
                    <a:pt x="484" y="106"/>
                  </a:lnTo>
                  <a:lnTo>
                    <a:pt x="495" y="99"/>
                  </a:lnTo>
                  <a:lnTo>
                    <a:pt x="512" y="99"/>
                  </a:lnTo>
                  <a:lnTo>
                    <a:pt x="523" y="96"/>
                  </a:lnTo>
                  <a:lnTo>
                    <a:pt x="527" y="94"/>
                  </a:lnTo>
                  <a:lnTo>
                    <a:pt x="525" y="91"/>
                  </a:lnTo>
                  <a:lnTo>
                    <a:pt x="506" y="90"/>
                  </a:lnTo>
                  <a:lnTo>
                    <a:pt x="499" y="88"/>
                  </a:lnTo>
                  <a:lnTo>
                    <a:pt x="499" y="88"/>
                  </a:lnTo>
                  <a:lnTo>
                    <a:pt x="506" y="84"/>
                  </a:lnTo>
                  <a:lnTo>
                    <a:pt x="520" y="83"/>
                  </a:lnTo>
                  <a:lnTo>
                    <a:pt x="608" y="83"/>
                  </a:lnTo>
                  <a:lnTo>
                    <a:pt x="620" y="86"/>
                  </a:lnTo>
                  <a:lnTo>
                    <a:pt x="621" y="86"/>
                  </a:lnTo>
                  <a:lnTo>
                    <a:pt x="619" y="88"/>
                  </a:lnTo>
                  <a:lnTo>
                    <a:pt x="606" y="90"/>
                  </a:lnTo>
                  <a:lnTo>
                    <a:pt x="605" y="93"/>
                  </a:lnTo>
                  <a:lnTo>
                    <a:pt x="600" y="95"/>
                  </a:lnTo>
                  <a:lnTo>
                    <a:pt x="587" y="93"/>
                  </a:lnTo>
                  <a:lnTo>
                    <a:pt x="573" y="95"/>
                  </a:lnTo>
                  <a:lnTo>
                    <a:pt x="570" y="99"/>
                  </a:lnTo>
                  <a:lnTo>
                    <a:pt x="571" y="102"/>
                  </a:lnTo>
                  <a:lnTo>
                    <a:pt x="579" y="106"/>
                  </a:lnTo>
                  <a:lnTo>
                    <a:pt x="583" y="107"/>
                  </a:lnTo>
                  <a:lnTo>
                    <a:pt x="590" y="111"/>
                  </a:lnTo>
                  <a:lnTo>
                    <a:pt x="593" y="117"/>
                  </a:lnTo>
                  <a:lnTo>
                    <a:pt x="599" y="122"/>
                  </a:lnTo>
                  <a:lnTo>
                    <a:pt x="600" y="129"/>
                  </a:lnTo>
                  <a:lnTo>
                    <a:pt x="604" y="134"/>
                  </a:lnTo>
                  <a:lnTo>
                    <a:pt x="621" y="132"/>
                  </a:lnTo>
                  <a:lnTo>
                    <a:pt x="638" y="136"/>
                  </a:lnTo>
                  <a:lnTo>
                    <a:pt x="663" y="150"/>
                  </a:lnTo>
                  <a:lnTo>
                    <a:pt x="670" y="152"/>
                  </a:lnTo>
                  <a:lnTo>
                    <a:pt x="678" y="159"/>
                  </a:lnTo>
                  <a:lnTo>
                    <a:pt x="686" y="172"/>
                  </a:lnTo>
                  <a:lnTo>
                    <a:pt x="687" y="177"/>
                  </a:lnTo>
                  <a:lnTo>
                    <a:pt x="689" y="193"/>
                  </a:lnTo>
                  <a:lnTo>
                    <a:pt x="689" y="197"/>
                  </a:lnTo>
                  <a:lnTo>
                    <a:pt x="686" y="199"/>
                  </a:lnTo>
                  <a:lnTo>
                    <a:pt x="676" y="203"/>
                  </a:lnTo>
                  <a:lnTo>
                    <a:pt x="676" y="206"/>
                  </a:lnTo>
                  <a:lnTo>
                    <a:pt x="679" y="207"/>
                  </a:lnTo>
                  <a:lnTo>
                    <a:pt x="689" y="208"/>
                  </a:lnTo>
                  <a:lnTo>
                    <a:pt x="695" y="211"/>
                  </a:lnTo>
                  <a:lnTo>
                    <a:pt x="701" y="211"/>
                  </a:lnTo>
                  <a:lnTo>
                    <a:pt x="705" y="209"/>
                  </a:lnTo>
                  <a:lnTo>
                    <a:pt x="712" y="202"/>
                  </a:lnTo>
                  <a:lnTo>
                    <a:pt x="721" y="201"/>
                  </a:lnTo>
                  <a:lnTo>
                    <a:pt x="727" y="203"/>
                  </a:lnTo>
                  <a:lnTo>
                    <a:pt x="737" y="209"/>
                  </a:lnTo>
                  <a:lnTo>
                    <a:pt x="741" y="214"/>
                  </a:lnTo>
                  <a:lnTo>
                    <a:pt x="743" y="217"/>
                  </a:lnTo>
                  <a:lnTo>
                    <a:pt x="743" y="225"/>
                  </a:lnTo>
                  <a:lnTo>
                    <a:pt x="739" y="228"/>
                  </a:lnTo>
                  <a:lnTo>
                    <a:pt x="734" y="228"/>
                  </a:lnTo>
                  <a:lnTo>
                    <a:pt x="728" y="231"/>
                  </a:lnTo>
                  <a:lnTo>
                    <a:pt x="724" y="234"/>
                  </a:lnTo>
                  <a:lnTo>
                    <a:pt x="708" y="241"/>
                  </a:lnTo>
                  <a:lnTo>
                    <a:pt x="705" y="245"/>
                  </a:lnTo>
                  <a:lnTo>
                    <a:pt x="702" y="247"/>
                  </a:lnTo>
                  <a:lnTo>
                    <a:pt x="691" y="250"/>
                  </a:lnTo>
                  <a:lnTo>
                    <a:pt x="689" y="252"/>
                  </a:lnTo>
                  <a:lnTo>
                    <a:pt x="686" y="258"/>
                  </a:lnTo>
                  <a:lnTo>
                    <a:pt x="686" y="267"/>
                  </a:lnTo>
                  <a:lnTo>
                    <a:pt x="689" y="279"/>
                  </a:lnTo>
                  <a:lnTo>
                    <a:pt x="694" y="281"/>
                  </a:lnTo>
                  <a:lnTo>
                    <a:pt x="700" y="279"/>
                  </a:lnTo>
                  <a:lnTo>
                    <a:pt x="702" y="279"/>
                  </a:lnTo>
                  <a:lnTo>
                    <a:pt x="707" y="284"/>
                  </a:lnTo>
                  <a:lnTo>
                    <a:pt x="702" y="290"/>
                  </a:lnTo>
                  <a:lnTo>
                    <a:pt x="691" y="298"/>
                  </a:lnTo>
                  <a:lnTo>
                    <a:pt x="674" y="304"/>
                  </a:lnTo>
                  <a:lnTo>
                    <a:pt x="673" y="306"/>
                  </a:lnTo>
                  <a:lnTo>
                    <a:pt x="673" y="321"/>
                  </a:lnTo>
                  <a:lnTo>
                    <a:pt x="669" y="327"/>
                  </a:lnTo>
                  <a:lnTo>
                    <a:pt x="663" y="336"/>
                  </a:lnTo>
                  <a:lnTo>
                    <a:pt x="662" y="337"/>
                  </a:lnTo>
                  <a:lnTo>
                    <a:pt x="662" y="341"/>
                  </a:lnTo>
                  <a:lnTo>
                    <a:pt x="662" y="343"/>
                  </a:lnTo>
                  <a:lnTo>
                    <a:pt x="674" y="359"/>
                  </a:lnTo>
                  <a:lnTo>
                    <a:pt x="685" y="370"/>
                  </a:lnTo>
                  <a:lnTo>
                    <a:pt x="689" y="378"/>
                  </a:lnTo>
                  <a:lnTo>
                    <a:pt x="695" y="384"/>
                  </a:lnTo>
                  <a:lnTo>
                    <a:pt x="699" y="386"/>
                  </a:lnTo>
                  <a:lnTo>
                    <a:pt x="699" y="389"/>
                  </a:lnTo>
                  <a:lnTo>
                    <a:pt x="699" y="401"/>
                  </a:lnTo>
                  <a:lnTo>
                    <a:pt x="687" y="414"/>
                  </a:lnTo>
                  <a:lnTo>
                    <a:pt x="680" y="421"/>
                  </a:lnTo>
                  <a:lnTo>
                    <a:pt x="676" y="423"/>
                  </a:lnTo>
                  <a:lnTo>
                    <a:pt x="660" y="424"/>
                  </a:lnTo>
                  <a:lnTo>
                    <a:pt x="654" y="428"/>
                  </a:lnTo>
                  <a:lnTo>
                    <a:pt x="646" y="432"/>
                  </a:lnTo>
                  <a:lnTo>
                    <a:pt x="640" y="440"/>
                  </a:lnTo>
                  <a:lnTo>
                    <a:pt x="635" y="443"/>
                  </a:lnTo>
                  <a:lnTo>
                    <a:pt x="606" y="445"/>
                  </a:lnTo>
                  <a:lnTo>
                    <a:pt x="590" y="449"/>
                  </a:lnTo>
                  <a:lnTo>
                    <a:pt x="572" y="455"/>
                  </a:lnTo>
                  <a:lnTo>
                    <a:pt x="568" y="459"/>
                  </a:lnTo>
                  <a:lnTo>
                    <a:pt x="567" y="460"/>
                  </a:lnTo>
                  <a:lnTo>
                    <a:pt x="542" y="459"/>
                  </a:lnTo>
                  <a:lnTo>
                    <a:pt x="524" y="454"/>
                  </a:lnTo>
                  <a:lnTo>
                    <a:pt x="503" y="441"/>
                  </a:lnTo>
                  <a:lnTo>
                    <a:pt x="481" y="439"/>
                  </a:lnTo>
                  <a:lnTo>
                    <a:pt x="474" y="437"/>
                  </a:lnTo>
                  <a:lnTo>
                    <a:pt x="470" y="437"/>
                  </a:lnTo>
                  <a:lnTo>
                    <a:pt x="469" y="437"/>
                  </a:lnTo>
                  <a:lnTo>
                    <a:pt x="470" y="446"/>
                  </a:lnTo>
                  <a:lnTo>
                    <a:pt x="474" y="455"/>
                  </a:lnTo>
                  <a:lnTo>
                    <a:pt x="485" y="460"/>
                  </a:lnTo>
                  <a:lnTo>
                    <a:pt x="497" y="467"/>
                  </a:lnTo>
                  <a:lnTo>
                    <a:pt x="499" y="470"/>
                  </a:lnTo>
                  <a:lnTo>
                    <a:pt x="498" y="482"/>
                  </a:lnTo>
                  <a:lnTo>
                    <a:pt x="495" y="495"/>
                  </a:lnTo>
                  <a:lnTo>
                    <a:pt x="495" y="502"/>
                  </a:lnTo>
                  <a:lnTo>
                    <a:pt x="496" y="507"/>
                  </a:lnTo>
                  <a:lnTo>
                    <a:pt x="501" y="524"/>
                  </a:lnTo>
                  <a:lnTo>
                    <a:pt x="502" y="532"/>
                  </a:lnTo>
                  <a:lnTo>
                    <a:pt x="503" y="538"/>
                  </a:lnTo>
                  <a:lnTo>
                    <a:pt x="518" y="541"/>
                  </a:lnTo>
                  <a:lnTo>
                    <a:pt x="522" y="542"/>
                  </a:lnTo>
                  <a:lnTo>
                    <a:pt x="546" y="541"/>
                  </a:lnTo>
                  <a:lnTo>
                    <a:pt x="546" y="550"/>
                  </a:lnTo>
                  <a:lnTo>
                    <a:pt x="546" y="551"/>
                  </a:lnTo>
                  <a:lnTo>
                    <a:pt x="544" y="554"/>
                  </a:lnTo>
                  <a:lnTo>
                    <a:pt x="533" y="556"/>
                  </a:lnTo>
                  <a:lnTo>
                    <a:pt x="525" y="559"/>
                  </a:lnTo>
                  <a:lnTo>
                    <a:pt x="524" y="562"/>
                  </a:lnTo>
                  <a:lnTo>
                    <a:pt x="518" y="565"/>
                  </a:lnTo>
                  <a:lnTo>
                    <a:pt x="511" y="565"/>
                  </a:lnTo>
                  <a:lnTo>
                    <a:pt x="506" y="573"/>
                  </a:lnTo>
                  <a:lnTo>
                    <a:pt x="499" y="588"/>
                  </a:lnTo>
                  <a:lnTo>
                    <a:pt x="496" y="591"/>
                  </a:lnTo>
                  <a:lnTo>
                    <a:pt x="491" y="593"/>
                  </a:lnTo>
                  <a:lnTo>
                    <a:pt x="486" y="593"/>
                  </a:lnTo>
                  <a:lnTo>
                    <a:pt x="480" y="596"/>
                  </a:lnTo>
                  <a:lnTo>
                    <a:pt x="477" y="597"/>
                  </a:lnTo>
                  <a:lnTo>
                    <a:pt x="475" y="602"/>
                  </a:lnTo>
                  <a:lnTo>
                    <a:pt x="466" y="602"/>
                  </a:lnTo>
                  <a:lnTo>
                    <a:pt x="454" y="607"/>
                  </a:lnTo>
                  <a:lnTo>
                    <a:pt x="452" y="607"/>
                  </a:lnTo>
                  <a:lnTo>
                    <a:pt x="444" y="611"/>
                  </a:lnTo>
                  <a:lnTo>
                    <a:pt x="436" y="615"/>
                  </a:lnTo>
                  <a:lnTo>
                    <a:pt x="431" y="618"/>
                  </a:lnTo>
                  <a:lnTo>
                    <a:pt x="423" y="626"/>
                  </a:lnTo>
                  <a:lnTo>
                    <a:pt x="421" y="627"/>
                  </a:lnTo>
                  <a:lnTo>
                    <a:pt x="402" y="631"/>
                  </a:lnTo>
                  <a:lnTo>
                    <a:pt x="385" y="631"/>
                  </a:lnTo>
                  <a:lnTo>
                    <a:pt x="383" y="629"/>
                  </a:lnTo>
                  <a:lnTo>
                    <a:pt x="380" y="629"/>
                  </a:lnTo>
                  <a:lnTo>
                    <a:pt x="368" y="621"/>
                  </a:lnTo>
                  <a:lnTo>
                    <a:pt x="364" y="617"/>
                  </a:lnTo>
                  <a:lnTo>
                    <a:pt x="361" y="612"/>
                  </a:lnTo>
                  <a:lnTo>
                    <a:pt x="358" y="607"/>
                  </a:lnTo>
                  <a:lnTo>
                    <a:pt x="353" y="600"/>
                  </a:lnTo>
                  <a:lnTo>
                    <a:pt x="348" y="591"/>
                  </a:lnTo>
                  <a:lnTo>
                    <a:pt x="346" y="580"/>
                  </a:lnTo>
                  <a:lnTo>
                    <a:pt x="330" y="543"/>
                  </a:lnTo>
                  <a:lnTo>
                    <a:pt x="321" y="532"/>
                  </a:lnTo>
                  <a:lnTo>
                    <a:pt x="304" y="519"/>
                  </a:lnTo>
                  <a:lnTo>
                    <a:pt x="304" y="515"/>
                  </a:lnTo>
                  <a:lnTo>
                    <a:pt x="316" y="504"/>
                  </a:lnTo>
                  <a:lnTo>
                    <a:pt x="321" y="497"/>
                  </a:lnTo>
                  <a:lnTo>
                    <a:pt x="324" y="495"/>
                  </a:lnTo>
                  <a:lnTo>
                    <a:pt x="328" y="492"/>
                  </a:lnTo>
                  <a:lnTo>
                    <a:pt x="330" y="491"/>
                  </a:lnTo>
                  <a:lnTo>
                    <a:pt x="331" y="488"/>
                  </a:lnTo>
                  <a:lnTo>
                    <a:pt x="330" y="481"/>
                  </a:lnTo>
                  <a:lnTo>
                    <a:pt x="328" y="476"/>
                  </a:lnTo>
                  <a:lnTo>
                    <a:pt x="323" y="467"/>
                  </a:lnTo>
                  <a:lnTo>
                    <a:pt x="315" y="459"/>
                  </a:lnTo>
                  <a:lnTo>
                    <a:pt x="308" y="454"/>
                  </a:lnTo>
                  <a:lnTo>
                    <a:pt x="307" y="451"/>
                  </a:lnTo>
                  <a:lnTo>
                    <a:pt x="305" y="441"/>
                  </a:lnTo>
                  <a:lnTo>
                    <a:pt x="303" y="435"/>
                  </a:lnTo>
                  <a:lnTo>
                    <a:pt x="303" y="427"/>
                  </a:lnTo>
                  <a:lnTo>
                    <a:pt x="299" y="419"/>
                  </a:lnTo>
                  <a:lnTo>
                    <a:pt x="299" y="407"/>
                  </a:lnTo>
                  <a:lnTo>
                    <a:pt x="303" y="401"/>
                  </a:lnTo>
                  <a:lnTo>
                    <a:pt x="305" y="391"/>
                  </a:lnTo>
                  <a:lnTo>
                    <a:pt x="305" y="380"/>
                  </a:lnTo>
                  <a:lnTo>
                    <a:pt x="314" y="370"/>
                  </a:lnTo>
                  <a:lnTo>
                    <a:pt x="314" y="357"/>
                  </a:lnTo>
                  <a:lnTo>
                    <a:pt x="316" y="352"/>
                  </a:lnTo>
                  <a:lnTo>
                    <a:pt x="323" y="346"/>
                  </a:lnTo>
                  <a:lnTo>
                    <a:pt x="323" y="341"/>
                  </a:lnTo>
                  <a:lnTo>
                    <a:pt x="320" y="332"/>
                  </a:lnTo>
                  <a:lnTo>
                    <a:pt x="318" y="330"/>
                  </a:lnTo>
                  <a:lnTo>
                    <a:pt x="314" y="330"/>
                  </a:lnTo>
                  <a:lnTo>
                    <a:pt x="304" y="330"/>
                  </a:lnTo>
                  <a:lnTo>
                    <a:pt x="285" y="338"/>
                  </a:lnTo>
                  <a:lnTo>
                    <a:pt x="273" y="341"/>
                  </a:lnTo>
                  <a:lnTo>
                    <a:pt x="266" y="341"/>
                  </a:lnTo>
                  <a:lnTo>
                    <a:pt x="257" y="338"/>
                  </a:lnTo>
                  <a:lnTo>
                    <a:pt x="253" y="337"/>
                  </a:lnTo>
                  <a:lnTo>
                    <a:pt x="248" y="335"/>
                  </a:lnTo>
                  <a:lnTo>
                    <a:pt x="242" y="333"/>
                  </a:lnTo>
                  <a:lnTo>
                    <a:pt x="234" y="336"/>
                  </a:lnTo>
                  <a:lnTo>
                    <a:pt x="232" y="338"/>
                  </a:lnTo>
                  <a:lnTo>
                    <a:pt x="226" y="338"/>
                  </a:lnTo>
                  <a:lnTo>
                    <a:pt x="217" y="338"/>
                  </a:lnTo>
                  <a:lnTo>
                    <a:pt x="213" y="336"/>
                  </a:lnTo>
                  <a:lnTo>
                    <a:pt x="212" y="336"/>
                  </a:lnTo>
                  <a:lnTo>
                    <a:pt x="184" y="295"/>
                  </a:lnTo>
                  <a:lnTo>
                    <a:pt x="183" y="293"/>
                  </a:lnTo>
                  <a:lnTo>
                    <a:pt x="180" y="290"/>
                  </a:lnTo>
                  <a:lnTo>
                    <a:pt x="169" y="289"/>
                  </a:lnTo>
                  <a:lnTo>
                    <a:pt x="163" y="285"/>
                  </a:lnTo>
                  <a:lnTo>
                    <a:pt x="151" y="281"/>
                  </a:lnTo>
                  <a:lnTo>
                    <a:pt x="133" y="282"/>
                  </a:lnTo>
                  <a:lnTo>
                    <a:pt x="115" y="287"/>
                  </a:lnTo>
                  <a:lnTo>
                    <a:pt x="105" y="288"/>
                  </a:lnTo>
                  <a:lnTo>
                    <a:pt x="90" y="287"/>
                  </a:lnTo>
                  <a:lnTo>
                    <a:pt x="73" y="279"/>
                  </a:lnTo>
                  <a:lnTo>
                    <a:pt x="70" y="272"/>
                  </a:lnTo>
                  <a:lnTo>
                    <a:pt x="66" y="271"/>
                  </a:lnTo>
                  <a:lnTo>
                    <a:pt x="54" y="265"/>
                  </a:lnTo>
                  <a:lnTo>
                    <a:pt x="52" y="262"/>
                  </a:lnTo>
                  <a:lnTo>
                    <a:pt x="52" y="229"/>
                  </a:lnTo>
                  <a:lnTo>
                    <a:pt x="50" y="220"/>
                  </a:lnTo>
                  <a:lnTo>
                    <a:pt x="47" y="214"/>
                  </a:lnTo>
                  <a:lnTo>
                    <a:pt x="43" y="211"/>
                  </a:lnTo>
                  <a:lnTo>
                    <a:pt x="41" y="208"/>
                  </a:lnTo>
                  <a:lnTo>
                    <a:pt x="34" y="199"/>
                  </a:lnTo>
                  <a:lnTo>
                    <a:pt x="31" y="196"/>
                  </a:lnTo>
                  <a:lnTo>
                    <a:pt x="28" y="176"/>
                  </a:lnTo>
                  <a:lnTo>
                    <a:pt x="25" y="170"/>
                  </a:lnTo>
                  <a:lnTo>
                    <a:pt x="24" y="168"/>
                  </a:lnTo>
                  <a:lnTo>
                    <a:pt x="0" y="169"/>
                  </a:lnTo>
                  <a:lnTo>
                    <a:pt x="6" y="155"/>
                  </a:lnTo>
                  <a:lnTo>
                    <a:pt x="14" y="140"/>
                  </a:lnTo>
                  <a:lnTo>
                    <a:pt x="27" y="95"/>
                  </a:lnTo>
                  <a:lnTo>
                    <a:pt x="40" y="73"/>
                  </a:lnTo>
                  <a:lnTo>
                    <a:pt x="65" y="50"/>
                  </a:lnTo>
                  <a:lnTo>
                    <a:pt x="68" y="45"/>
                  </a:lnTo>
                  <a:lnTo>
                    <a:pt x="73" y="35"/>
                  </a:lnTo>
                  <a:lnTo>
                    <a:pt x="79" y="29"/>
                  </a:lnTo>
                  <a:lnTo>
                    <a:pt x="94" y="23"/>
                  </a:lnTo>
                  <a:lnTo>
                    <a:pt x="109" y="2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14" name="Ecuador"/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 bwMode="gray">
            <a:xfrm>
              <a:off x="2377569" y="4596957"/>
              <a:ext cx="145117" cy="161501"/>
            </a:xfrm>
            <a:custGeom>
              <a:avLst/>
              <a:gdLst/>
              <a:ahLst/>
              <a:cxnLst>
                <a:cxn ang="0">
                  <a:pos x="112" y="2"/>
                </a:cxn>
                <a:cxn ang="0">
                  <a:pos x="147" y="18"/>
                </a:cxn>
                <a:cxn ang="0">
                  <a:pos x="189" y="41"/>
                </a:cxn>
                <a:cxn ang="0">
                  <a:pos x="194" y="57"/>
                </a:cxn>
                <a:cxn ang="0">
                  <a:pos x="209" y="62"/>
                </a:cxn>
                <a:cxn ang="0">
                  <a:pos x="222" y="60"/>
                </a:cxn>
                <a:cxn ang="0">
                  <a:pos x="253" y="62"/>
                </a:cxn>
                <a:cxn ang="0">
                  <a:pos x="259" y="54"/>
                </a:cxn>
                <a:cxn ang="0">
                  <a:pos x="271" y="56"/>
                </a:cxn>
                <a:cxn ang="0">
                  <a:pos x="284" y="65"/>
                </a:cxn>
                <a:cxn ang="0">
                  <a:pos x="304" y="76"/>
                </a:cxn>
                <a:cxn ang="0">
                  <a:pos x="291" y="78"/>
                </a:cxn>
                <a:cxn ang="0">
                  <a:pos x="295" y="89"/>
                </a:cxn>
                <a:cxn ang="0">
                  <a:pos x="302" y="103"/>
                </a:cxn>
                <a:cxn ang="0">
                  <a:pos x="311" y="125"/>
                </a:cxn>
                <a:cxn ang="0">
                  <a:pos x="302" y="126"/>
                </a:cxn>
                <a:cxn ang="0">
                  <a:pos x="280" y="165"/>
                </a:cxn>
                <a:cxn ang="0">
                  <a:pos x="260" y="186"/>
                </a:cxn>
                <a:cxn ang="0">
                  <a:pos x="241" y="207"/>
                </a:cxn>
                <a:cxn ang="0">
                  <a:pos x="216" y="221"/>
                </a:cxn>
                <a:cxn ang="0">
                  <a:pos x="162" y="239"/>
                </a:cxn>
                <a:cxn ang="0">
                  <a:pos x="152" y="247"/>
                </a:cxn>
                <a:cxn ang="0">
                  <a:pos x="146" y="266"/>
                </a:cxn>
                <a:cxn ang="0">
                  <a:pos x="140" y="269"/>
                </a:cxn>
                <a:cxn ang="0">
                  <a:pos x="134" y="265"/>
                </a:cxn>
                <a:cxn ang="0">
                  <a:pos x="120" y="286"/>
                </a:cxn>
                <a:cxn ang="0">
                  <a:pos x="118" y="320"/>
                </a:cxn>
                <a:cxn ang="0">
                  <a:pos x="114" y="329"/>
                </a:cxn>
                <a:cxn ang="0">
                  <a:pos x="97" y="340"/>
                </a:cxn>
                <a:cxn ang="0">
                  <a:pos x="78" y="344"/>
                </a:cxn>
                <a:cxn ang="0">
                  <a:pos x="71" y="330"/>
                </a:cxn>
                <a:cxn ang="0">
                  <a:pos x="60" y="321"/>
                </a:cxn>
                <a:cxn ang="0">
                  <a:pos x="46" y="318"/>
                </a:cxn>
                <a:cxn ang="0">
                  <a:pos x="33" y="314"/>
                </a:cxn>
                <a:cxn ang="0">
                  <a:pos x="21" y="320"/>
                </a:cxn>
                <a:cxn ang="0">
                  <a:pos x="17" y="304"/>
                </a:cxn>
                <a:cxn ang="0">
                  <a:pos x="15" y="297"/>
                </a:cxn>
                <a:cxn ang="0">
                  <a:pos x="28" y="290"/>
                </a:cxn>
                <a:cxn ang="0">
                  <a:pos x="32" y="276"/>
                </a:cxn>
                <a:cxn ang="0">
                  <a:pos x="28" y="264"/>
                </a:cxn>
                <a:cxn ang="0">
                  <a:pos x="27" y="261"/>
                </a:cxn>
                <a:cxn ang="0">
                  <a:pos x="40" y="254"/>
                </a:cxn>
                <a:cxn ang="0">
                  <a:pos x="53" y="243"/>
                </a:cxn>
                <a:cxn ang="0">
                  <a:pos x="59" y="213"/>
                </a:cxn>
                <a:cxn ang="0">
                  <a:pos x="53" y="205"/>
                </a:cxn>
                <a:cxn ang="0">
                  <a:pos x="45" y="197"/>
                </a:cxn>
                <a:cxn ang="0">
                  <a:pos x="30" y="217"/>
                </a:cxn>
                <a:cxn ang="0">
                  <a:pos x="21" y="210"/>
                </a:cxn>
                <a:cxn ang="0">
                  <a:pos x="2" y="199"/>
                </a:cxn>
                <a:cxn ang="0">
                  <a:pos x="0" y="164"/>
                </a:cxn>
                <a:cxn ang="0">
                  <a:pos x="1" y="130"/>
                </a:cxn>
                <a:cxn ang="0">
                  <a:pos x="17" y="120"/>
                </a:cxn>
                <a:cxn ang="0">
                  <a:pos x="26" y="97"/>
                </a:cxn>
                <a:cxn ang="0">
                  <a:pos x="40" y="72"/>
                </a:cxn>
                <a:cxn ang="0">
                  <a:pos x="44" y="60"/>
                </a:cxn>
                <a:cxn ang="0">
                  <a:pos x="42" y="33"/>
                </a:cxn>
                <a:cxn ang="0">
                  <a:pos x="66" y="27"/>
                </a:cxn>
                <a:cxn ang="0">
                  <a:pos x="71" y="24"/>
                </a:cxn>
                <a:cxn ang="0">
                  <a:pos x="88" y="9"/>
                </a:cxn>
                <a:cxn ang="0">
                  <a:pos x="103" y="7"/>
                </a:cxn>
                <a:cxn ang="0">
                  <a:pos x="109" y="0"/>
                </a:cxn>
              </a:cxnLst>
              <a:rect l="0" t="0" r="r" b="b"/>
              <a:pathLst>
                <a:path w="311" h="345">
                  <a:moveTo>
                    <a:pt x="109" y="0"/>
                  </a:moveTo>
                  <a:lnTo>
                    <a:pt x="112" y="2"/>
                  </a:lnTo>
                  <a:lnTo>
                    <a:pt x="115" y="5"/>
                  </a:lnTo>
                  <a:lnTo>
                    <a:pt x="147" y="18"/>
                  </a:lnTo>
                  <a:lnTo>
                    <a:pt x="177" y="33"/>
                  </a:lnTo>
                  <a:lnTo>
                    <a:pt x="189" y="41"/>
                  </a:lnTo>
                  <a:lnTo>
                    <a:pt x="191" y="46"/>
                  </a:lnTo>
                  <a:lnTo>
                    <a:pt x="194" y="57"/>
                  </a:lnTo>
                  <a:lnTo>
                    <a:pt x="196" y="61"/>
                  </a:lnTo>
                  <a:lnTo>
                    <a:pt x="209" y="62"/>
                  </a:lnTo>
                  <a:lnTo>
                    <a:pt x="217" y="60"/>
                  </a:lnTo>
                  <a:lnTo>
                    <a:pt x="222" y="60"/>
                  </a:lnTo>
                  <a:lnTo>
                    <a:pt x="243" y="62"/>
                  </a:lnTo>
                  <a:lnTo>
                    <a:pt x="253" y="62"/>
                  </a:lnTo>
                  <a:lnTo>
                    <a:pt x="254" y="60"/>
                  </a:lnTo>
                  <a:lnTo>
                    <a:pt x="259" y="54"/>
                  </a:lnTo>
                  <a:lnTo>
                    <a:pt x="264" y="54"/>
                  </a:lnTo>
                  <a:lnTo>
                    <a:pt x="271" y="56"/>
                  </a:lnTo>
                  <a:lnTo>
                    <a:pt x="277" y="62"/>
                  </a:lnTo>
                  <a:lnTo>
                    <a:pt x="284" y="65"/>
                  </a:lnTo>
                  <a:lnTo>
                    <a:pt x="298" y="76"/>
                  </a:lnTo>
                  <a:lnTo>
                    <a:pt x="304" y="76"/>
                  </a:lnTo>
                  <a:lnTo>
                    <a:pt x="302" y="78"/>
                  </a:lnTo>
                  <a:lnTo>
                    <a:pt x="291" y="78"/>
                  </a:lnTo>
                  <a:lnTo>
                    <a:pt x="290" y="87"/>
                  </a:lnTo>
                  <a:lnTo>
                    <a:pt x="295" y="89"/>
                  </a:lnTo>
                  <a:lnTo>
                    <a:pt x="297" y="92"/>
                  </a:lnTo>
                  <a:lnTo>
                    <a:pt x="302" y="103"/>
                  </a:lnTo>
                  <a:lnTo>
                    <a:pt x="303" y="108"/>
                  </a:lnTo>
                  <a:lnTo>
                    <a:pt x="311" y="125"/>
                  </a:lnTo>
                  <a:lnTo>
                    <a:pt x="311" y="126"/>
                  </a:lnTo>
                  <a:lnTo>
                    <a:pt x="302" y="126"/>
                  </a:lnTo>
                  <a:lnTo>
                    <a:pt x="295" y="141"/>
                  </a:lnTo>
                  <a:lnTo>
                    <a:pt x="280" y="165"/>
                  </a:lnTo>
                  <a:lnTo>
                    <a:pt x="268" y="180"/>
                  </a:lnTo>
                  <a:lnTo>
                    <a:pt x="260" y="186"/>
                  </a:lnTo>
                  <a:lnTo>
                    <a:pt x="250" y="195"/>
                  </a:lnTo>
                  <a:lnTo>
                    <a:pt x="241" y="207"/>
                  </a:lnTo>
                  <a:lnTo>
                    <a:pt x="232" y="213"/>
                  </a:lnTo>
                  <a:lnTo>
                    <a:pt x="216" y="221"/>
                  </a:lnTo>
                  <a:lnTo>
                    <a:pt x="180" y="232"/>
                  </a:lnTo>
                  <a:lnTo>
                    <a:pt x="162" y="239"/>
                  </a:lnTo>
                  <a:lnTo>
                    <a:pt x="155" y="244"/>
                  </a:lnTo>
                  <a:lnTo>
                    <a:pt x="152" y="247"/>
                  </a:lnTo>
                  <a:lnTo>
                    <a:pt x="147" y="256"/>
                  </a:lnTo>
                  <a:lnTo>
                    <a:pt x="146" y="266"/>
                  </a:lnTo>
                  <a:lnTo>
                    <a:pt x="142" y="269"/>
                  </a:lnTo>
                  <a:lnTo>
                    <a:pt x="140" y="269"/>
                  </a:lnTo>
                  <a:lnTo>
                    <a:pt x="136" y="265"/>
                  </a:lnTo>
                  <a:lnTo>
                    <a:pt x="134" y="265"/>
                  </a:lnTo>
                  <a:lnTo>
                    <a:pt x="134" y="266"/>
                  </a:lnTo>
                  <a:lnTo>
                    <a:pt x="120" y="286"/>
                  </a:lnTo>
                  <a:lnTo>
                    <a:pt x="118" y="299"/>
                  </a:lnTo>
                  <a:lnTo>
                    <a:pt x="118" y="320"/>
                  </a:lnTo>
                  <a:lnTo>
                    <a:pt x="115" y="328"/>
                  </a:lnTo>
                  <a:lnTo>
                    <a:pt x="114" y="329"/>
                  </a:lnTo>
                  <a:lnTo>
                    <a:pt x="104" y="333"/>
                  </a:lnTo>
                  <a:lnTo>
                    <a:pt x="97" y="340"/>
                  </a:lnTo>
                  <a:lnTo>
                    <a:pt x="86" y="345"/>
                  </a:lnTo>
                  <a:lnTo>
                    <a:pt x="78" y="344"/>
                  </a:lnTo>
                  <a:lnTo>
                    <a:pt x="73" y="336"/>
                  </a:lnTo>
                  <a:lnTo>
                    <a:pt x="71" y="330"/>
                  </a:lnTo>
                  <a:lnTo>
                    <a:pt x="66" y="321"/>
                  </a:lnTo>
                  <a:lnTo>
                    <a:pt x="60" y="321"/>
                  </a:lnTo>
                  <a:lnTo>
                    <a:pt x="50" y="321"/>
                  </a:lnTo>
                  <a:lnTo>
                    <a:pt x="46" y="318"/>
                  </a:lnTo>
                  <a:lnTo>
                    <a:pt x="43" y="314"/>
                  </a:lnTo>
                  <a:lnTo>
                    <a:pt x="33" y="314"/>
                  </a:lnTo>
                  <a:lnTo>
                    <a:pt x="26" y="319"/>
                  </a:lnTo>
                  <a:lnTo>
                    <a:pt x="21" y="320"/>
                  </a:lnTo>
                  <a:lnTo>
                    <a:pt x="18" y="318"/>
                  </a:lnTo>
                  <a:lnTo>
                    <a:pt x="17" y="304"/>
                  </a:lnTo>
                  <a:lnTo>
                    <a:pt x="15" y="299"/>
                  </a:lnTo>
                  <a:lnTo>
                    <a:pt x="15" y="297"/>
                  </a:lnTo>
                  <a:lnTo>
                    <a:pt x="18" y="292"/>
                  </a:lnTo>
                  <a:lnTo>
                    <a:pt x="28" y="290"/>
                  </a:lnTo>
                  <a:lnTo>
                    <a:pt x="33" y="285"/>
                  </a:lnTo>
                  <a:lnTo>
                    <a:pt x="32" y="276"/>
                  </a:lnTo>
                  <a:lnTo>
                    <a:pt x="30" y="274"/>
                  </a:lnTo>
                  <a:lnTo>
                    <a:pt x="28" y="264"/>
                  </a:lnTo>
                  <a:lnTo>
                    <a:pt x="27" y="264"/>
                  </a:lnTo>
                  <a:lnTo>
                    <a:pt x="27" y="261"/>
                  </a:lnTo>
                  <a:lnTo>
                    <a:pt x="30" y="258"/>
                  </a:lnTo>
                  <a:lnTo>
                    <a:pt x="40" y="254"/>
                  </a:lnTo>
                  <a:lnTo>
                    <a:pt x="46" y="250"/>
                  </a:lnTo>
                  <a:lnTo>
                    <a:pt x="53" y="243"/>
                  </a:lnTo>
                  <a:lnTo>
                    <a:pt x="55" y="237"/>
                  </a:lnTo>
                  <a:lnTo>
                    <a:pt x="59" y="213"/>
                  </a:lnTo>
                  <a:lnTo>
                    <a:pt x="56" y="207"/>
                  </a:lnTo>
                  <a:lnTo>
                    <a:pt x="53" y="205"/>
                  </a:lnTo>
                  <a:lnTo>
                    <a:pt x="51" y="191"/>
                  </a:lnTo>
                  <a:lnTo>
                    <a:pt x="45" y="197"/>
                  </a:lnTo>
                  <a:lnTo>
                    <a:pt x="37" y="210"/>
                  </a:lnTo>
                  <a:lnTo>
                    <a:pt x="30" y="217"/>
                  </a:lnTo>
                  <a:lnTo>
                    <a:pt x="26" y="215"/>
                  </a:lnTo>
                  <a:lnTo>
                    <a:pt x="21" y="210"/>
                  </a:lnTo>
                  <a:lnTo>
                    <a:pt x="11" y="206"/>
                  </a:lnTo>
                  <a:lnTo>
                    <a:pt x="2" y="199"/>
                  </a:lnTo>
                  <a:lnTo>
                    <a:pt x="0" y="173"/>
                  </a:lnTo>
                  <a:lnTo>
                    <a:pt x="0" y="164"/>
                  </a:lnTo>
                  <a:lnTo>
                    <a:pt x="2" y="156"/>
                  </a:lnTo>
                  <a:lnTo>
                    <a:pt x="1" y="130"/>
                  </a:lnTo>
                  <a:lnTo>
                    <a:pt x="3" y="126"/>
                  </a:lnTo>
                  <a:lnTo>
                    <a:pt x="17" y="120"/>
                  </a:lnTo>
                  <a:lnTo>
                    <a:pt x="24" y="111"/>
                  </a:lnTo>
                  <a:lnTo>
                    <a:pt x="26" y="97"/>
                  </a:lnTo>
                  <a:lnTo>
                    <a:pt x="28" y="89"/>
                  </a:lnTo>
                  <a:lnTo>
                    <a:pt x="40" y="72"/>
                  </a:lnTo>
                  <a:lnTo>
                    <a:pt x="44" y="66"/>
                  </a:lnTo>
                  <a:lnTo>
                    <a:pt x="44" y="60"/>
                  </a:lnTo>
                  <a:lnTo>
                    <a:pt x="42" y="46"/>
                  </a:lnTo>
                  <a:lnTo>
                    <a:pt x="42" y="33"/>
                  </a:lnTo>
                  <a:lnTo>
                    <a:pt x="46" y="27"/>
                  </a:lnTo>
                  <a:lnTo>
                    <a:pt x="66" y="27"/>
                  </a:lnTo>
                  <a:lnTo>
                    <a:pt x="67" y="27"/>
                  </a:lnTo>
                  <a:lnTo>
                    <a:pt x="71" y="24"/>
                  </a:lnTo>
                  <a:lnTo>
                    <a:pt x="82" y="13"/>
                  </a:lnTo>
                  <a:lnTo>
                    <a:pt x="88" y="9"/>
                  </a:lnTo>
                  <a:lnTo>
                    <a:pt x="97" y="8"/>
                  </a:lnTo>
                  <a:lnTo>
                    <a:pt x="103" y="7"/>
                  </a:lnTo>
                  <a:lnTo>
                    <a:pt x="108" y="2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15" name="Paraguay"/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 bwMode="gray">
            <a:xfrm>
              <a:off x="2843349" y="5130614"/>
              <a:ext cx="215335" cy="229379"/>
            </a:xfrm>
            <a:custGeom>
              <a:avLst/>
              <a:gdLst/>
              <a:ahLst/>
              <a:cxnLst>
                <a:cxn ang="0">
                  <a:pos x="8" y="164"/>
                </a:cxn>
                <a:cxn ang="0">
                  <a:pos x="19" y="117"/>
                </a:cxn>
                <a:cxn ang="0">
                  <a:pos x="18" y="87"/>
                </a:cxn>
                <a:cxn ang="0">
                  <a:pos x="29" y="66"/>
                </a:cxn>
                <a:cxn ang="0">
                  <a:pos x="43" y="35"/>
                </a:cxn>
                <a:cxn ang="0">
                  <a:pos x="64" y="25"/>
                </a:cxn>
                <a:cxn ang="0">
                  <a:pos x="121" y="8"/>
                </a:cxn>
                <a:cxn ang="0">
                  <a:pos x="156" y="0"/>
                </a:cxn>
                <a:cxn ang="0">
                  <a:pos x="212" y="3"/>
                </a:cxn>
                <a:cxn ang="0">
                  <a:pos x="232" y="19"/>
                </a:cxn>
                <a:cxn ang="0">
                  <a:pos x="248" y="44"/>
                </a:cxn>
                <a:cxn ang="0">
                  <a:pos x="252" y="55"/>
                </a:cxn>
                <a:cxn ang="0">
                  <a:pos x="260" y="71"/>
                </a:cxn>
                <a:cxn ang="0">
                  <a:pos x="261" y="121"/>
                </a:cxn>
                <a:cxn ang="0">
                  <a:pos x="265" y="163"/>
                </a:cxn>
                <a:cxn ang="0">
                  <a:pos x="286" y="169"/>
                </a:cxn>
                <a:cxn ang="0">
                  <a:pos x="311" y="175"/>
                </a:cxn>
                <a:cxn ang="0">
                  <a:pos x="335" y="174"/>
                </a:cxn>
                <a:cxn ang="0">
                  <a:pos x="349" y="168"/>
                </a:cxn>
                <a:cxn ang="0">
                  <a:pos x="378" y="180"/>
                </a:cxn>
                <a:cxn ang="0">
                  <a:pos x="386" y="195"/>
                </a:cxn>
                <a:cxn ang="0">
                  <a:pos x="392" y="230"/>
                </a:cxn>
                <a:cxn ang="0">
                  <a:pos x="392" y="260"/>
                </a:cxn>
                <a:cxn ang="0">
                  <a:pos x="404" y="272"/>
                </a:cxn>
                <a:cxn ang="0">
                  <a:pos x="421" y="275"/>
                </a:cxn>
                <a:cxn ang="0">
                  <a:pos x="440" y="272"/>
                </a:cxn>
                <a:cxn ang="0">
                  <a:pos x="454" y="275"/>
                </a:cxn>
                <a:cxn ang="0">
                  <a:pos x="459" y="308"/>
                </a:cxn>
                <a:cxn ang="0">
                  <a:pos x="454" y="327"/>
                </a:cxn>
                <a:cxn ang="0">
                  <a:pos x="449" y="374"/>
                </a:cxn>
                <a:cxn ang="0">
                  <a:pos x="443" y="420"/>
                </a:cxn>
                <a:cxn ang="0">
                  <a:pos x="433" y="438"/>
                </a:cxn>
                <a:cxn ang="0">
                  <a:pos x="411" y="458"/>
                </a:cxn>
                <a:cxn ang="0">
                  <a:pos x="404" y="463"/>
                </a:cxn>
                <a:cxn ang="0">
                  <a:pos x="388" y="479"/>
                </a:cxn>
                <a:cxn ang="0">
                  <a:pos x="378" y="482"/>
                </a:cxn>
                <a:cxn ang="0">
                  <a:pos x="356" y="483"/>
                </a:cxn>
                <a:cxn ang="0">
                  <a:pos x="345" y="491"/>
                </a:cxn>
                <a:cxn ang="0">
                  <a:pos x="333" y="488"/>
                </a:cxn>
                <a:cxn ang="0">
                  <a:pos x="313" y="487"/>
                </a:cxn>
                <a:cxn ang="0">
                  <a:pos x="290" y="474"/>
                </a:cxn>
                <a:cxn ang="0">
                  <a:pos x="236" y="469"/>
                </a:cxn>
                <a:cxn ang="0">
                  <a:pos x="233" y="459"/>
                </a:cxn>
                <a:cxn ang="0">
                  <a:pos x="238" y="442"/>
                </a:cxn>
                <a:cxn ang="0">
                  <a:pos x="264" y="395"/>
                </a:cxn>
                <a:cxn ang="0">
                  <a:pos x="273" y="372"/>
                </a:cxn>
                <a:cxn ang="0">
                  <a:pos x="269" y="358"/>
                </a:cxn>
                <a:cxn ang="0">
                  <a:pos x="260" y="348"/>
                </a:cxn>
                <a:cxn ang="0">
                  <a:pos x="238" y="339"/>
                </a:cxn>
                <a:cxn ang="0">
                  <a:pos x="214" y="319"/>
                </a:cxn>
                <a:cxn ang="0">
                  <a:pos x="173" y="293"/>
                </a:cxn>
                <a:cxn ang="0">
                  <a:pos x="155" y="287"/>
                </a:cxn>
                <a:cxn ang="0">
                  <a:pos x="118" y="283"/>
                </a:cxn>
                <a:cxn ang="0">
                  <a:pos x="102" y="276"/>
                </a:cxn>
                <a:cxn ang="0">
                  <a:pos x="89" y="256"/>
                </a:cxn>
                <a:cxn ang="0">
                  <a:pos x="74" y="246"/>
                </a:cxn>
                <a:cxn ang="0">
                  <a:pos x="46" y="223"/>
                </a:cxn>
                <a:cxn ang="0">
                  <a:pos x="22" y="189"/>
                </a:cxn>
                <a:cxn ang="0">
                  <a:pos x="0" y="179"/>
                </a:cxn>
              </a:cxnLst>
              <a:rect l="0" t="0" r="r" b="b"/>
              <a:pathLst>
                <a:path w="459" h="491">
                  <a:moveTo>
                    <a:pt x="0" y="179"/>
                  </a:moveTo>
                  <a:lnTo>
                    <a:pt x="8" y="164"/>
                  </a:lnTo>
                  <a:lnTo>
                    <a:pt x="19" y="124"/>
                  </a:lnTo>
                  <a:lnTo>
                    <a:pt x="19" y="117"/>
                  </a:lnTo>
                  <a:lnTo>
                    <a:pt x="18" y="113"/>
                  </a:lnTo>
                  <a:lnTo>
                    <a:pt x="18" y="87"/>
                  </a:lnTo>
                  <a:lnTo>
                    <a:pt x="18" y="84"/>
                  </a:lnTo>
                  <a:lnTo>
                    <a:pt x="29" y="66"/>
                  </a:lnTo>
                  <a:lnTo>
                    <a:pt x="40" y="50"/>
                  </a:lnTo>
                  <a:lnTo>
                    <a:pt x="43" y="35"/>
                  </a:lnTo>
                  <a:lnTo>
                    <a:pt x="45" y="29"/>
                  </a:lnTo>
                  <a:lnTo>
                    <a:pt x="64" y="25"/>
                  </a:lnTo>
                  <a:lnTo>
                    <a:pt x="118" y="8"/>
                  </a:lnTo>
                  <a:lnTo>
                    <a:pt x="121" y="8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99" y="0"/>
                  </a:lnTo>
                  <a:lnTo>
                    <a:pt x="212" y="3"/>
                  </a:lnTo>
                  <a:lnTo>
                    <a:pt x="222" y="11"/>
                  </a:lnTo>
                  <a:lnTo>
                    <a:pt x="232" y="19"/>
                  </a:lnTo>
                  <a:lnTo>
                    <a:pt x="247" y="40"/>
                  </a:lnTo>
                  <a:lnTo>
                    <a:pt x="248" y="44"/>
                  </a:lnTo>
                  <a:lnTo>
                    <a:pt x="254" y="50"/>
                  </a:lnTo>
                  <a:lnTo>
                    <a:pt x="252" y="55"/>
                  </a:lnTo>
                  <a:lnTo>
                    <a:pt x="252" y="57"/>
                  </a:lnTo>
                  <a:lnTo>
                    <a:pt x="260" y="71"/>
                  </a:lnTo>
                  <a:lnTo>
                    <a:pt x="261" y="73"/>
                  </a:lnTo>
                  <a:lnTo>
                    <a:pt x="261" y="121"/>
                  </a:lnTo>
                  <a:lnTo>
                    <a:pt x="261" y="154"/>
                  </a:lnTo>
                  <a:lnTo>
                    <a:pt x="265" y="163"/>
                  </a:lnTo>
                  <a:lnTo>
                    <a:pt x="271" y="165"/>
                  </a:lnTo>
                  <a:lnTo>
                    <a:pt x="286" y="169"/>
                  </a:lnTo>
                  <a:lnTo>
                    <a:pt x="293" y="173"/>
                  </a:lnTo>
                  <a:lnTo>
                    <a:pt x="311" y="175"/>
                  </a:lnTo>
                  <a:lnTo>
                    <a:pt x="323" y="175"/>
                  </a:lnTo>
                  <a:lnTo>
                    <a:pt x="335" y="174"/>
                  </a:lnTo>
                  <a:lnTo>
                    <a:pt x="340" y="171"/>
                  </a:lnTo>
                  <a:lnTo>
                    <a:pt x="349" y="168"/>
                  </a:lnTo>
                  <a:lnTo>
                    <a:pt x="355" y="173"/>
                  </a:lnTo>
                  <a:lnTo>
                    <a:pt x="378" y="180"/>
                  </a:lnTo>
                  <a:lnTo>
                    <a:pt x="384" y="189"/>
                  </a:lnTo>
                  <a:lnTo>
                    <a:pt x="386" y="195"/>
                  </a:lnTo>
                  <a:lnTo>
                    <a:pt x="388" y="218"/>
                  </a:lnTo>
                  <a:lnTo>
                    <a:pt x="392" y="230"/>
                  </a:lnTo>
                  <a:lnTo>
                    <a:pt x="390" y="255"/>
                  </a:lnTo>
                  <a:lnTo>
                    <a:pt x="392" y="260"/>
                  </a:lnTo>
                  <a:lnTo>
                    <a:pt x="397" y="267"/>
                  </a:lnTo>
                  <a:lnTo>
                    <a:pt x="404" y="272"/>
                  </a:lnTo>
                  <a:lnTo>
                    <a:pt x="411" y="275"/>
                  </a:lnTo>
                  <a:lnTo>
                    <a:pt x="421" y="275"/>
                  </a:lnTo>
                  <a:lnTo>
                    <a:pt x="426" y="272"/>
                  </a:lnTo>
                  <a:lnTo>
                    <a:pt x="440" y="272"/>
                  </a:lnTo>
                  <a:lnTo>
                    <a:pt x="449" y="270"/>
                  </a:lnTo>
                  <a:lnTo>
                    <a:pt x="454" y="275"/>
                  </a:lnTo>
                  <a:lnTo>
                    <a:pt x="459" y="283"/>
                  </a:lnTo>
                  <a:lnTo>
                    <a:pt x="459" y="308"/>
                  </a:lnTo>
                  <a:lnTo>
                    <a:pt x="458" y="311"/>
                  </a:lnTo>
                  <a:lnTo>
                    <a:pt x="454" y="327"/>
                  </a:lnTo>
                  <a:lnTo>
                    <a:pt x="451" y="353"/>
                  </a:lnTo>
                  <a:lnTo>
                    <a:pt x="449" y="374"/>
                  </a:lnTo>
                  <a:lnTo>
                    <a:pt x="446" y="404"/>
                  </a:lnTo>
                  <a:lnTo>
                    <a:pt x="443" y="420"/>
                  </a:lnTo>
                  <a:lnTo>
                    <a:pt x="440" y="428"/>
                  </a:lnTo>
                  <a:lnTo>
                    <a:pt x="433" y="438"/>
                  </a:lnTo>
                  <a:lnTo>
                    <a:pt x="425" y="447"/>
                  </a:lnTo>
                  <a:lnTo>
                    <a:pt x="411" y="458"/>
                  </a:lnTo>
                  <a:lnTo>
                    <a:pt x="409" y="461"/>
                  </a:lnTo>
                  <a:lnTo>
                    <a:pt x="404" y="463"/>
                  </a:lnTo>
                  <a:lnTo>
                    <a:pt x="390" y="475"/>
                  </a:lnTo>
                  <a:lnTo>
                    <a:pt x="388" y="479"/>
                  </a:lnTo>
                  <a:lnTo>
                    <a:pt x="386" y="480"/>
                  </a:lnTo>
                  <a:lnTo>
                    <a:pt x="378" y="482"/>
                  </a:lnTo>
                  <a:lnTo>
                    <a:pt x="363" y="480"/>
                  </a:lnTo>
                  <a:lnTo>
                    <a:pt x="356" y="483"/>
                  </a:lnTo>
                  <a:lnTo>
                    <a:pt x="352" y="488"/>
                  </a:lnTo>
                  <a:lnTo>
                    <a:pt x="345" y="491"/>
                  </a:lnTo>
                  <a:lnTo>
                    <a:pt x="338" y="491"/>
                  </a:lnTo>
                  <a:lnTo>
                    <a:pt x="333" y="488"/>
                  </a:lnTo>
                  <a:lnTo>
                    <a:pt x="323" y="490"/>
                  </a:lnTo>
                  <a:lnTo>
                    <a:pt x="313" y="487"/>
                  </a:lnTo>
                  <a:lnTo>
                    <a:pt x="296" y="476"/>
                  </a:lnTo>
                  <a:lnTo>
                    <a:pt x="290" y="474"/>
                  </a:lnTo>
                  <a:lnTo>
                    <a:pt x="258" y="469"/>
                  </a:lnTo>
                  <a:lnTo>
                    <a:pt x="236" y="469"/>
                  </a:lnTo>
                  <a:lnTo>
                    <a:pt x="233" y="465"/>
                  </a:lnTo>
                  <a:lnTo>
                    <a:pt x="233" y="459"/>
                  </a:lnTo>
                  <a:lnTo>
                    <a:pt x="236" y="450"/>
                  </a:lnTo>
                  <a:lnTo>
                    <a:pt x="238" y="442"/>
                  </a:lnTo>
                  <a:lnTo>
                    <a:pt x="249" y="417"/>
                  </a:lnTo>
                  <a:lnTo>
                    <a:pt x="264" y="395"/>
                  </a:lnTo>
                  <a:lnTo>
                    <a:pt x="273" y="382"/>
                  </a:lnTo>
                  <a:lnTo>
                    <a:pt x="273" y="372"/>
                  </a:lnTo>
                  <a:lnTo>
                    <a:pt x="271" y="363"/>
                  </a:lnTo>
                  <a:lnTo>
                    <a:pt x="269" y="358"/>
                  </a:lnTo>
                  <a:lnTo>
                    <a:pt x="265" y="357"/>
                  </a:lnTo>
                  <a:lnTo>
                    <a:pt x="260" y="348"/>
                  </a:lnTo>
                  <a:lnTo>
                    <a:pt x="252" y="342"/>
                  </a:lnTo>
                  <a:lnTo>
                    <a:pt x="238" y="339"/>
                  </a:lnTo>
                  <a:lnTo>
                    <a:pt x="230" y="327"/>
                  </a:lnTo>
                  <a:lnTo>
                    <a:pt x="214" y="319"/>
                  </a:lnTo>
                  <a:lnTo>
                    <a:pt x="199" y="311"/>
                  </a:lnTo>
                  <a:lnTo>
                    <a:pt x="173" y="293"/>
                  </a:lnTo>
                  <a:lnTo>
                    <a:pt x="167" y="291"/>
                  </a:lnTo>
                  <a:lnTo>
                    <a:pt x="155" y="287"/>
                  </a:lnTo>
                  <a:lnTo>
                    <a:pt x="126" y="286"/>
                  </a:lnTo>
                  <a:lnTo>
                    <a:pt x="118" y="283"/>
                  </a:lnTo>
                  <a:lnTo>
                    <a:pt x="107" y="280"/>
                  </a:lnTo>
                  <a:lnTo>
                    <a:pt x="102" y="276"/>
                  </a:lnTo>
                  <a:lnTo>
                    <a:pt x="101" y="275"/>
                  </a:lnTo>
                  <a:lnTo>
                    <a:pt x="89" y="256"/>
                  </a:lnTo>
                  <a:lnTo>
                    <a:pt x="85" y="253"/>
                  </a:lnTo>
                  <a:lnTo>
                    <a:pt x="74" y="246"/>
                  </a:lnTo>
                  <a:lnTo>
                    <a:pt x="49" y="228"/>
                  </a:lnTo>
                  <a:lnTo>
                    <a:pt x="46" y="223"/>
                  </a:lnTo>
                  <a:lnTo>
                    <a:pt x="33" y="210"/>
                  </a:lnTo>
                  <a:lnTo>
                    <a:pt x="22" y="189"/>
                  </a:lnTo>
                  <a:lnTo>
                    <a:pt x="16" y="184"/>
                  </a:lnTo>
                  <a:lnTo>
                    <a:pt x="0" y="17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16" name="Chile"/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 bwMode="gray">
            <a:xfrm>
              <a:off x="2513324" y="5083802"/>
              <a:ext cx="217676" cy="1184344"/>
            </a:xfrm>
            <a:custGeom>
              <a:avLst/>
              <a:gdLst/>
              <a:ahLst/>
              <a:cxnLst>
                <a:cxn ang="0">
                  <a:pos x="375" y="93"/>
                </a:cxn>
                <a:cxn ang="0">
                  <a:pos x="368" y="149"/>
                </a:cxn>
                <a:cxn ang="0">
                  <a:pos x="398" y="209"/>
                </a:cxn>
                <a:cxn ang="0">
                  <a:pos x="429" y="311"/>
                </a:cxn>
                <a:cxn ang="0">
                  <a:pos x="436" y="385"/>
                </a:cxn>
                <a:cxn ang="0">
                  <a:pos x="387" y="508"/>
                </a:cxn>
                <a:cxn ang="0">
                  <a:pos x="329" y="628"/>
                </a:cxn>
                <a:cxn ang="0">
                  <a:pos x="300" y="766"/>
                </a:cxn>
                <a:cxn ang="0">
                  <a:pos x="284" y="863"/>
                </a:cxn>
                <a:cxn ang="0">
                  <a:pos x="298" y="1032"/>
                </a:cxn>
                <a:cxn ang="0">
                  <a:pos x="269" y="1148"/>
                </a:cxn>
                <a:cxn ang="0">
                  <a:pos x="242" y="1290"/>
                </a:cxn>
                <a:cxn ang="0">
                  <a:pos x="208" y="1440"/>
                </a:cxn>
                <a:cxn ang="0">
                  <a:pos x="190" y="1597"/>
                </a:cxn>
                <a:cxn ang="0">
                  <a:pos x="201" y="1739"/>
                </a:cxn>
                <a:cxn ang="0">
                  <a:pos x="214" y="1785"/>
                </a:cxn>
                <a:cxn ang="0">
                  <a:pos x="212" y="1915"/>
                </a:cxn>
                <a:cxn ang="0">
                  <a:pos x="171" y="2027"/>
                </a:cxn>
                <a:cxn ang="0">
                  <a:pos x="137" y="2139"/>
                </a:cxn>
                <a:cxn ang="0">
                  <a:pos x="129" y="2264"/>
                </a:cxn>
                <a:cxn ang="0">
                  <a:pos x="179" y="2283"/>
                </a:cxn>
                <a:cxn ang="0">
                  <a:pos x="306" y="2367"/>
                </a:cxn>
                <a:cxn ang="0">
                  <a:pos x="355" y="2386"/>
                </a:cxn>
                <a:cxn ang="0">
                  <a:pos x="268" y="2429"/>
                </a:cxn>
                <a:cxn ang="0">
                  <a:pos x="214" y="2525"/>
                </a:cxn>
                <a:cxn ang="0">
                  <a:pos x="208" y="2477"/>
                </a:cxn>
                <a:cxn ang="0">
                  <a:pos x="189" y="2413"/>
                </a:cxn>
                <a:cxn ang="0">
                  <a:pos x="171" y="2376"/>
                </a:cxn>
                <a:cxn ang="0">
                  <a:pos x="160" y="2345"/>
                </a:cxn>
                <a:cxn ang="0">
                  <a:pos x="125" y="2343"/>
                </a:cxn>
                <a:cxn ang="0">
                  <a:pos x="81" y="2285"/>
                </a:cxn>
                <a:cxn ang="0">
                  <a:pos x="79" y="2240"/>
                </a:cxn>
                <a:cxn ang="0">
                  <a:pos x="70" y="2173"/>
                </a:cxn>
                <a:cxn ang="0">
                  <a:pos x="93" y="2117"/>
                </a:cxn>
                <a:cxn ang="0">
                  <a:pos x="70" y="2076"/>
                </a:cxn>
                <a:cxn ang="0">
                  <a:pos x="59" y="2042"/>
                </a:cxn>
                <a:cxn ang="0">
                  <a:pos x="109" y="2032"/>
                </a:cxn>
                <a:cxn ang="0">
                  <a:pos x="63" y="1979"/>
                </a:cxn>
                <a:cxn ang="0">
                  <a:pos x="66" y="1920"/>
                </a:cxn>
                <a:cxn ang="0">
                  <a:pos x="15" y="1930"/>
                </a:cxn>
                <a:cxn ang="0">
                  <a:pos x="44" y="1871"/>
                </a:cxn>
                <a:cxn ang="0">
                  <a:pos x="72" y="1856"/>
                </a:cxn>
                <a:cxn ang="0">
                  <a:pos x="91" y="1888"/>
                </a:cxn>
                <a:cxn ang="0">
                  <a:pos x="118" y="1879"/>
                </a:cxn>
                <a:cxn ang="0">
                  <a:pos x="114" y="1849"/>
                </a:cxn>
                <a:cxn ang="0">
                  <a:pos x="117" y="1818"/>
                </a:cxn>
                <a:cxn ang="0">
                  <a:pos x="120" y="1806"/>
                </a:cxn>
                <a:cxn ang="0">
                  <a:pos x="149" y="1740"/>
                </a:cxn>
                <a:cxn ang="0">
                  <a:pos x="146" y="1691"/>
                </a:cxn>
                <a:cxn ang="0">
                  <a:pos x="158" y="1601"/>
                </a:cxn>
                <a:cxn ang="0">
                  <a:pos x="153" y="1558"/>
                </a:cxn>
                <a:cxn ang="0">
                  <a:pos x="141" y="1525"/>
                </a:cxn>
                <a:cxn ang="0">
                  <a:pos x="92" y="1504"/>
                </a:cxn>
                <a:cxn ang="0">
                  <a:pos x="115" y="1329"/>
                </a:cxn>
                <a:cxn ang="0">
                  <a:pos x="122" y="1219"/>
                </a:cxn>
                <a:cxn ang="0">
                  <a:pos x="166" y="1105"/>
                </a:cxn>
                <a:cxn ang="0">
                  <a:pos x="221" y="928"/>
                </a:cxn>
                <a:cxn ang="0">
                  <a:pos x="226" y="719"/>
                </a:cxn>
                <a:cxn ang="0">
                  <a:pos x="253" y="565"/>
                </a:cxn>
                <a:cxn ang="0">
                  <a:pos x="275" y="461"/>
                </a:cxn>
                <a:cxn ang="0">
                  <a:pos x="279" y="317"/>
                </a:cxn>
                <a:cxn ang="0">
                  <a:pos x="292" y="142"/>
                </a:cxn>
                <a:cxn ang="0">
                  <a:pos x="312" y="25"/>
                </a:cxn>
              </a:cxnLst>
              <a:rect l="0" t="0" r="r" b="b"/>
              <a:pathLst>
                <a:path w="463" h="2531">
                  <a:moveTo>
                    <a:pt x="325" y="0"/>
                  </a:moveTo>
                  <a:lnTo>
                    <a:pt x="328" y="0"/>
                  </a:lnTo>
                  <a:lnTo>
                    <a:pt x="339" y="14"/>
                  </a:lnTo>
                  <a:lnTo>
                    <a:pt x="343" y="18"/>
                  </a:lnTo>
                  <a:lnTo>
                    <a:pt x="350" y="27"/>
                  </a:lnTo>
                  <a:lnTo>
                    <a:pt x="350" y="37"/>
                  </a:lnTo>
                  <a:lnTo>
                    <a:pt x="354" y="69"/>
                  </a:lnTo>
                  <a:lnTo>
                    <a:pt x="357" y="78"/>
                  </a:lnTo>
                  <a:lnTo>
                    <a:pt x="362" y="83"/>
                  </a:lnTo>
                  <a:lnTo>
                    <a:pt x="375" y="93"/>
                  </a:lnTo>
                  <a:lnTo>
                    <a:pt x="382" y="100"/>
                  </a:lnTo>
                  <a:lnTo>
                    <a:pt x="383" y="110"/>
                  </a:lnTo>
                  <a:lnTo>
                    <a:pt x="379" y="115"/>
                  </a:lnTo>
                  <a:lnTo>
                    <a:pt x="378" y="121"/>
                  </a:lnTo>
                  <a:lnTo>
                    <a:pt x="382" y="127"/>
                  </a:lnTo>
                  <a:lnTo>
                    <a:pt x="382" y="131"/>
                  </a:lnTo>
                  <a:lnTo>
                    <a:pt x="379" y="132"/>
                  </a:lnTo>
                  <a:lnTo>
                    <a:pt x="372" y="136"/>
                  </a:lnTo>
                  <a:lnTo>
                    <a:pt x="371" y="137"/>
                  </a:lnTo>
                  <a:lnTo>
                    <a:pt x="368" y="149"/>
                  </a:lnTo>
                  <a:lnTo>
                    <a:pt x="368" y="155"/>
                  </a:lnTo>
                  <a:lnTo>
                    <a:pt x="376" y="159"/>
                  </a:lnTo>
                  <a:lnTo>
                    <a:pt x="379" y="164"/>
                  </a:lnTo>
                  <a:lnTo>
                    <a:pt x="379" y="172"/>
                  </a:lnTo>
                  <a:lnTo>
                    <a:pt x="379" y="180"/>
                  </a:lnTo>
                  <a:lnTo>
                    <a:pt x="382" y="183"/>
                  </a:lnTo>
                  <a:lnTo>
                    <a:pt x="387" y="185"/>
                  </a:lnTo>
                  <a:lnTo>
                    <a:pt x="394" y="192"/>
                  </a:lnTo>
                  <a:lnTo>
                    <a:pt x="395" y="196"/>
                  </a:lnTo>
                  <a:lnTo>
                    <a:pt x="398" y="209"/>
                  </a:lnTo>
                  <a:lnTo>
                    <a:pt x="398" y="218"/>
                  </a:lnTo>
                  <a:lnTo>
                    <a:pt x="404" y="228"/>
                  </a:lnTo>
                  <a:lnTo>
                    <a:pt x="407" y="250"/>
                  </a:lnTo>
                  <a:lnTo>
                    <a:pt x="407" y="268"/>
                  </a:lnTo>
                  <a:lnTo>
                    <a:pt x="411" y="290"/>
                  </a:lnTo>
                  <a:lnTo>
                    <a:pt x="411" y="294"/>
                  </a:lnTo>
                  <a:lnTo>
                    <a:pt x="415" y="306"/>
                  </a:lnTo>
                  <a:lnTo>
                    <a:pt x="415" y="308"/>
                  </a:lnTo>
                  <a:lnTo>
                    <a:pt x="422" y="311"/>
                  </a:lnTo>
                  <a:lnTo>
                    <a:pt x="429" y="311"/>
                  </a:lnTo>
                  <a:lnTo>
                    <a:pt x="441" y="311"/>
                  </a:lnTo>
                  <a:lnTo>
                    <a:pt x="447" y="309"/>
                  </a:lnTo>
                  <a:lnTo>
                    <a:pt x="457" y="309"/>
                  </a:lnTo>
                  <a:lnTo>
                    <a:pt x="457" y="311"/>
                  </a:lnTo>
                  <a:lnTo>
                    <a:pt x="458" y="311"/>
                  </a:lnTo>
                  <a:lnTo>
                    <a:pt x="458" y="314"/>
                  </a:lnTo>
                  <a:lnTo>
                    <a:pt x="463" y="319"/>
                  </a:lnTo>
                  <a:lnTo>
                    <a:pt x="463" y="331"/>
                  </a:lnTo>
                  <a:lnTo>
                    <a:pt x="454" y="378"/>
                  </a:lnTo>
                  <a:lnTo>
                    <a:pt x="436" y="385"/>
                  </a:lnTo>
                  <a:lnTo>
                    <a:pt x="388" y="407"/>
                  </a:lnTo>
                  <a:lnTo>
                    <a:pt x="387" y="414"/>
                  </a:lnTo>
                  <a:lnTo>
                    <a:pt x="387" y="422"/>
                  </a:lnTo>
                  <a:lnTo>
                    <a:pt x="389" y="432"/>
                  </a:lnTo>
                  <a:lnTo>
                    <a:pt x="389" y="441"/>
                  </a:lnTo>
                  <a:lnTo>
                    <a:pt x="383" y="449"/>
                  </a:lnTo>
                  <a:lnTo>
                    <a:pt x="382" y="451"/>
                  </a:lnTo>
                  <a:lnTo>
                    <a:pt x="382" y="467"/>
                  </a:lnTo>
                  <a:lnTo>
                    <a:pt x="387" y="482"/>
                  </a:lnTo>
                  <a:lnTo>
                    <a:pt x="387" y="508"/>
                  </a:lnTo>
                  <a:lnTo>
                    <a:pt x="389" y="519"/>
                  </a:lnTo>
                  <a:lnTo>
                    <a:pt x="393" y="534"/>
                  </a:lnTo>
                  <a:lnTo>
                    <a:pt x="395" y="548"/>
                  </a:lnTo>
                  <a:lnTo>
                    <a:pt x="394" y="551"/>
                  </a:lnTo>
                  <a:lnTo>
                    <a:pt x="389" y="554"/>
                  </a:lnTo>
                  <a:lnTo>
                    <a:pt x="379" y="558"/>
                  </a:lnTo>
                  <a:lnTo>
                    <a:pt x="364" y="573"/>
                  </a:lnTo>
                  <a:lnTo>
                    <a:pt x="361" y="575"/>
                  </a:lnTo>
                  <a:lnTo>
                    <a:pt x="354" y="600"/>
                  </a:lnTo>
                  <a:lnTo>
                    <a:pt x="329" y="628"/>
                  </a:lnTo>
                  <a:lnTo>
                    <a:pt x="323" y="654"/>
                  </a:lnTo>
                  <a:lnTo>
                    <a:pt x="318" y="675"/>
                  </a:lnTo>
                  <a:lnTo>
                    <a:pt x="317" y="682"/>
                  </a:lnTo>
                  <a:lnTo>
                    <a:pt x="311" y="696"/>
                  </a:lnTo>
                  <a:lnTo>
                    <a:pt x="308" y="704"/>
                  </a:lnTo>
                  <a:lnTo>
                    <a:pt x="307" y="729"/>
                  </a:lnTo>
                  <a:lnTo>
                    <a:pt x="308" y="739"/>
                  </a:lnTo>
                  <a:lnTo>
                    <a:pt x="308" y="749"/>
                  </a:lnTo>
                  <a:lnTo>
                    <a:pt x="305" y="762"/>
                  </a:lnTo>
                  <a:lnTo>
                    <a:pt x="300" y="766"/>
                  </a:lnTo>
                  <a:lnTo>
                    <a:pt x="300" y="769"/>
                  </a:lnTo>
                  <a:lnTo>
                    <a:pt x="298" y="776"/>
                  </a:lnTo>
                  <a:lnTo>
                    <a:pt x="292" y="782"/>
                  </a:lnTo>
                  <a:lnTo>
                    <a:pt x="289" y="796"/>
                  </a:lnTo>
                  <a:lnTo>
                    <a:pt x="281" y="811"/>
                  </a:lnTo>
                  <a:lnTo>
                    <a:pt x="280" y="814"/>
                  </a:lnTo>
                  <a:lnTo>
                    <a:pt x="276" y="825"/>
                  </a:lnTo>
                  <a:lnTo>
                    <a:pt x="274" y="841"/>
                  </a:lnTo>
                  <a:lnTo>
                    <a:pt x="274" y="854"/>
                  </a:lnTo>
                  <a:lnTo>
                    <a:pt x="284" y="863"/>
                  </a:lnTo>
                  <a:lnTo>
                    <a:pt x="284" y="892"/>
                  </a:lnTo>
                  <a:lnTo>
                    <a:pt x="296" y="925"/>
                  </a:lnTo>
                  <a:lnTo>
                    <a:pt x="297" y="935"/>
                  </a:lnTo>
                  <a:lnTo>
                    <a:pt x="296" y="947"/>
                  </a:lnTo>
                  <a:lnTo>
                    <a:pt x="303" y="955"/>
                  </a:lnTo>
                  <a:lnTo>
                    <a:pt x="306" y="960"/>
                  </a:lnTo>
                  <a:lnTo>
                    <a:pt x="309" y="979"/>
                  </a:lnTo>
                  <a:lnTo>
                    <a:pt x="311" y="997"/>
                  </a:lnTo>
                  <a:lnTo>
                    <a:pt x="311" y="1013"/>
                  </a:lnTo>
                  <a:lnTo>
                    <a:pt x="298" y="1032"/>
                  </a:lnTo>
                  <a:lnTo>
                    <a:pt x="292" y="1045"/>
                  </a:lnTo>
                  <a:lnTo>
                    <a:pt x="290" y="1052"/>
                  </a:lnTo>
                  <a:lnTo>
                    <a:pt x="286" y="1075"/>
                  </a:lnTo>
                  <a:lnTo>
                    <a:pt x="285" y="1078"/>
                  </a:lnTo>
                  <a:lnTo>
                    <a:pt x="274" y="1088"/>
                  </a:lnTo>
                  <a:lnTo>
                    <a:pt x="275" y="1117"/>
                  </a:lnTo>
                  <a:lnTo>
                    <a:pt x="278" y="1134"/>
                  </a:lnTo>
                  <a:lnTo>
                    <a:pt x="278" y="1142"/>
                  </a:lnTo>
                  <a:lnTo>
                    <a:pt x="275" y="1144"/>
                  </a:lnTo>
                  <a:lnTo>
                    <a:pt x="269" y="1148"/>
                  </a:lnTo>
                  <a:lnTo>
                    <a:pt x="266" y="1151"/>
                  </a:lnTo>
                  <a:lnTo>
                    <a:pt x="265" y="1159"/>
                  </a:lnTo>
                  <a:lnTo>
                    <a:pt x="263" y="1161"/>
                  </a:lnTo>
                  <a:lnTo>
                    <a:pt x="257" y="1161"/>
                  </a:lnTo>
                  <a:lnTo>
                    <a:pt x="253" y="1164"/>
                  </a:lnTo>
                  <a:lnTo>
                    <a:pt x="247" y="1172"/>
                  </a:lnTo>
                  <a:lnTo>
                    <a:pt x="242" y="1186"/>
                  </a:lnTo>
                  <a:lnTo>
                    <a:pt x="238" y="1225"/>
                  </a:lnTo>
                  <a:lnTo>
                    <a:pt x="238" y="1262"/>
                  </a:lnTo>
                  <a:lnTo>
                    <a:pt x="242" y="1290"/>
                  </a:lnTo>
                  <a:lnTo>
                    <a:pt x="247" y="1301"/>
                  </a:lnTo>
                  <a:lnTo>
                    <a:pt x="247" y="1314"/>
                  </a:lnTo>
                  <a:lnTo>
                    <a:pt x="243" y="1323"/>
                  </a:lnTo>
                  <a:lnTo>
                    <a:pt x="235" y="1332"/>
                  </a:lnTo>
                  <a:lnTo>
                    <a:pt x="230" y="1337"/>
                  </a:lnTo>
                  <a:lnTo>
                    <a:pt x="227" y="1343"/>
                  </a:lnTo>
                  <a:lnTo>
                    <a:pt x="225" y="1358"/>
                  </a:lnTo>
                  <a:lnTo>
                    <a:pt x="208" y="1419"/>
                  </a:lnTo>
                  <a:lnTo>
                    <a:pt x="206" y="1424"/>
                  </a:lnTo>
                  <a:lnTo>
                    <a:pt x="208" y="1440"/>
                  </a:lnTo>
                  <a:lnTo>
                    <a:pt x="199" y="1481"/>
                  </a:lnTo>
                  <a:lnTo>
                    <a:pt x="196" y="1510"/>
                  </a:lnTo>
                  <a:lnTo>
                    <a:pt x="200" y="1525"/>
                  </a:lnTo>
                  <a:lnTo>
                    <a:pt x="209" y="1533"/>
                  </a:lnTo>
                  <a:lnTo>
                    <a:pt x="210" y="1537"/>
                  </a:lnTo>
                  <a:lnTo>
                    <a:pt x="210" y="1549"/>
                  </a:lnTo>
                  <a:lnTo>
                    <a:pt x="209" y="1554"/>
                  </a:lnTo>
                  <a:lnTo>
                    <a:pt x="205" y="1563"/>
                  </a:lnTo>
                  <a:lnTo>
                    <a:pt x="195" y="1576"/>
                  </a:lnTo>
                  <a:lnTo>
                    <a:pt x="190" y="1597"/>
                  </a:lnTo>
                  <a:lnTo>
                    <a:pt x="190" y="1633"/>
                  </a:lnTo>
                  <a:lnTo>
                    <a:pt x="193" y="1639"/>
                  </a:lnTo>
                  <a:lnTo>
                    <a:pt x="196" y="1641"/>
                  </a:lnTo>
                  <a:lnTo>
                    <a:pt x="198" y="1646"/>
                  </a:lnTo>
                  <a:lnTo>
                    <a:pt x="196" y="1673"/>
                  </a:lnTo>
                  <a:lnTo>
                    <a:pt x="198" y="1678"/>
                  </a:lnTo>
                  <a:lnTo>
                    <a:pt x="203" y="1688"/>
                  </a:lnTo>
                  <a:lnTo>
                    <a:pt x="205" y="1703"/>
                  </a:lnTo>
                  <a:lnTo>
                    <a:pt x="201" y="1732"/>
                  </a:lnTo>
                  <a:lnTo>
                    <a:pt x="201" y="1739"/>
                  </a:lnTo>
                  <a:lnTo>
                    <a:pt x="209" y="1739"/>
                  </a:lnTo>
                  <a:lnTo>
                    <a:pt x="223" y="1742"/>
                  </a:lnTo>
                  <a:lnTo>
                    <a:pt x="231" y="1751"/>
                  </a:lnTo>
                  <a:lnTo>
                    <a:pt x="232" y="1759"/>
                  </a:lnTo>
                  <a:lnTo>
                    <a:pt x="230" y="1768"/>
                  </a:lnTo>
                  <a:lnTo>
                    <a:pt x="216" y="1769"/>
                  </a:lnTo>
                  <a:lnTo>
                    <a:pt x="200" y="1767"/>
                  </a:lnTo>
                  <a:lnTo>
                    <a:pt x="196" y="1769"/>
                  </a:lnTo>
                  <a:lnTo>
                    <a:pt x="200" y="1779"/>
                  </a:lnTo>
                  <a:lnTo>
                    <a:pt x="214" y="1785"/>
                  </a:lnTo>
                  <a:lnTo>
                    <a:pt x="223" y="1797"/>
                  </a:lnTo>
                  <a:lnTo>
                    <a:pt x="223" y="1807"/>
                  </a:lnTo>
                  <a:lnTo>
                    <a:pt x="219" y="1812"/>
                  </a:lnTo>
                  <a:lnTo>
                    <a:pt x="215" y="1817"/>
                  </a:lnTo>
                  <a:lnTo>
                    <a:pt x="214" y="1827"/>
                  </a:lnTo>
                  <a:lnTo>
                    <a:pt x="214" y="1853"/>
                  </a:lnTo>
                  <a:lnTo>
                    <a:pt x="212" y="1858"/>
                  </a:lnTo>
                  <a:lnTo>
                    <a:pt x="212" y="1871"/>
                  </a:lnTo>
                  <a:lnTo>
                    <a:pt x="214" y="1879"/>
                  </a:lnTo>
                  <a:lnTo>
                    <a:pt x="212" y="1915"/>
                  </a:lnTo>
                  <a:lnTo>
                    <a:pt x="206" y="1930"/>
                  </a:lnTo>
                  <a:lnTo>
                    <a:pt x="200" y="1945"/>
                  </a:lnTo>
                  <a:lnTo>
                    <a:pt x="199" y="1955"/>
                  </a:lnTo>
                  <a:lnTo>
                    <a:pt x="189" y="1973"/>
                  </a:lnTo>
                  <a:lnTo>
                    <a:pt x="176" y="1992"/>
                  </a:lnTo>
                  <a:lnTo>
                    <a:pt x="172" y="1998"/>
                  </a:lnTo>
                  <a:lnTo>
                    <a:pt x="171" y="2004"/>
                  </a:lnTo>
                  <a:lnTo>
                    <a:pt x="169" y="2019"/>
                  </a:lnTo>
                  <a:lnTo>
                    <a:pt x="171" y="2019"/>
                  </a:lnTo>
                  <a:lnTo>
                    <a:pt x="171" y="2027"/>
                  </a:lnTo>
                  <a:lnTo>
                    <a:pt x="173" y="2033"/>
                  </a:lnTo>
                  <a:lnTo>
                    <a:pt x="176" y="2044"/>
                  </a:lnTo>
                  <a:lnTo>
                    <a:pt x="176" y="2053"/>
                  </a:lnTo>
                  <a:lnTo>
                    <a:pt x="172" y="2055"/>
                  </a:lnTo>
                  <a:lnTo>
                    <a:pt x="171" y="2059"/>
                  </a:lnTo>
                  <a:lnTo>
                    <a:pt x="168" y="2080"/>
                  </a:lnTo>
                  <a:lnTo>
                    <a:pt x="165" y="2093"/>
                  </a:lnTo>
                  <a:lnTo>
                    <a:pt x="162" y="2098"/>
                  </a:lnTo>
                  <a:lnTo>
                    <a:pt x="151" y="2112"/>
                  </a:lnTo>
                  <a:lnTo>
                    <a:pt x="137" y="2139"/>
                  </a:lnTo>
                  <a:lnTo>
                    <a:pt x="133" y="2143"/>
                  </a:lnTo>
                  <a:lnTo>
                    <a:pt x="128" y="2154"/>
                  </a:lnTo>
                  <a:lnTo>
                    <a:pt x="120" y="2186"/>
                  </a:lnTo>
                  <a:lnTo>
                    <a:pt x="120" y="2198"/>
                  </a:lnTo>
                  <a:lnTo>
                    <a:pt x="119" y="2208"/>
                  </a:lnTo>
                  <a:lnTo>
                    <a:pt x="119" y="2238"/>
                  </a:lnTo>
                  <a:lnTo>
                    <a:pt x="120" y="2241"/>
                  </a:lnTo>
                  <a:lnTo>
                    <a:pt x="123" y="2256"/>
                  </a:lnTo>
                  <a:lnTo>
                    <a:pt x="125" y="2263"/>
                  </a:lnTo>
                  <a:lnTo>
                    <a:pt x="129" y="2264"/>
                  </a:lnTo>
                  <a:lnTo>
                    <a:pt x="133" y="2261"/>
                  </a:lnTo>
                  <a:lnTo>
                    <a:pt x="136" y="2253"/>
                  </a:lnTo>
                  <a:lnTo>
                    <a:pt x="144" y="2248"/>
                  </a:lnTo>
                  <a:lnTo>
                    <a:pt x="163" y="2252"/>
                  </a:lnTo>
                  <a:lnTo>
                    <a:pt x="168" y="2246"/>
                  </a:lnTo>
                  <a:lnTo>
                    <a:pt x="169" y="2246"/>
                  </a:lnTo>
                  <a:lnTo>
                    <a:pt x="173" y="2247"/>
                  </a:lnTo>
                  <a:lnTo>
                    <a:pt x="176" y="2249"/>
                  </a:lnTo>
                  <a:lnTo>
                    <a:pt x="178" y="2268"/>
                  </a:lnTo>
                  <a:lnTo>
                    <a:pt x="179" y="2283"/>
                  </a:lnTo>
                  <a:lnTo>
                    <a:pt x="178" y="2340"/>
                  </a:lnTo>
                  <a:lnTo>
                    <a:pt x="179" y="2345"/>
                  </a:lnTo>
                  <a:lnTo>
                    <a:pt x="185" y="2359"/>
                  </a:lnTo>
                  <a:lnTo>
                    <a:pt x="190" y="2364"/>
                  </a:lnTo>
                  <a:lnTo>
                    <a:pt x="204" y="2370"/>
                  </a:lnTo>
                  <a:lnTo>
                    <a:pt x="259" y="2370"/>
                  </a:lnTo>
                  <a:lnTo>
                    <a:pt x="264" y="2371"/>
                  </a:lnTo>
                  <a:lnTo>
                    <a:pt x="269" y="2371"/>
                  </a:lnTo>
                  <a:lnTo>
                    <a:pt x="289" y="2371"/>
                  </a:lnTo>
                  <a:lnTo>
                    <a:pt x="306" y="2367"/>
                  </a:lnTo>
                  <a:lnTo>
                    <a:pt x="317" y="2369"/>
                  </a:lnTo>
                  <a:lnTo>
                    <a:pt x="343" y="2377"/>
                  </a:lnTo>
                  <a:lnTo>
                    <a:pt x="375" y="2383"/>
                  </a:lnTo>
                  <a:lnTo>
                    <a:pt x="389" y="2391"/>
                  </a:lnTo>
                  <a:lnTo>
                    <a:pt x="394" y="2392"/>
                  </a:lnTo>
                  <a:lnTo>
                    <a:pt x="394" y="2396"/>
                  </a:lnTo>
                  <a:lnTo>
                    <a:pt x="391" y="2397"/>
                  </a:lnTo>
                  <a:lnTo>
                    <a:pt x="379" y="2393"/>
                  </a:lnTo>
                  <a:lnTo>
                    <a:pt x="368" y="2393"/>
                  </a:lnTo>
                  <a:lnTo>
                    <a:pt x="355" y="2386"/>
                  </a:lnTo>
                  <a:lnTo>
                    <a:pt x="348" y="2385"/>
                  </a:lnTo>
                  <a:lnTo>
                    <a:pt x="333" y="2392"/>
                  </a:lnTo>
                  <a:lnTo>
                    <a:pt x="330" y="2399"/>
                  </a:lnTo>
                  <a:lnTo>
                    <a:pt x="327" y="2405"/>
                  </a:lnTo>
                  <a:lnTo>
                    <a:pt x="311" y="2409"/>
                  </a:lnTo>
                  <a:lnTo>
                    <a:pt x="294" y="2419"/>
                  </a:lnTo>
                  <a:lnTo>
                    <a:pt x="290" y="2424"/>
                  </a:lnTo>
                  <a:lnTo>
                    <a:pt x="281" y="2426"/>
                  </a:lnTo>
                  <a:lnTo>
                    <a:pt x="275" y="2425"/>
                  </a:lnTo>
                  <a:lnTo>
                    <a:pt x="268" y="2429"/>
                  </a:lnTo>
                  <a:lnTo>
                    <a:pt x="259" y="2431"/>
                  </a:lnTo>
                  <a:lnTo>
                    <a:pt x="259" y="2455"/>
                  </a:lnTo>
                  <a:lnTo>
                    <a:pt x="253" y="2479"/>
                  </a:lnTo>
                  <a:lnTo>
                    <a:pt x="251" y="2512"/>
                  </a:lnTo>
                  <a:lnTo>
                    <a:pt x="249" y="2521"/>
                  </a:lnTo>
                  <a:lnTo>
                    <a:pt x="246" y="2527"/>
                  </a:lnTo>
                  <a:lnTo>
                    <a:pt x="243" y="2531"/>
                  </a:lnTo>
                  <a:lnTo>
                    <a:pt x="237" y="2531"/>
                  </a:lnTo>
                  <a:lnTo>
                    <a:pt x="222" y="2526"/>
                  </a:lnTo>
                  <a:lnTo>
                    <a:pt x="214" y="2525"/>
                  </a:lnTo>
                  <a:lnTo>
                    <a:pt x="194" y="2515"/>
                  </a:lnTo>
                  <a:lnTo>
                    <a:pt x="183" y="2505"/>
                  </a:lnTo>
                  <a:lnTo>
                    <a:pt x="178" y="2495"/>
                  </a:lnTo>
                  <a:lnTo>
                    <a:pt x="179" y="2485"/>
                  </a:lnTo>
                  <a:lnTo>
                    <a:pt x="188" y="2480"/>
                  </a:lnTo>
                  <a:lnTo>
                    <a:pt x="190" y="2488"/>
                  </a:lnTo>
                  <a:lnTo>
                    <a:pt x="189" y="2494"/>
                  </a:lnTo>
                  <a:lnTo>
                    <a:pt x="198" y="2490"/>
                  </a:lnTo>
                  <a:lnTo>
                    <a:pt x="201" y="2483"/>
                  </a:lnTo>
                  <a:lnTo>
                    <a:pt x="208" y="2477"/>
                  </a:lnTo>
                  <a:lnTo>
                    <a:pt x="220" y="2475"/>
                  </a:lnTo>
                  <a:lnTo>
                    <a:pt x="231" y="2468"/>
                  </a:lnTo>
                  <a:lnTo>
                    <a:pt x="238" y="2461"/>
                  </a:lnTo>
                  <a:lnTo>
                    <a:pt x="243" y="2450"/>
                  </a:lnTo>
                  <a:lnTo>
                    <a:pt x="244" y="2442"/>
                  </a:lnTo>
                  <a:lnTo>
                    <a:pt x="233" y="2436"/>
                  </a:lnTo>
                  <a:lnTo>
                    <a:pt x="227" y="2428"/>
                  </a:lnTo>
                  <a:lnTo>
                    <a:pt x="222" y="2417"/>
                  </a:lnTo>
                  <a:lnTo>
                    <a:pt x="211" y="2414"/>
                  </a:lnTo>
                  <a:lnTo>
                    <a:pt x="189" y="2413"/>
                  </a:lnTo>
                  <a:lnTo>
                    <a:pt x="176" y="2418"/>
                  </a:lnTo>
                  <a:lnTo>
                    <a:pt x="171" y="2424"/>
                  </a:lnTo>
                  <a:lnTo>
                    <a:pt x="171" y="2417"/>
                  </a:lnTo>
                  <a:lnTo>
                    <a:pt x="168" y="2412"/>
                  </a:lnTo>
                  <a:lnTo>
                    <a:pt x="153" y="2414"/>
                  </a:lnTo>
                  <a:lnTo>
                    <a:pt x="153" y="2409"/>
                  </a:lnTo>
                  <a:lnTo>
                    <a:pt x="156" y="2404"/>
                  </a:lnTo>
                  <a:lnTo>
                    <a:pt x="168" y="2398"/>
                  </a:lnTo>
                  <a:lnTo>
                    <a:pt x="171" y="2388"/>
                  </a:lnTo>
                  <a:lnTo>
                    <a:pt x="171" y="2376"/>
                  </a:lnTo>
                  <a:lnTo>
                    <a:pt x="160" y="2364"/>
                  </a:lnTo>
                  <a:lnTo>
                    <a:pt x="168" y="2360"/>
                  </a:lnTo>
                  <a:lnTo>
                    <a:pt x="169" y="2354"/>
                  </a:lnTo>
                  <a:lnTo>
                    <a:pt x="168" y="2345"/>
                  </a:lnTo>
                  <a:lnTo>
                    <a:pt x="160" y="2335"/>
                  </a:lnTo>
                  <a:lnTo>
                    <a:pt x="145" y="2322"/>
                  </a:lnTo>
                  <a:lnTo>
                    <a:pt x="134" y="2316"/>
                  </a:lnTo>
                  <a:lnTo>
                    <a:pt x="129" y="2316"/>
                  </a:lnTo>
                  <a:lnTo>
                    <a:pt x="160" y="2338"/>
                  </a:lnTo>
                  <a:lnTo>
                    <a:pt x="160" y="2345"/>
                  </a:lnTo>
                  <a:lnTo>
                    <a:pt x="153" y="2348"/>
                  </a:lnTo>
                  <a:lnTo>
                    <a:pt x="146" y="2344"/>
                  </a:lnTo>
                  <a:lnTo>
                    <a:pt x="137" y="2335"/>
                  </a:lnTo>
                  <a:lnTo>
                    <a:pt x="135" y="2338"/>
                  </a:lnTo>
                  <a:lnTo>
                    <a:pt x="141" y="2351"/>
                  </a:lnTo>
                  <a:lnTo>
                    <a:pt x="137" y="2361"/>
                  </a:lnTo>
                  <a:lnTo>
                    <a:pt x="133" y="2365"/>
                  </a:lnTo>
                  <a:lnTo>
                    <a:pt x="130" y="2360"/>
                  </a:lnTo>
                  <a:lnTo>
                    <a:pt x="126" y="2353"/>
                  </a:lnTo>
                  <a:lnTo>
                    <a:pt x="125" y="2343"/>
                  </a:lnTo>
                  <a:lnTo>
                    <a:pt x="119" y="2329"/>
                  </a:lnTo>
                  <a:lnTo>
                    <a:pt x="125" y="2344"/>
                  </a:lnTo>
                  <a:lnTo>
                    <a:pt x="126" y="2359"/>
                  </a:lnTo>
                  <a:lnTo>
                    <a:pt x="125" y="2371"/>
                  </a:lnTo>
                  <a:lnTo>
                    <a:pt x="119" y="2370"/>
                  </a:lnTo>
                  <a:lnTo>
                    <a:pt x="114" y="2367"/>
                  </a:lnTo>
                  <a:lnTo>
                    <a:pt x="110" y="2355"/>
                  </a:lnTo>
                  <a:lnTo>
                    <a:pt x="113" y="2332"/>
                  </a:lnTo>
                  <a:lnTo>
                    <a:pt x="106" y="2312"/>
                  </a:lnTo>
                  <a:lnTo>
                    <a:pt x="81" y="2285"/>
                  </a:lnTo>
                  <a:lnTo>
                    <a:pt x="79" y="2274"/>
                  </a:lnTo>
                  <a:lnTo>
                    <a:pt x="81" y="2267"/>
                  </a:lnTo>
                  <a:lnTo>
                    <a:pt x="92" y="2267"/>
                  </a:lnTo>
                  <a:lnTo>
                    <a:pt x="102" y="2263"/>
                  </a:lnTo>
                  <a:lnTo>
                    <a:pt x="101" y="2252"/>
                  </a:lnTo>
                  <a:lnTo>
                    <a:pt x="97" y="2249"/>
                  </a:lnTo>
                  <a:lnTo>
                    <a:pt x="94" y="2256"/>
                  </a:lnTo>
                  <a:lnTo>
                    <a:pt x="90" y="2256"/>
                  </a:lnTo>
                  <a:lnTo>
                    <a:pt x="83" y="2251"/>
                  </a:lnTo>
                  <a:lnTo>
                    <a:pt x="79" y="2240"/>
                  </a:lnTo>
                  <a:lnTo>
                    <a:pt x="82" y="2234"/>
                  </a:lnTo>
                  <a:lnTo>
                    <a:pt x="93" y="2237"/>
                  </a:lnTo>
                  <a:lnTo>
                    <a:pt x="92" y="2234"/>
                  </a:lnTo>
                  <a:lnTo>
                    <a:pt x="86" y="2227"/>
                  </a:lnTo>
                  <a:lnTo>
                    <a:pt x="74" y="2225"/>
                  </a:lnTo>
                  <a:lnTo>
                    <a:pt x="66" y="2221"/>
                  </a:lnTo>
                  <a:lnTo>
                    <a:pt x="60" y="2214"/>
                  </a:lnTo>
                  <a:lnTo>
                    <a:pt x="55" y="2204"/>
                  </a:lnTo>
                  <a:lnTo>
                    <a:pt x="69" y="2189"/>
                  </a:lnTo>
                  <a:lnTo>
                    <a:pt x="70" y="2173"/>
                  </a:lnTo>
                  <a:lnTo>
                    <a:pt x="72" y="2170"/>
                  </a:lnTo>
                  <a:lnTo>
                    <a:pt x="72" y="2164"/>
                  </a:lnTo>
                  <a:lnTo>
                    <a:pt x="87" y="2154"/>
                  </a:lnTo>
                  <a:lnTo>
                    <a:pt x="93" y="2156"/>
                  </a:lnTo>
                  <a:lnTo>
                    <a:pt x="97" y="2156"/>
                  </a:lnTo>
                  <a:lnTo>
                    <a:pt x="97" y="2154"/>
                  </a:lnTo>
                  <a:lnTo>
                    <a:pt x="92" y="2150"/>
                  </a:lnTo>
                  <a:lnTo>
                    <a:pt x="90" y="2144"/>
                  </a:lnTo>
                  <a:lnTo>
                    <a:pt x="97" y="2116"/>
                  </a:lnTo>
                  <a:lnTo>
                    <a:pt x="93" y="2117"/>
                  </a:lnTo>
                  <a:lnTo>
                    <a:pt x="85" y="2125"/>
                  </a:lnTo>
                  <a:lnTo>
                    <a:pt x="82" y="2134"/>
                  </a:lnTo>
                  <a:lnTo>
                    <a:pt x="77" y="2144"/>
                  </a:lnTo>
                  <a:lnTo>
                    <a:pt x="72" y="2141"/>
                  </a:lnTo>
                  <a:lnTo>
                    <a:pt x="70" y="2134"/>
                  </a:lnTo>
                  <a:lnTo>
                    <a:pt x="69" y="2119"/>
                  </a:lnTo>
                  <a:lnTo>
                    <a:pt x="69" y="2089"/>
                  </a:lnTo>
                  <a:lnTo>
                    <a:pt x="72" y="2082"/>
                  </a:lnTo>
                  <a:lnTo>
                    <a:pt x="77" y="2084"/>
                  </a:lnTo>
                  <a:lnTo>
                    <a:pt x="70" y="2076"/>
                  </a:lnTo>
                  <a:lnTo>
                    <a:pt x="72" y="2065"/>
                  </a:lnTo>
                  <a:lnTo>
                    <a:pt x="88" y="2064"/>
                  </a:lnTo>
                  <a:lnTo>
                    <a:pt x="98" y="2073"/>
                  </a:lnTo>
                  <a:lnTo>
                    <a:pt x="96" y="2064"/>
                  </a:lnTo>
                  <a:lnTo>
                    <a:pt x="93" y="2052"/>
                  </a:lnTo>
                  <a:lnTo>
                    <a:pt x="90" y="2057"/>
                  </a:lnTo>
                  <a:lnTo>
                    <a:pt x="69" y="2062"/>
                  </a:lnTo>
                  <a:lnTo>
                    <a:pt x="65" y="2058"/>
                  </a:lnTo>
                  <a:lnTo>
                    <a:pt x="63" y="2048"/>
                  </a:lnTo>
                  <a:lnTo>
                    <a:pt x="59" y="2042"/>
                  </a:lnTo>
                  <a:lnTo>
                    <a:pt x="59" y="2021"/>
                  </a:lnTo>
                  <a:lnTo>
                    <a:pt x="66" y="2022"/>
                  </a:lnTo>
                  <a:lnTo>
                    <a:pt x="72" y="2032"/>
                  </a:lnTo>
                  <a:lnTo>
                    <a:pt x="76" y="2042"/>
                  </a:lnTo>
                  <a:lnTo>
                    <a:pt x="75" y="2027"/>
                  </a:lnTo>
                  <a:lnTo>
                    <a:pt x="79" y="2025"/>
                  </a:lnTo>
                  <a:lnTo>
                    <a:pt x="99" y="2028"/>
                  </a:lnTo>
                  <a:lnTo>
                    <a:pt x="115" y="2041"/>
                  </a:lnTo>
                  <a:lnTo>
                    <a:pt x="122" y="2041"/>
                  </a:lnTo>
                  <a:lnTo>
                    <a:pt x="109" y="2032"/>
                  </a:lnTo>
                  <a:lnTo>
                    <a:pt x="102" y="2019"/>
                  </a:lnTo>
                  <a:lnTo>
                    <a:pt x="99" y="2005"/>
                  </a:lnTo>
                  <a:lnTo>
                    <a:pt x="97" y="1999"/>
                  </a:lnTo>
                  <a:lnTo>
                    <a:pt x="94" y="2006"/>
                  </a:lnTo>
                  <a:lnTo>
                    <a:pt x="81" y="2005"/>
                  </a:lnTo>
                  <a:lnTo>
                    <a:pt x="76" y="2000"/>
                  </a:lnTo>
                  <a:lnTo>
                    <a:pt x="77" y="1995"/>
                  </a:lnTo>
                  <a:lnTo>
                    <a:pt x="85" y="1989"/>
                  </a:lnTo>
                  <a:lnTo>
                    <a:pt x="76" y="1987"/>
                  </a:lnTo>
                  <a:lnTo>
                    <a:pt x="63" y="1979"/>
                  </a:lnTo>
                  <a:lnTo>
                    <a:pt x="60" y="1976"/>
                  </a:lnTo>
                  <a:lnTo>
                    <a:pt x="65" y="1966"/>
                  </a:lnTo>
                  <a:lnTo>
                    <a:pt x="76" y="1961"/>
                  </a:lnTo>
                  <a:lnTo>
                    <a:pt x="85" y="1958"/>
                  </a:lnTo>
                  <a:lnTo>
                    <a:pt x="77" y="1951"/>
                  </a:lnTo>
                  <a:lnTo>
                    <a:pt x="87" y="1941"/>
                  </a:lnTo>
                  <a:lnTo>
                    <a:pt x="83" y="1939"/>
                  </a:lnTo>
                  <a:lnTo>
                    <a:pt x="81" y="1931"/>
                  </a:lnTo>
                  <a:lnTo>
                    <a:pt x="74" y="1925"/>
                  </a:lnTo>
                  <a:lnTo>
                    <a:pt x="66" y="1920"/>
                  </a:lnTo>
                  <a:lnTo>
                    <a:pt x="59" y="1920"/>
                  </a:lnTo>
                  <a:lnTo>
                    <a:pt x="54" y="1926"/>
                  </a:lnTo>
                  <a:lnTo>
                    <a:pt x="48" y="1929"/>
                  </a:lnTo>
                  <a:lnTo>
                    <a:pt x="33" y="1922"/>
                  </a:lnTo>
                  <a:lnTo>
                    <a:pt x="28" y="1914"/>
                  </a:lnTo>
                  <a:lnTo>
                    <a:pt x="22" y="1909"/>
                  </a:lnTo>
                  <a:lnTo>
                    <a:pt x="13" y="1914"/>
                  </a:lnTo>
                  <a:lnTo>
                    <a:pt x="7" y="1919"/>
                  </a:lnTo>
                  <a:lnTo>
                    <a:pt x="12" y="1923"/>
                  </a:lnTo>
                  <a:lnTo>
                    <a:pt x="15" y="1930"/>
                  </a:lnTo>
                  <a:lnTo>
                    <a:pt x="12" y="1939"/>
                  </a:lnTo>
                  <a:lnTo>
                    <a:pt x="1" y="1937"/>
                  </a:lnTo>
                  <a:lnTo>
                    <a:pt x="0" y="1929"/>
                  </a:lnTo>
                  <a:lnTo>
                    <a:pt x="4" y="1908"/>
                  </a:lnTo>
                  <a:lnTo>
                    <a:pt x="12" y="1903"/>
                  </a:lnTo>
                  <a:lnTo>
                    <a:pt x="20" y="1896"/>
                  </a:lnTo>
                  <a:lnTo>
                    <a:pt x="27" y="1885"/>
                  </a:lnTo>
                  <a:lnTo>
                    <a:pt x="36" y="1883"/>
                  </a:lnTo>
                  <a:lnTo>
                    <a:pt x="44" y="1879"/>
                  </a:lnTo>
                  <a:lnTo>
                    <a:pt x="44" y="1871"/>
                  </a:lnTo>
                  <a:lnTo>
                    <a:pt x="42" y="1870"/>
                  </a:lnTo>
                  <a:lnTo>
                    <a:pt x="36" y="1871"/>
                  </a:lnTo>
                  <a:lnTo>
                    <a:pt x="32" y="1869"/>
                  </a:lnTo>
                  <a:lnTo>
                    <a:pt x="29" y="1865"/>
                  </a:lnTo>
                  <a:lnTo>
                    <a:pt x="29" y="1856"/>
                  </a:lnTo>
                  <a:lnTo>
                    <a:pt x="47" y="1853"/>
                  </a:lnTo>
                  <a:lnTo>
                    <a:pt x="55" y="1855"/>
                  </a:lnTo>
                  <a:lnTo>
                    <a:pt x="59" y="1859"/>
                  </a:lnTo>
                  <a:lnTo>
                    <a:pt x="66" y="1853"/>
                  </a:lnTo>
                  <a:lnTo>
                    <a:pt x="72" y="1856"/>
                  </a:lnTo>
                  <a:lnTo>
                    <a:pt x="79" y="1860"/>
                  </a:lnTo>
                  <a:lnTo>
                    <a:pt x="76" y="1867"/>
                  </a:lnTo>
                  <a:lnTo>
                    <a:pt x="77" y="1874"/>
                  </a:lnTo>
                  <a:lnTo>
                    <a:pt x="82" y="1869"/>
                  </a:lnTo>
                  <a:lnTo>
                    <a:pt x="82" y="1876"/>
                  </a:lnTo>
                  <a:lnTo>
                    <a:pt x="76" y="1883"/>
                  </a:lnTo>
                  <a:lnTo>
                    <a:pt x="74" y="1890"/>
                  </a:lnTo>
                  <a:lnTo>
                    <a:pt x="79" y="1897"/>
                  </a:lnTo>
                  <a:lnTo>
                    <a:pt x="86" y="1898"/>
                  </a:lnTo>
                  <a:lnTo>
                    <a:pt x="91" y="1888"/>
                  </a:lnTo>
                  <a:lnTo>
                    <a:pt x="96" y="1882"/>
                  </a:lnTo>
                  <a:lnTo>
                    <a:pt x="97" y="1888"/>
                  </a:lnTo>
                  <a:lnTo>
                    <a:pt x="94" y="1899"/>
                  </a:lnTo>
                  <a:lnTo>
                    <a:pt x="94" y="1906"/>
                  </a:lnTo>
                  <a:lnTo>
                    <a:pt x="99" y="1903"/>
                  </a:lnTo>
                  <a:lnTo>
                    <a:pt x="101" y="1896"/>
                  </a:lnTo>
                  <a:lnTo>
                    <a:pt x="104" y="1892"/>
                  </a:lnTo>
                  <a:lnTo>
                    <a:pt x="112" y="1886"/>
                  </a:lnTo>
                  <a:lnTo>
                    <a:pt x="118" y="1882"/>
                  </a:lnTo>
                  <a:lnTo>
                    <a:pt x="118" y="1879"/>
                  </a:lnTo>
                  <a:lnTo>
                    <a:pt x="120" y="1870"/>
                  </a:lnTo>
                  <a:lnTo>
                    <a:pt x="125" y="1859"/>
                  </a:lnTo>
                  <a:lnTo>
                    <a:pt x="125" y="1852"/>
                  </a:lnTo>
                  <a:lnTo>
                    <a:pt x="120" y="1855"/>
                  </a:lnTo>
                  <a:lnTo>
                    <a:pt x="117" y="1860"/>
                  </a:lnTo>
                  <a:lnTo>
                    <a:pt x="115" y="1866"/>
                  </a:lnTo>
                  <a:lnTo>
                    <a:pt x="108" y="1880"/>
                  </a:lnTo>
                  <a:lnTo>
                    <a:pt x="110" y="1855"/>
                  </a:lnTo>
                  <a:lnTo>
                    <a:pt x="113" y="1850"/>
                  </a:lnTo>
                  <a:lnTo>
                    <a:pt x="114" y="1849"/>
                  </a:lnTo>
                  <a:lnTo>
                    <a:pt x="128" y="1847"/>
                  </a:lnTo>
                  <a:lnTo>
                    <a:pt x="119" y="1844"/>
                  </a:lnTo>
                  <a:lnTo>
                    <a:pt x="119" y="1839"/>
                  </a:lnTo>
                  <a:lnTo>
                    <a:pt x="124" y="1834"/>
                  </a:lnTo>
                  <a:lnTo>
                    <a:pt x="131" y="1831"/>
                  </a:lnTo>
                  <a:lnTo>
                    <a:pt x="131" y="1827"/>
                  </a:lnTo>
                  <a:lnTo>
                    <a:pt x="124" y="1828"/>
                  </a:lnTo>
                  <a:lnTo>
                    <a:pt x="112" y="1833"/>
                  </a:lnTo>
                  <a:lnTo>
                    <a:pt x="113" y="1823"/>
                  </a:lnTo>
                  <a:lnTo>
                    <a:pt x="117" y="1818"/>
                  </a:lnTo>
                  <a:lnTo>
                    <a:pt x="122" y="1813"/>
                  </a:lnTo>
                  <a:lnTo>
                    <a:pt x="126" y="1812"/>
                  </a:lnTo>
                  <a:lnTo>
                    <a:pt x="134" y="1818"/>
                  </a:lnTo>
                  <a:lnTo>
                    <a:pt x="140" y="1821"/>
                  </a:lnTo>
                  <a:lnTo>
                    <a:pt x="144" y="1824"/>
                  </a:lnTo>
                  <a:lnTo>
                    <a:pt x="150" y="1823"/>
                  </a:lnTo>
                  <a:lnTo>
                    <a:pt x="150" y="1816"/>
                  </a:lnTo>
                  <a:lnTo>
                    <a:pt x="142" y="1816"/>
                  </a:lnTo>
                  <a:lnTo>
                    <a:pt x="129" y="1807"/>
                  </a:lnTo>
                  <a:lnTo>
                    <a:pt x="120" y="1806"/>
                  </a:lnTo>
                  <a:lnTo>
                    <a:pt x="122" y="1795"/>
                  </a:lnTo>
                  <a:lnTo>
                    <a:pt x="122" y="1789"/>
                  </a:lnTo>
                  <a:lnTo>
                    <a:pt x="126" y="1786"/>
                  </a:lnTo>
                  <a:lnTo>
                    <a:pt x="136" y="1786"/>
                  </a:lnTo>
                  <a:lnTo>
                    <a:pt x="145" y="1784"/>
                  </a:lnTo>
                  <a:lnTo>
                    <a:pt x="156" y="1773"/>
                  </a:lnTo>
                  <a:lnTo>
                    <a:pt x="157" y="1767"/>
                  </a:lnTo>
                  <a:lnTo>
                    <a:pt x="157" y="1750"/>
                  </a:lnTo>
                  <a:lnTo>
                    <a:pt x="153" y="1742"/>
                  </a:lnTo>
                  <a:lnTo>
                    <a:pt x="149" y="1740"/>
                  </a:lnTo>
                  <a:lnTo>
                    <a:pt x="136" y="1729"/>
                  </a:lnTo>
                  <a:lnTo>
                    <a:pt x="130" y="1726"/>
                  </a:lnTo>
                  <a:lnTo>
                    <a:pt x="126" y="1723"/>
                  </a:lnTo>
                  <a:lnTo>
                    <a:pt x="126" y="1720"/>
                  </a:lnTo>
                  <a:lnTo>
                    <a:pt x="128" y="1720"/>
                  </a:lnTo>
                  <a:lnTo>
                    <a:pt x="129" y="1718"/>
                  </a:lnTo>
                  <a:lnTo>
                    <a:pt x="135" y="1711"/>
                  </a:lnTo>
                  <a:lnTo>
                    <a:pt x="137" y="1704"/>
                  </a:lnTo>
                  <a:lnTo>
                    <a:pt x="141" y="1697"/>
                  </a:lnTo>
                  <a:lnTo>
                    <a:pt x="146" y="1691"/>
                  </a:lnTo>
                  <a:lnTo>
                    <a:pt x="144" y="1686"/>
                  </a:lnTo>
                  <a:lnTo>
                    <a:pt x="146" y="1680"/>
                  </a:lnTo>
                  <a:lnTo>
                    <a:pt x="140" y="1675"/>
                  </a:lnTo>
                  <a:lnTo>
                    <a:pt x="139" y="1667"/>
                  </a:lnTo>
                  <a:lnTo>
                    <a:pt x="140" y="1661"/>
                  </a:lnTo>
                  <a:lnTo>
                    <a:pt x="142" y="1656"/>
                  </a:lnTo>
                  <a:lnTo>
                    <a:pt x="149" y="1651"/>
                  </a:lnTo>
                  <a:lnTo>
                    <a:pt x="153" y="1633"/>
                  </a:lnTo>
                  <a:lnTo>
                    <a:pt x="151" y="1612"/>
                  </a:lnTo>
                  <a:lnTo>
                    <a:pt x="158" y="1601"/>
                  </a:lnTo>
                  <a:lnTo>
                    <a:pt x="166" y="1603"/>
                  </a:lnTo>
                  <a:lnTo>
                    <a:pt x="161" y="1597"/>
                  </a:lnTo>
                  <a:lnTo>
                    <a:pt x="155" y="1587"/>
                  </a:lnTo>
                  <a:lnTo>
                    <a:pt x="160" y="1578"/>
                  </a:lnTo>
                  <a:lnTo>
                    <a:pt x="167" y="1580"/>
                  </a:lnTo>
                  <a:lnTo>
                    <a:pt x="172" y="1594"/>
                  </a:lnTo>
                  <a:lnTo>
                    <a:pt x="172" y="1583"/>
                  </a:lnTo>
                  <a:lnTo>
                    <a:pt x="171" y="1562"/>
                  </a:lnTo>
                  <a:lnTo>
                    <a:pt x="162" y="1562"/>
                  </a:lnTo>
                  <a:lnTo>
                    <a:pt x="153" y="1558"/>
                  </a:lnTo>
                  <a:lnTo>
                    <a:pt x="156" y="1548"/>
                  </a:lnTo>
                  <a:lnTo>
                    <a:pt x="166" y="1541"/>
                  </a:lnTo>
                  <a:lnTo>
                    <a:pt x="172" y="1540"/>
                  </a:lnTo>
                  <a:lnTo>
                    <a:pt x="178" y="1533"/>
                  </a:lnTo>
                  <a:lnTo>
                    <a:pt x="178" y="1532"/>
                  </a:lnTo>
                  <a:lnTo>
                    <a:pt x="169" y="1536"/>
                  </a:lnTo>
                  <a:lnTo>
                    <a:pt x="163" y="1536"/>
                  </a:lnTo>
                  <a:lnTo>
                    <a:pt x="157" y="1533"/>
                  </a:lnTo>
                  <a:lnTo>
                    <a:pt x="151" y="1525"/>
                  </a:lnTo>
                  <a:lnTo>
                    <a:pt x="141" y="1525"/>
                  </a:lnTo>
                  <a:lnTo>
                    <a:pt x="135" y="1528"/>
                  </a:lnTo>
                  <a:lnTo>
                    <a:pt x="134" y="1535"/>
                  </a:lnTo>
                  <a:lnTo>
                    <a:pt x="130" y="1540"/>
                  </a:lnTo>
                  <a:lnTo>
                    <a:pt x="117" y="1543"/>
                  </a:lnTo>
                  <a:lnTo>
                    <a:pt x="103" y="1537"/>
                  </a:lnTo>
                  <a:lnTo>
                    <a:pt x="104" y="1531"/>
                  </a:lnTo>
                  <a:lnTo>
                    <a:pt x="101" y="1525"/>
                  </a:lnTo>
                  <a:lnTo>
                    <a:pt x="97" y="1524"/>
                  </a:lnTo>
                  <a:lnTo>
                    <a:pt x="93" y="1516"/>
                  </a:lnTo>
                  <a:lnTo>
                    <a:pt x="92" y="1504"/>
                  </a:lnTo>
                  <a:lnTo>
                    <a:pt x="93" y="1489"/>
                  </a:lnTo>
                  <a:lnTo>
                    <a:pt x="96" y="1466"/>
                  </a:lnTo>
                  <a:lnTo>
                    <a:pt x="101" y="1454"/>
                  </a:lnTo>
                  <a:lnTo>
                    <a:pt x="102" y="1407"/>
                  </a:lnTo>
                  <a:lnTo>
                    <a:pt x="112" y="1402"/>
                  </a:lnTo>
                  <a:lnTo>
                    <a:pt x="113" y="1396"/>
                  </a:lnTo>
                  <a:lnTo>
                    <a:pt x="118" y="1390"/>
                  </a:lnTo>
                  <a:lnTo>
                    <a:pt x="122" y="1379"/>
                  </a:lnTo>
                  <a:lnTo>
                    <a:pt x="120" y="1349"/>
                  </a:lnTo>
                  <a:lnTo>
                    <a:pt x="115" y="1329"/>
                  </a:lnTo>
                  <a:lnTo>
                    <a:pt x="108" y="1314"/>
                  </a:lnTo>
                  <a:lnTo>
                    <a:pt x="108" y="1311"/>
                  </a:lnTo>
                  <a:lnTo>
                    <a:pt x="109" y="1311"/>
                  </a:lnTo>
                  <a:lnTo>
                    <a:pt x="112" y="1285"/>
                  </a:lnTo>
                  <a:lnTo>
                    <a:pt x="109" y="1274"/>
                  </a:lnTo>
                  <a:lnTo>
                    <a:pt x="104" y="1261"/>
                  </a:lnTo>
                  <a:lnTo>
                    <a:pt x="106" y="1244"/>
                  </a:lnTo>
                  <a:lnTo>
                    <a:pt x="106" y="1225"/>
                  </a:lnTo>
                  <a:lnTo>
                    <a:pt x="113" y="1215"/>
                  </a:lnTo>
                  <a:lnTo>
                    <a:pt x="122" y="1219"/>
                  </a:lnTo>
                  <a:lnTo>
                    <a:pt x="130" y="1215"/>
                  </a:lnTo>
                  <a:lnTo>
                    <a:pt x="129" y="1182"/>
                  </a:lnTo>
                  <a:lnTo>
                    <a:pt x="134" y="1178"/>
                  </a:lnTo>
                  <a:lnTo>
                    <a:pt x="137" y="1182"/>
                  </a:lnTo>
                  <a:lnTo>
                    <a:pt x="141" y="1180"/>
                  </a:lnTo>
                  <a:lnTo>
                    <a:pt x="149" y="1161"/>
                  </a:lnTo>
                  <a:lnTo>
                    <a:pt x="152" y="1139"/>
                  </a:lnTo>
                  <a:lnTo>
                    <a:pt x="158" y="1132"/>
                  </a:lnTo>
                  <a:lnTo>
                    <a:pt x="162" y="1116"/>
                  </a:lnTo>
                  <a:lnTo>
                    <a:pt x="166" y="1105"/>
                  </a:lnTo>
                  <a:lnTo>
                    <a:pt x="182" y="1076"/>
                  </a:lnTo>
                  <a:lnTo>
                    <a:pt x="183" y="1068"/>
                  </a:lnTo>
                  <a:lnTo>
                    <a:pt x="194" y="1037"/>
                  </a:lnTo>
                  <a:lnTo>
                    <a:pt x="195" y="1025"/>
                  </a:lnTo>
                  <a:lnTo>
                    <a:pt x="196" y="1024"/>
                  </a:lnTo>
                  <a:lnTo>
                    <a:pt x="204" y="994"/>
                  </a:lnTo>
                  <a:lnTo>
                    <a:pt x="210" y="987"/>
                  </a:lnTo>
                  <a:lnTo>
                    <a:pt x="210" y="950"/>
                  </a:lnTo>
                  <a:lnTo>
                    <a:pt x="217" y="939"/>
                  </a:lnTo>
                  <a:lnTo>
                    <a:pt x="221" y="928"/>
                  </a:lnTo>
                  <a:lnTo>
                    <a:pt x="221" y="903"/>
                  </a:lnTo>
                  <a:lnTo>
                    <a:pt x="216" y="882"/>
                  </a:lnTo>
                  <a:lnTo>
                    <a:pt x="215" y="855"/>
                  </a:lnTo>
                  <a:lnTo>
                    <a:pt x="210" y="821"/>
                  </a:lnTo>
                  <a:lnTo>
                    <a:pt x="209" y="789"/>
                  </a:lnTo>
                  <a:lnTo>
                    <a:pt x="211" y="763"/>
                  </a:lnTo>
                  <a:lnTo>
                    <a:pt x="223" y="756"/>
                  </a:lnTo>
                  <a:lnTo>
                    <a:pt x="228" y="737"/>
                  </a:lnTo>
                  <a:lnTo>
                    <a:pt x="226" y="731"/>
                  </a:lnTo>
                  <a:lnTo>
                    <a:pt x="226" y="719"/>
                  </a:lnTo>
                  <a:lnTo>
                    <a:pt x="219" y="698"/>
                  </a:lnTo>
                  <a:lnTo>
                    <a:pt x="216" y="694"/>
                  </a:lnTo>
                  <a:lnTo>
                    <a:pt x="217" y="685"/>
                  </a:lnTo>
                  <a:lnTo>
                    <a:pt x="220" y="678"/>
                  </a:lnTo>
                  <a:lnTo>
                    <a:pt x="231" y="664"/>
                  </a:lnTo>
                  <a:lnTo>
                    <a:pt x="236" y="643"/>
                  </a:lnTo>
                  <a:lnTo>
                    <a:pt x="242" y="606"/>
                  </a:lnTo>
                  <a:lnTo>
                    <a:pt x="251" y="591"/>
                  </a:lnTo>
                  <a:lnTo>
                    <a:pt x="251" y="572"/>
                  </a:lnTo>
                  <a:lnTo>
                    <a:pt x="253" y="565"/>
                  </a:lnTo>
                  <a:lnTo>
                    <a:pt x="257" y="562"/>
                  </a:lnTo>
                  <a:lnTo>
                    <a:pt x="262" y="548"/>
                  </a:lnTo>
                  <a:lnTo>
                    <a:pt x="263" y="530"/>
                  </a:lnTo>
                  <a:lnTo>
                    <a:pt x="265" y="521"/>
                  </a:lnTo>
                  <a:lnTo>
                    <a:pt x="265" y="511"/>
                  </a:lnTo>
                  <a:lnTo>
                    <a:pt x="262" y="497"/>
                  </a:lnTo>
                  <a:lnTo>
                    <a:pt x="262" y="483"/>
                  </a:lnTo>
                  <a:lnTo>
                    <a:pt x="264" y="475"/>
                  </a:lnTo>
                  <a:lnTo>
                    <a:pt x="268" y="467"/>
                  </a:lnTo>
                  <a:lnTo>
                    <a:pt x="275" y="461"/>
                  </a:lnTo>
                  <a:lnTo>
                    <a:pt x="275" y="452"/>
                  </a:lnTo>
                  <a:lnTo>
                    <a:pt x="275" y="438"/>
                  </a:lnTo>
                  <a:lnTo>
                    <a:pt x="274" y="423"/>
                  </a:lnTo>
                  <a:lnTo>
                    <a:pt x="274" y="375"/>
                  </a:lnTo>
                  <a:lnTo>
                    <a:pt x="276" y="363"/>
                  </a:lnTo>
                  <a:lnTo>
                    <a:pt x="276" y="351"/>
                  </a:lnTo>
                  <a:lnTo>
                    <a:pt x="270" y="343"/>
                  </a:lnTo>
                  <a:lnTo>
                    <a:pt x="270" y="337"/>
                  </a:lnTo>
                  <a:lnTo>
                    <a:pt x="274" y="324"/>
                  </a:lnTo>
                  <a:lnTo>
                    <a:pt x="279" y="317"/>
                  </a:lnTo>
                  <a:lnTo>
                    <a:pt x="284" y="317"/>
                  </a:lnTo>
                  <a:lnTo>
                    <a:pt x="286" y="310"/>
                  </a:lnTo>
                  <a:lnTo>
                    <a:pt x="289" y="268"/>
                  </a:lnTo>
                  <a:lnTo>
                    <a:pt x="292" y="256"/>
                  </a:lnTo>
                  <a:lnTo>
                    <a:pt x="292" y="244"/>
                  </a:lnTo>
                  <a:lnTo>
                    <a:pt x="296" y="233"/>
                  </a:lnTo>
                  <a:lnTo>
                    <a:pt x="297" y="224"/>
                  </a:lnTo>
                  <a:lnTo>
                    <a:pt x="296" y="222"/>
                  </a:lnTo>
                  <a:lnTo>
                    <a:pt x="290" y="195"/>
                  </a:lnTo>
                  <a:lnTo>
                    <a:pt x="292" y="142"/>
                  </a:lnTo>
                  <a:lnTo>
                    <a:pt x="290" y="132"/>
                  </a:lnTo>
                  <a:lnTo>
                    <a:pt x="287" y="122"/>
                  </a:lnTo>
                  <a:lnTo>
                    <a:pt x="285" y="95"/>
                  </a:lnTo>
                  <a:lnTo>
                    <a:pt x="279" y="57"/>
                  </a:lnTo>
                  <a:lnTo>
                    <a:pt x="274" y="39"/>
                  </a:lnTo>
                  <a:lnTo>
                    <a:pt x="284" y="30"/>
                  </a:lnTo>
                  <a:lnTo>
                    <a:pt x="286" y="30"/>
                  </a:lnTo>
                  <a:lnTo>
                    <a:pt x="303" y="29"/>
                  </a:lnTo>
                  <a:lnTo>
                    <a:pt x="311" y="26"/>
                  </a:lnTo>
                  <a:lnTo>
                    <a:pt x="312" y="25"/>
                  </a:lnTo>
                  <a:lnTo>
                    <a:pt x="313" y="16"/>
                  </a:lnTo>
                  <a:lnTo>
                    <a:pt x="318" y="7"/>
                  </a:lnTo>
                  <a:lnTo>
                    <a:pt x="323" y="2"/>
                  </a:lnTo>
                  <a:lnTo>
                    <a:pt x="325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17" name="Chile"/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 bwMode="gray">
            <a:xfrm>
              <a:off x="2620992" y="6209630"/>
              <a:ext cx="72559" cy="110008"/>
            </a:xfrm>
            <a:custGeom>
              <a:avLst/>
              <a:gdLst/>
              <a:ahLst/>
              <a:cxnLst>
                <a:cxn ang="0">
                  <a:pos x="141" y="225"/>
                </a:cxn>
                <a:cxn ang="0">
                  <a:pos x="135" y="231"/>
                </a:cxn>
                <a:cxn ang="0">
                  <a:pos x="115" y="225"/>
                </a:cxn>
                <a:cxn ang="0">
                  <a:pos x="77" y="221"/>
                </a:cxn>
                <a:cxn ang="0">
                  <a:pos x="61" y="225"/>
                </a:cxn>
                <a:cxn ang="0">
                  <a:pos x="35" y="220"/>
                </a:cxn>
                <a:cxn ang="0">
                  <a:pos x="30" y="215"/>
                </a:cxn>
                <a:cxn ang="0">
                  <a:pos x="23" y="213"/>
                </a:cxn>
                <a:cxn ang="0">
                  <a:pos x="30" y="205"/>
                </a:cxn>
                <a:cxn ang="0">
                  <a:pos x="12" y="205"/>
                </a:cxn>
                <a:cxn ang="0">
                  <a:pos x="5" y="202"/>
                </a:cxn>
                <a:cxn ang="0">
                  <a:pos x="0" y="189"/>
                </a:cxn>
                <a:cxn ang="0">
                  <a:pos x="16" y="181"/>
                </a:cxn>
                <a:cxn ang="0">
                  <a:pos x="29" y="176"/>
                </a:cxn>
                <a:cxn ang="0">
                  <a:pos x="36" y="176"/>
                </a:cxn>
                <a:cxn ang="0">
                  <a:pos x="23" y="160"/>
                </a:cxn>
                <a:cxn ang="0">
                  <a:pos x="38" y="165"/>
                </a:cxn>
                <a:cxn ang="0">
                  <a:pos x="64" y="184"/>
                </a:cxn>
                <a:cxn ang="0">
                  <a:pos x="73" y="178"/>
                </a:cxn>
                <a:cxn ang="0">
                  <a:pos x="62" y="171"/>
                </a:cxn>
                <a:cxn ang="0">
                  <a:pos x="81" y="178"/>
                </a:cxn>
                <a:cxn ang="0">
                  <a:pos x="92" y="170"/>
                </a:cxn>
                <a:cxn ang="0">
                  <a:pos x="100" y="176"/>
                </a:cxn>
                <a:cxn ang="0">
                  <a:pos x="106" y="167"/>
                </a:cxn>
                <a:cxn ang="0">
                  <a:pos x="72" y="151"/>
                </a:cxn>
                <a:cxn ang="0">
                  <a:pos x="70" y="113"/>
                </a:cxn>
                <a:cxn ang="0">
                  <a:pos x="82" y="108"/>
                </a:cxn>
                <a:cxn ang="0">
                  <a:pos x="111" y="89"/>
                </a:cxn>
                <a:cxn ang="0">
                  <a:pos x="99" y="79"/>
                </a:cxn>
                <a:cxn ang="0">
                  <a:pos x="66" y="90"/>
                </a:cxn>
                <a:cxn ang="0">
                  <a:pos x="49" y="73"/>
                </a:cxn>
                <a:cxn ang="0">
                  <a:pos x="50" y="51"/>
                </a:cxn>
                <a:cxn ang="0">
                  <a:pos x="60" y="53"/>
                </a:cxn>
                <a:cxn ang="0">
                  <a:pos x="68" y="43"/>
                </a:cxn>
                <a:cxn ang="0">
                  <a:pos x="62" y="30"/>
                </a:cxn>
                <a:cxn ang="0">
                  <a:pos x="67" y="25"/>
                </a:cxn>
                <a:cxn ang="0">
                  <a:pos x="78" y="29"/>
                </a:cxn>
                <a:cxn ang="0">
                  <a:pos x="94" y="5"/>
                </a:cxn>
                <a:cxn ang="0">
                  <a:pos x="115" y="16"/>
                </a:cxn>
                <a:cxn ang="0">
                  <a:pos x="135" y="15"/>
                </a:cxn>
                <a:cxn ang="0">
                  <a:pos x="148" y="17"/>
                </a:cxn>
                <a:cxn ang="0">
                  <a:pos x="152" y="213"/>
                </a:cxn>
              </a:cxnLst>
              <a:rect l="0" t="0" r="r" b="b"/>
              <a:pathLst>
                <a:path w="152" h="235">
                  <a:moveTo>
                    <a:pt x="152" y="225"/>
                  </a:moveTo>
                  <a:lnTo>
                    <a:pt x="141" y="225"/>
                  </a:lnTo>
                  <a:lnTo>
                    <a:pt x="143" y="231"/>
                  </a:lnTo>
                  <a:lnTo>
                    <a:pt x="135" y="231"/>
                  </a:lnTo>
                  <a:lnTo>
                    <a:pt x="129" y="235"/>
                  </a:lnTo>
                  <a:lnTo>
                    <a:pt x="115" y="225"/>
                  </a:lnTo>
                  <a:lnTo>
                    <a:pt x="99" y="221"/>
                  </a:lnTo>
                  <a:lnTo>
                    <a:pt x="77" y="221"/>
                  </a:lnTo>
                  <a:lnTo>
                    <a:pt x="75" y="225"/>
                  </a:lnTo>
                  <a:lnTo>
                    <a:pt x="61" y="225"/>
                  </a:lnTo>
                  <a:lnTo>
                    <a:pt x="41" y="216"/>
                  </a:lnTo>
                  <a:lnTo>
                    <a:pt x="35" y="220"/>
                  </a:lnTo>
                  <a:lnTo>
                    <a:pt x="25" y="219"/>
                  </a:lnTo>
                  <a:lnTo>
                    <a:pt x="30" y="215"/>
                  </a:lnTo>
                  <a:lnTo>
                    <a:pt x="30" y="213"/>
                  </a:lnTo>
                  <a:lnTo>
                    <a:pt x="23" y="213"/>
                  </a:lnTo>
                  <a:lnTo>
                    <a:pt x="24" y="209"/>
                  </a:lnTo>
                  <a:lnTo>
                    <a:pt x="30" y="205"/>
                  </a:lnTo>
                  <a:lnTo>
                    <a:pt x="16" y="202"/>
                  </a:lnTo>
                  <a:lnTo>
                    <a:pt x="12" y="205"/>
                  </a:lnTo>
                  <a:lnTo>
                    <a:pt x="3" y="205"/>
                  </a:lnTo>
                  <a:lnTo>
                    <a:pt x="5" y="202"/>
                  </a:lnTo>
                  <a:lnTo>
                    <a:pt x="5" y="194"/>
                  </a:lnTo>
                  <a:lnTo>
                    <a:pt x="0" y="189"/>
                  </a:lnTo>
                  <a:lnTo>
                    <a:pt x="16" y="186"/>
                  </a:lnTo>
                  <a:lnTo>
                    <a:pt x="16" y="181"/>
                  </a:lnTo>
                  <a:lnTo>
                    <a:pt x="24" y="181"/>
                  </a:lnTo>
                  <a:lnTo>
                    <a:pt x="29" y="176"/>
                  </a:lnTo>
                  <a:lnTo>
                    <a:pt x="34" y="177"/>
                  </a:lnTo>
                  <a:lnTo>
                    <a:pt x="36" y="176"/>
                  </a:lnTo>
                  <a:lnTo>
                    <a:pt x="34" y="167"/>
                  </a:lnTo>
                  <a:lnTo>
                    <a:pt x="23" y="160"/>
                  </a:lnTo>
                  <a:lnTo>
                    <a:pt x="23" y="151"/>
                  </a:lnTo>
                  <a:lnTo>
                    <a:pt x="38" y="165"/>
                  </a:lnTo>
                  <a:lnTo>
                    <a:pt x="59" y="177"/>
                  </a:lnTo>
                  <a:lnTo>
                    <a:pt x="64" y="184"/>
                  </a:lnTo>
                  <a:lnTo>
                    <a:pt x="67" y="181"/>
                  </a:lnTo>
                  <a:lnTo>
                    <a:pt x="73" y="178"/>
                  </a:lnTo>
                  <a:lnTo>
                    <a:pt x="64" y="176"/>
                  </a:lnTo>
                  <a:lnTo>
                    <a:pt x="62" y="171"/>
                  </a:lnTo>
                  <a:lnTo>
                    <a:pt x="68" y="165"/>
                  </a:lnTo>
                  <a:lnTo>
                    <a:pt x="81" y="178"/>
                  </a:lnTo>
                  <a:lnTo>
                    <a:pt x="82" y="167"/>
                  </a:lnTo>
                  <a:lnTo>
                    <a:pt x="92" y="170"/>
                  </a:lnTo>
                  <a:lnTo>
                    <a:pt x="99" y="181"/>
                  </a:lnTo>
                  <a:lnTo>
                    <a:pt x="100" y="176"/>
                  </a:lnTo>
                  <a:lnTo>
                    <a:pt x="110" y="176"/>
                  </a:lnTo>
                  <a:lnTo>
                    <a:pt x="106" y="167"/>
                  </a:lnTo>
                  <a:lnTo>
                    <a:pt x="75" y="156"/>
                  </a:lnTo>
                  <a:lnTo>
                    <a:pt x="72" y="151"/>
                  </a:lnTo>
                  <a:lnTo>
                    <a:pt x="67" y="121"/>
                  </a:lnTo>
                  <a:lnTo>
                    <a:pt x="70" y="113"/>
                  </a:lnTo>
                  <a:lnTo>
                    <a:pt x="79" y="113"/>
                  </a:lnTo>
                  <a:lnTo>
                    <a:pt x="82" y="108"/>
                  </a:lnTo>
                  <a:lnTo>
                    <a:pt x="109" y="101"/>
                  </a:lnTo>
                  <a:lnTo>
                    <a:pt x="111" y="89"/>
                  </a:lnTo>
                  <a:lnTo>
                    <a:pt x="106" y="80"/>
                  </a:lnTo>
                  <a:lnTo>
                    <a:pt x="99" y="79"/>
                  </a:lnTo>
                  <a:lnTo>
                    <a:pt x="87" y="80"/>
                  </a:lnTo>
                  <a:lnTo>
                    <a:pt x="66" y="90"/>
                  </a:lnTo>
                  <a:lnTo>
                    <a:pt x="52" y="80"/>
                  </a:lnTo>
                  <a:lnTo>
                    <a:pt x="49" y="73"/>
                  </a:lnTo>
                  <a:lnTo>
                    <a:pt x="50" y="62"/>
                  </a:lnTo>
                  <a:lnTo>
                    <a:pt x="50" y="51"/>
                  </a:lnTo>
                  <a:lnTo>
                    <a:pt x="55" y="48"/>
                  </a:lnTo>
                  <a:lnTo>
                    <a:pt x="60" y="53"/>
                  </a:lnTo>
                  <a:lnTo>
                    <a:pt x="66" y="52"/>
                  </a:lnTo>
                  <a:lnTo>
                    <a:pt x="68" y="43"/>
                  </a:lnTo>
                  <a:lnTo>
                    <a:pt x="64" y="36"/>
                  </a:lnTo>
                  <a:lnTo>
                    <a:pt x="62" y="30"/>
                  </a:lnTo>
                  <a:lnTo>
                    <a:pt x="52" y="27"/>
                  </a:lnTo>
                  <a:lnTo>
                    <a:pt x="67" y="25"/>
                  </a:lnTo>
                  <a:lnTo>
                    <a:pt x="75" y="31"/>
                  </a:lnTo>
                  <a:lnTo>
                    <a:pt x="78" y="29"/>
                  </a:lnTo>
                  <a:lnTo>
                    <a:pt x="88" y="25"/>
                  </a:lnTo>
                  <a:lnTo>
                    <a:pt x="94" y="5"/>
                  </a:lnTo>
                  <a:lnTo>
                    <a:pt x="106" y="0"/>
                  </a:lnTo>
                  <a:lnTo>
                    <a:pt x="115" y="16"/>
                  </a:lnTo>
                  <a:lnTo>
                    <a:pt x="124" y="17"/>
                  </a:lnTo>
                  <a:lnTo>
                    <a:pt x="135" y="15"/>
                  </a:lnTo>
                  <a:lnTo>
                    <a:pt x="143" y="8"/>
                  </a:lnTo>
                  <a:lnTo>
                    <a:pt x="148" y="17"/>
                  </a:lnTo>
                  <a:lnTo>
                    <a:pt x="151" y="209"/>
                  </a:lnTo>
                  <a:lnTo>
                    <a:pt x="152" y="213"/>
                  </a:lnTo>
                  <a:lnTo>
                    <a:pt x="152" y="2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18" name="Brazil"/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 bwMode="gray">
            <a:xfrm>
              <a:off x="3161670" y="4618022"/>
              <a:ext cx="14044" cy="11703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9"/>
                </a:cxn>
                <a:cxn ang="0">
                  <a:pos x="0" y="15"/>
                </a:cxn>
                <a:cxn ang="0">
                  <a:pos x="6" y="22"/>
                </a:cxn>
                <a:cxn ang="0">
                  <a:pos x="16" y="23"/>
                </a:cxn>
                <a:cxn ang="0">
                  <a:pos x="23" y="27"/>
                </a:cxn>
                <a:cxn ang="0">
                  <a:pos x="31" y="26"/>
                </a:cxn>
                <a:cxn ang="0">
                  <a:pos x="32" y="19"/>
                </a:cxn>
                <a:cxn ang="0">
                  <a:pos x="26" y="14"/>
                </a:cxn>
                <a:cxn ang="0">
                  <a:pos x="19" y="12"/>
                </a:cxn>
                <a:cxn ang="0">
                  <a:pos x="11" y="7"/>
                </a:cxn>
                <a:cxn ang="0">
                  <a:pos x="7" y="0"/>
                </a:cxn>
              </a:cxnLst>
              <a:rect l="0" t="0" r="r" b="b"/>
              <a:pathLst>
                <a:path w="32" h="27">
                  <a:moveTo>
                    <a:pt x="7" y="0"/>
                  </a:moveTo>
                  <a:lnTo>
                    <a:pt x="0" y="9"/>
                  </a:lnTo>
                  <a:lnTo>
                    <a:pt x="0" y="15"/>
                  </a:lnTo>
                  <a:lnTo>
                    <a:pt x="6" y="22"/>
                  </a:lnTo>
                  <a:lnTo>
                    <a:pt x="16" y="23"/>
                  </a:lnTo>
                  <a:lnTo>
                    <a:pt x="23" y="27"/>
                  </a:lnTo>
                  <a:lnTo>
                    <a:pt x="31" y="26"/>
                  </a:lnTo>
                  <a:lnTo>
                    <a:pt x="32" y="19"/>
                  </a:lnTo>
                  <a:lnTo>
                    <a:pt x="26" y="14"/>
                  </a:lnTo>
                  <a:lnTo>
                    <a:pt x="19" y="12"/>
                  </a:lnTo>
                  <a:lnTo>
                    <a:pt x="11" y="7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19" name="Brazil"/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 bwMode="gray">
            <a:xfrm>
              <a:off x="3178055" y="4629725"/>
              <a:ext cx="9362" cy="4681"/>
            </a:xfrm>
            <a:custGeom>
              <a:avLst/>
              <a:gdLst/>
              <a:ahLst/>
              <a:cxnLst>
                <a:cxn ang="0">
                  <a:pos x="17" y="8"/>
                </a:cxn>
                <a:cxn ang="0">
                  <a:pos x="11" y="12"/>
                </a:cxn>
                <a:cxn ang="0">
                  <a:pos x="1" y="12"/>
                </a:cxn>
                <a:cxn ang="0">
                  <a:pos x="0" y="11"/>
                </a:cxn>
                <a:cxn ang="0">
                  <a:pos x="0" y="8"/>
                </a:cxn>
                <a:cxn ang="0">
                  <a:pos x="1" y="6"/>
                </a:cxn>
                <a:cxn ang="0">
                  <a:pos x="2" y="6"/>
                </a:cxn>
                <a:cxn ang="0">
                  <a:pos x="8" y="1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18" y="1"/>
                </a:cxn>
                <a:cxn ang="0">
                  <a:pos x="18" y="6"/>
                </a:cxn>
                <a:cxn ang="0">
                  <a:pos x="17" y="8"/>
                </a:cxn>
              </a:cxnLst>
              <a:rect l="0" t="0" r="r" b="b"/>
              <a:pathLst>
                <a:path w="18" h="12">
                  <a:moveTo>
                    <a:pt x="17" y="8"/>
                  </a:moveTo>
                  <a:lnTo>
                    <a:pt x="11" y="12"/>
                  </a:lnTo>
                  <a:lnTo>
                    <a:pt x="1" y="12"/>
                  </a:lnTo>
                  <a:lnTo>
                    <a:pt x="0" y="11"/>
                  </a:lnTo>
                  <a:lnTo>
                    <a:pt x="0" y="8"/>
                  </a:lnTo>
                  <a:lnTo>
                    <a:pt x="1" y="6"/>
                  </a:lnTo>
                  <a:lnTo>
                    <a:pt x="2" y="6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8" y="1"/>
                  </a:lnTo>
                  <a:lnTo>
                    <a:pt x="18" y="6"/>
                  </a:lnTo>
                  <a:lnTo>
                    <a:pt x="17" y="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20" name="Brazil"/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 bwMode="gray">
            <a:xfrm>
              <a:off x="3156989" y="4634406"/>
              <a:ext cx="53834" cy="39790"/>
            </a:xfrm>
            <a:custGeom>
              <a:avLst/>
              <a:gdLst/>
              <a:ahLst/>
              <a:cxnLst>
                <a:cxn ang="0">
                  <a:pos x="116" y="9"/>
                </a:cxn>
                <a:cxn ang="0">
                  <a:pos x="116" y="33"/>
                </a:cxn>
                <a:cxn ang="0">
                  <a:pos x="116" y="38"/>
                </a:cxn>
                <a:cxn ang="0">
                  <a:pos x="96" y="64"/>
                </a:cxn>
                <a:cxn ang="0">
                  <a:pos x="82" y="75"/>
                </a:cxn>
                <a:cxn ang="0">
                  <a:pos x="70" y="80"/>
                </a:cxn>
                <a:cxn ang="0">
                  <a:pos x="42" y="87"/>
                </a:cxn>
                <a:cxn ang="0">
                  <a:pos x="37" y="86"/>
                </a:cxn>
                <a:cxn ang="0">
                  <a:pos x="16" y="86"/>
                </a:cxn>
                <a:cxn ang="0">
                  <a:pos x="7" y="82"/>
                </a:cxn>
                <a:cxn ang="0">
                  <a:pos x="4" y="77"/>
                </a:cxn>
                <a:cxn ang="0">
                  <a:pos x="4" y="64"/>
                </a:cxn>
                <a:cxn ang="0">
                  <a:pos x="3" y="54"/>
                </a:cxn>
                <a:cxn ang="0">
                  <a:pos x="3" y="48"/>
                </a:cxn>
                <a:cxn ang="0">
                  <a:pos x="0" y="39"/>
                </a:cxn>
                <a:cxn ang="0">
                  <a:pos x="0" y="16"/>
                </a:cxn>
                <a:cxn ang="0">
                  <a:pos x="4" y="11"/>
                </a:cxn>
                <a:cxn ang="0">
                  <a:pos x="14" y="7"/>
                </a:cxn>
                <a:cxn ang="0">
                  <a:pos x="15" y="4"/>
                </a:cxn>
                <a:cxn ang="0">
                  <a:pos x="25" y="1"/>
                </a:cxn>
                <a:cxn ang="0">
                  <a:pos x="37" y="1"/>
                </a:cxn>
                <a:cxn ang="0">
                  <a:pos x="43" y="1"/>
                </a:cxn>
                <a:cxn ang="0">
                  <a:pos x="55" y="5"/>
                </a:cxn>
                <a:cxn ang="0">
                  <a:pos x="63" y="5"/>
                </a:cxn>
                <a:cxn ang="0">
                  <a:pos x="76" y="1"/>
                </a:cxn>
                <a:cxn ang="0">
                  <a:pos x="95" y="0"/>
                </a:cxn>
                <a:cxn ang="0">
                  <a:pos x="107" y="1"/>
                </a:cxn>
                <a:cxn ang="0">
                  <a:pos x="111" y="4"/>
                </a:cxn>
                <a:cxn ang="0">
                  <a:pos x="114" y="7"/>
                </a:cxn>
                <a:cxn ang="0">
                  <a:pos x="114" y="9"/>
                </a:cxn>
                <a:cxn ang="0">
                  <a:pos x="116" y="9"/>
                </a:cxn>
              </a:cxnLst>
              <a:rect l="0" t="0" r="r" b="b"/>
              <a:pathLst>
                <a:path w="116" h="87">
                  <a:moveTo>
                    <a:pt x="116" y="9"/>
                  </a:moveTo>
                  <a:lnTo>
                    <a:pt x="116" y="33"/>
                  </a:lnTo>
                  <a:lnTo>
                    <a:pt x="116" y="38"/>
                  </a:lnTo>
                  <a:lnTo>
                    <a:pt x="96" y="64"/>
                  </a:lnTo>
                  <a:lnTo>
                    <a:pt x="82" y="75"/>
                  </a:lnTo>
                  <a:lnTo>
                    <a:pt x="70" y="80"/>
                  </a:lnTo>
                  <a:lnTo>
                    <a:pt x="42" y="87"/>
                  </a:lnTo>
                  <a:lnTo>
                    <a:pt x="37" y="86"/>
                  </a:lnTo>
                  <a:lnTo>
                    <a:pt x="16" y="86"/>
                  </a:lnTo>
                  <a:lnTo>
                    <a:pt x="7" y="82"/>
                  </a:lnTo>
                  <a:lnTo>
                    <a:pt x="4" y="77"/>
                  </a:lnTo>
                  <a:lnTo>
                    <a:pt x="4" y="64"/>
                  </a:lnTo>
                  <a:lnTo>
                    <a:pt x="3" y="54"/>
                  </a:lnTo>
                  <a:lnTo>
                    <a:pt x="3" y="48"/>
                  </a:lnTo>
                  <a:lnTo>
                    <a:pt x="0" y="39"/>
                  </a:lnTo>
                  <a:lnTo>
                    <a:pt x="0" y="16"/>
                  </a:lnTo>
                  <a:lnTo>
                    <a:pt x="4" y="11"/>
                  </a:lnTo>
                  <a:lnTo>
                    <a:pt x="14" y="7"/>
                  </a:lnTo>
                  <a:lnTo>
                    <a:pt x="15" y="4"/>
                  </a:lnTo>
                  <a:lnTo>
                    <a:pt x="25" y="1"/>
                  </a:lnTo>
                  <a:lnTo>
                    <a:pt x="37" y="1"/>
                  </a:lnTo>
                  <a:lnTo>
                    <a:pt x="43" y="1"/>
                  </a:lnTo>
                  <a:lnTo>
                    <a:pt x="55" y="5"/>
                  </a:lnTo>
                  <a:lnTo>
                    <a:pt x="63" y="5"/>
                  </a:lnTo>
                  <a:lnTo>
                    <a:pt x="76" y="1"/>
                  </a:lnTo>
                  <a:lnTo>
                    <a:pt x="95" y="0"/>
                  </a:lnTo>
                  <a:lnTo>
                    <a:pt x="107" y="1"/>
                  </a:lnTo>
                  <a:lnTo>
                    <a:pt x="111" y="4"/>
                  </a:lnTo>
                  <a:lnTo>
                    <a:pt x="114" y="7"/>
                  </a:lnTo>
                  <a:lnTo>
                    <a:pt x="114" y="9"/>
                  </a:lnTo>
                  <a:lnTo>
                    <a:pt x="116" y="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21" name="Brazil"/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 bwMode="gray">
            <a:xfrm>
              <a:off x="3140605" y="4629725"/>
              <a:ext cx="16384" cy="18725"/>
            </a:xfrm>
            <a:custGeom>
              <a:avLst/>
              <a:gdLst/>
              <a:ahLst/>
              <a:cxnLst>
                <a:cxn ang="0">
                  <a:pos x="31" y="16"/>
                </a:cxn>
                <a:cxn ang="0">
                  <a:pos x="31" y="18"/>
                </a:cxn>
                <a:cxn ang="0">
                  <a:pos x="24" y="25"/>
                </a:cxn>
                <a:cxn ang="0">
                  <a:pos x="24" y="27"/>
                </a:cxn>
                <a:cxn ang="0">
                  <a:pos x="13" y="38"/>
                </a:cxn>
                <a:cxn ang="0">
                  <a:pos x="5" y="38"/>
                </a:cxn>
                <a:cxn ang="0">
                  <a:pos x="5" y="34"/>
                </a:cxn>
                <a:cxn ang="0">
                  <a:pos x="0" y="30"/>
                </a:cxn>
                <a:cxn ang="0">
                  <a:pos x="0" y="27"/>
                </a:cxn>
                <a:cxn ang="0">
                  <a:pos x="2" y="22"/>
                </a:cxn>
                <a:cxn ang="0">
                  <a:pos x="9" y="15"/>
                </a:cxn>
                <a:cxn ang="0">
                  <a:pos x="10" y="10"/>
                </a:cxn>
                <a:cxn ang="0">
                  <a:pos x="11" y="6"/>
                </a:cxn>
                <a:cxn ang="0">
                  <a:pos x="15" y="5"/>
                </a:cxn>
                <a:cxn ang="0">
                  <a:pos x="24" y="3"/>
                </a:cxn>
                <a:cxn ang="0">
                  <a:pos x="24" y="2"/>
                </a:cxn>
                <a:cxn ang="0">
                  <a:pos x="31" y="0"/>
                </a:cxn>
                <a:cxn ang="0">
                  <a:pos x="31" y="3"/>
                </a:cxn>
                <a:cxn ang="0">
                  <a:pos x="24" y="6"/>
                </a:cxn>
                <a:cxn ang="0">
                  <a:pos x="20" y="10"/>
                </a:cxn>
                <a:cxn ang="0">
                  <a:pos x="20" y="13"/>
                </a:cxn>
                <a:cxn ang="0">
                  <a:pos x="30" y="11"/>
                </a:cxn>
                <a:cxn ang="0">
                  <a:pos x="30" y="15"/>
                </a:cxn>
                <a:cxn ang="0">
                  <a:pos x="31" y="16"/>
                </a:cxn>
              </a:cxnLst>
              <a:rect l="0" t="0" r="r" b="b"/>
              <a:pathLst>
                <a:path w="31" h="38">
                  <a:moveTo>
                    <a:pt x="31" y="16"/>
                  </a:moveTo>
                  <a:lnTo>
                    <a:pt x="31" y="18"/>
                  </a:lnTo>
                  <a:lnTo>
                    <a:pt x="24" y="25"/>
                  </a:lnTo>
                  <a:lnTo>
                    <a:pt x="24" y="27"/>
                  </a:lnTo>
                  <a:lnTo>
                    <a:pt x="13" y="38"/>
                  </a:lnTo>
                  <a:lnTo>
                    <a:pt x="5" y="38"/>
                  </a:lnTo>
                  <a:lnTo>
                    <a:pt x="5" y="34"/>
                  </a:lnTo>
                  <a:lnTo>
                    <a:pt x="0" y="30"/>
                  </a:lnTo>
                  <a:lnTo>
                    <a:pt x="0" y="27"/>
                  </a:lnTo>
                  <a:lnTo>
                    <a:pt x="2" y="22"/>
                  </a:lnTo>
                  <a:lnTo>
                    <a:pt x="9" y="15"/>
                  </a:lnTo>
                  <a:lnTo>
                    <a:pt x="10" y="10"/>
                  </a:lnTo>
                  <a:lnTo>
                    <a:pt x="11" y="6"/>
                  </a:lnTo>
                  <a:lnTo>
                    <a:pt x="15" y="5"/>
                  </a:lnTo>
                  <a:lnTo>
                    <a:pt x="24" y="3"/>
                  </a:lnTo>
                  <a:lnTo>
                    <a:pt x="24" y="2"/>
                  </a:lnTo>
                  <a:lnTo>
                    <a:pt x="31" y="0"/>
                  </a:lnTo>
                  <a:lnTo>
                    <a:pt x="31" y="3"/>
                  </a:lnTo>
                  <a:lnTo>
                    <a:pt x="24" y="6"/>
                  </a:lnTo>
                  <a:lnTo>
                    <a:pt x="20" y="10"/>
                  </a:lnTo>
                  <a:lnTo>
                    <a:pt x="20" y="13"/>
                  </a:lnTo>
                  <a:lnTo>
                    <a:pt x="30" y="11"/>
                  </a:lnTo>
                  <a:lnTo>
                    <a:pt x="30" y="15"/>
                  </a:lnTo>
                  <a:lnTo>
                    <a:pt x="31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22" name="Brazil"/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 bwMode="gray">
            <a:xfrm>
              <a:off x="3168692" y="4618022"/>
              <a:ext cx="2341" cy="2341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6" y="5"/>
                </a:cxn>
                <a:cxn ang="0">
                  <a:pos x="5" y="7"/>
                </a:cxn>
                <a:cxn ang="0">
                  <a:pos x="3" y="7"/>
                </a:cxn>
                <a:cxn ang="0">
                  <a:pos x="0" y="7"/>
                </a:cxn>
                <a:cxn ang="0">
                  <a:pos x="0" y="3"/>
                </a:cxn>
                <a:cxn ang="0">
                  <a:pos x="1" y="1"/>
                </a:cxn>
                <a:cxn ang="0">
                  <a:pos x="5" y="0"/>
                </a:cxn>
              </a:cxnLst>
              <a:rect l="0" t="0" r="r" b="b"/>
              <a:pathLst>
                <a:path w="6" h="7">
                  <a:moveTo>
                    <a:pt x="5" y="0"/>
                  </a:moveTo>
                  <a:lnTo>
                    <a:pt x="6" y="5"/>
                  </a:lnTo>
                  <a:lnTo>
                    <a:pt x="5" y="7"/>
                  </a:lnTo>
                  <a:lnTo>
                    <a:pt x="3" y="7"/>
                  </a:lnTo>
                  <a:lnTo>
                    <a:pt x="0" y="7"/>
                  </a:lnTo>
                  <a:lnTo>
                    <a:pt x="0" y="3"/>
                  </a:lnTo>
                  <a:lnTo>
                    <a:pt x="1" y="1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23" name="Brazil"/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 bwMode="gray">
            <a:xfrm>
              <a:off x="3159330" y="4629725"/>
              <a:ext cx="4681" cy="2341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8" y="2"/>
                </a:cxn>
                <a:cxn ang="0">
                  <a:pos x="8" y="6"/>
                </a:cxn>
                <a:cxn ang="0">
                  <a:pos x="3" y="6"/>
                </a:cxn>
                <a:cxn ang="0">
                  <a:pos x="0" y="1"/>
                </a:cxn>
                <a:cxn ang="0">
                  <a:pos x="7" y="0"/>
                </a:cxn>
              </a:cxnLst>
              <a:rect l="0" t="0" r="r" b="b"/>
              <a:pathLst>
                <a:path w="8" h="6">
                  <a:moveTo>
                    <a:pt x="7" y="0"/>
                  </a:moveTo>
                  <a:lnTo>
                    <a:pt x="8" y="2"/>
                  </a:lnTo>
                  <a:lnTo>
                    <a:pt x="8" y="6"/>
                  </a:lnTo>
                  <a:lnTo>
                    <a:pt x="3" y="6"/>
                  </a:lnTo>
                  <a:lnTo>
                    <a:pt x="0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24" name="Brazil"/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 bwMode="gray">
            <a:xfrm>
              <a:off x="2557795" y="4496311"/>
              <a:ext cx="999437" cy="1048589"/>
            </a:xfrm>
            <a:custGeom>
              <a:avLst/>
              <a:gdLst/>
              <a:ahLst/>
              <a:cxnLst>
                <a:cxn ang="0">
                  <a:pos x="598" y="69"/>
                </a:cxn>
                <a:cxn ang="0">
                  <a:pos x="523" y="81"/>
                </a:cxn>
                <a:cxn ang="0">
                  <a:pos x="572" y="165"/>
                </a:cxn>
                <a:cxn ang="0">
                  <a:pos x="503" y="211"/>
                </a:cxn>
                <a:cxn ang="0">
                  <a:pos x="408" y="243"/>
                </a:cxn>
                <a:cxn ang="0">
                  <a:pos x="317" y="186"/>
                </a:cxn>
                <a:cxn ang="0">
                  <a:pos x="225" y="231"/>
                </a:cxn>
                <a:cxn ang="0">
                  <a:pos x="210" y="254"/>
                </a:cxn>
                <a:cxn ang="0">
                  <a:pos x="220" y="460"/>
                </a:cxn>
                <a:cxn ang="0">
                  <a:pos x="83" y="554"/>
                </a:cxn>
                <a:cxn ang="0">
                  <a:pos x="0" y="698"/>
                </a:cxn>
                <a:cxn ang="0">
                  <a:pos x="82" y="806"/>
                </a:cxn>
                <a:cxn ang="0">
                  <a:pos x="180" y="853"/>
                </a:cxn>
                <a:cxn ang="0">
                  <a:pos x="303" y="883"/>
                </a:cxn>
                <a:cxn ang="0">
                  <a:pos x="468" y="840"/>
                </a:cxn>
                <a:cxn ang="0">
                  <a:pos x="573" y="973"/>
                </a:cxn>
                <a:cxn ang="0">
                  <a:pos x="720" y="1039"/>
                </a:cxn>
                <a:cxn ang="0">
                  <a:pos x="749" y="1181"/>
                </a:cxn>
                <a:cxn ang="0">
                  <a:pos x="863" y="1243"/>
                </a:cxn>
                <a:cxn ang="0">
                  <a:pos x="872" y="1398"/>
                </a:cxn>
                <a:cxn ang="0">
                  <a:pos x="901" y="1526"/>
                </a:cxn>
                <a:cxn ang="0">
                  <a:pos x="1000" y="1613"/>
                </a:cxn>
                <a:cxn ang="0">
                  <a:pos x="1059" y="1706"/>
                </a:cxn>
                <a:cxn ang="0">
                  <a:pos x="1054" y="1841"/>
                </a:cxn>
                <a:cxn ang="0">
                  <a:pos x="904" y="2000"/>
                </a:cxn>
                <a:cxn ang="0">
                  <a:pos x="973" y="2055"/>
                </a:cxn>
                <a:cxn ang="0">
                  <a:pos x="1052" y="2092"/>
                </a:cxn>
                <a:cxn ang="0">
                  <a:pos x="1126" y="2180"/>
                </a:cxn>
                <a:cxn ang="0">
                  <a:pos x="1156" y="2196"/>
                </a:cxn>
                <a:cxn ang="0">
                  <a:pos x="1275" y="2045"/>
                </a:cxn>
                <a:cxn ang="0">
                  <a:pos x="1377" y="1895"/>
                </a:cxn>
                <a:cxn ang="0">
                  <a:pos x="1376" y="1762"/>
                </a:cxn>
                <a:cxn ang="0">
                  <a:pos x="1474" y="1650"/>
                </a:cxn>
                <a:cxn ang="0">
                  <a:pos x="1598" y="1588"/>
                </a:cxn>
                <a:cxn ang="0">
                  <a:pos x="1657" y="1570"/>
                </a:cxn>
                <a:cxn ang="0">
                  <a:pos x="1787" y="1512"/>
                </a:cxn>
                <a:cxn ang="0">
                  <a:pos x="1868" y="1305"/>
                </a:cxn>
                <a:cxn ang="0">
                  <a:pos x="1901" y="1102"/>
                </a:cxn>
                <a:cxn ang="0">
                  <a:pos x="1975" y="947"/>
                </a:cxn>
                <a:cxn ang="0">
                  <a:pos x="2115" y="776"/>
                </a:cxn>
                <a:cxn ang="0">
                  <a:pos x="2040" y="565"/>
                </a:cxn>
                <a:cxn ang="0">
                  <a:pos x="1896" y="463"/>
                </a:cxn>
                <a:cxn ang="0">
                  <a:pos x="1659" y="413"/>
                </a:cxn>
                <a:cxn ang="0">
                  <a:pos x="1605" y="404"/>
                </a:cxn>
                <a:cxn ang="0">
                  <a:pos x="1561" y="364"/>
                </a:cxn>
                <a:cxn ang="0">
                  <a:pos x="1403" y="342"/>
                </a:cxn>
                <a:cxn ang="0">
                  <a:pos x="1344" y="419"/>
                </a:cxn>
                <a:cxn ang="0">
                  <a:pos x="1277" y="387"/>
                </a:cxn>
                <a:cxn ang="0">
                  <a:pos x="1238" y="381"/>
                </a:cxn>
                <a:cxn ang="0">
                  <a:pos x="1261" y="339"/>
                </a:cxn>
                <a:cxn ang="0">
                  <a:pos x="1231" y="308"/>
                </a:cxn>
                <a:cxn ang="0">
                  <a:pos x="1312" y="195"/>
                </a:cxn>
                <a:cxn ang="0">
                  <a:pos x="1247" y="69"/>
                </a:cxn>
                <a:cxn ang="0">
                  <a:pos x="1141" y="170"/>
                </a:cxn>
                <a:cxn ang="0">
                  <a:pos x="1034" y="149"/>
                </a:cxn>
                <a:cxn ang="0">
                  <a:pos x="921" y="177"/>
                </a:cxn>
                <a:cxn ang="0">
                  <a:pos x="812" y="213"/>
                </a:cxn>
                <a:cxn ang="0">
                  <a:pos x="774" y="96"/>
                </a:cxn>
                <a:cxn ang="0">
                  <a:pos x="755" y="0"/>
                </a:cxn>
              </a:cxnLst>
              <a:rect l="0" t="0" r="r" b="b"/>
              <a:pathLst>
                <a:path w="2135" h="2241">
                  <a:moveTo>
                    <a:pt x="725" y="3"/>
                  </a:moveTo>
                  <a:lnTo>
                    <a:pt x="725" y="15"/>
                  </a:lnTo>
                  <a:lnTo>
                    <a:pt x="713" y="28"/>
                  </a:lnTo>
                  <a:lnTo>
                    <a:pt x="706" y="35"/>
                  </a:lnTo>
                  <a:lnTo>
                    <a:pt x="702" y="37"/>
                  </a:lnTo>
                  <a:lnTo>
                    <a:pt x="686" y="38"/>
                  </a:lnTo>
                  <a:lnTo>
                    <a:pt x="680" y="42"/>
                  </a:lnTo>
                  <a:lnTo>
                    <a:pt x="672" y="46"/>
                  </a:lnTo>
                  <a:lnTo>
                    <a:pt x="666" y="54"/>
                  </a:lnTo>
                  <a:lnTo>
                    <a:pt x="661" y="57"/>
                  </a:lnTo>
                  <a:lnTo>
                    <a:pt x="632" y="59"/>
                  </a:lnTo>
                  <a:lnTo>
                    <a:pt x="616" y="63"/>
                  </a:lnTo>
                  <a:lnTo>
                    <a:pt x="598" y="69"/>
                  </a:lnTo>
                  <a:lnTo>
                    <a:pt x="594" y="73"/>
                  </a:lnTo>
                  <a:lnTo>
                    <a:pt x="593" y="74"/>
                  </a:lnTo>
                  <a:lnTo>
                    <a:pt x="568" y="73"/>
                  </a:lnTo>
                  <a:lnTo>
                    <a:pt x="550" y="68"/>
                  </a:lnTo>
                  <a:lnTo>
                    <a:pt x="529" y="55"/>
                  </a:lnTo>
                  <a:lnTo>
                    <a:pt x="507" y="53"/>
                  </a:lnTo>
                  <a:lnTo>
                    <a:pt x="500" y="51"/>
                  </a:lnTo>
                  <a:lnTo>
                    <a:pt x="496" y="51"/>
                  </a:lnTo>
                  <a:lnTo>
                    <a:pt x="495" y="51"/>
                  </a:lnTo>
                  <a:lnTo>
                    <a:pt x="496" y="60"/>
                  </a:lnTo>
                  <a:lnTo>
                    <a:pt x="500" y="69"/>
                  </a:lnTo>
                  <a:lnTo>
                    <a:pt x="511" y="74"/>
                  </a:lnTo>
                  <a:lnTo>
                    <a:pt x="523" y="81"/>
                  </a:lnTo>
                  <a:lnTo>
                    <a:pt x="525" y="84"/>
                  </a:lnTo>
                  <a:lnTo>
                    <a:pt x="524" y="96"/>
                  </a:lnTo>
                  <a:lnTo>
                    <a:pt x="521" y="109"/>
                  </a:lnTo>
                  <a:lnTo>
                    <a:pt x="521" y="116"/>
                  </a:lnTo>
                  <a:lnTo>
                    <a:pt x="522" y="121"/>
                  </a:lnTo>
                  <a:lnTo>
                    <a:pt x="527" y="138"/>
                  </a:lnTo>
                  <a:lnTo>
                    <a:pt x="528" y="146"/>
                  </a:lnTo>
                  <a:lnTo>
                    <a:pt x="530" y="152"/>
                  </a:lnTo>
                  <a:lnTo>
                    <a:pt x="545" y="155"/>
                  </a:lnTo>
                  <a:lnTo>
                    <a:pt x="548" y="156"/>
                  </a:lnTo>
                  <a:lnTo>
                    <a:pt x="572" y="155"/>
                  </a:lnTo>
                  <a:lnTo>
                    <a:pt x="572" y="164"/>
                  </a:lnTo>
                  <a:lnTo>
                    <a:pt x="572" y="165"/>
                  </a:lnTo>
                  <a:lnTo>
                    <a:pt x="570" y="168"/>
                  </a:lnTo>
                  <a:lnTo>
                    <a:pt x="559" y="170"/>
                  </a:lnTo>
                  <a:lnTo>
                    <a:pt x="551" y="173"/>
                  </a:lnTo>
                  <a:lnTo>
                    <a:pt x="550" y="176"/>
                  </a:lnTo>
                  <a:lnTo>
                    <a:pt x="545" y="179"/>
                  </a:lnTo>
                  <a:lnTo>
                    <a:pt x="537" y="179"/>
                  </a:lnTo>
                  <a:lnTo>
                    <a:pt x="532" y="187"/>
                  </a:lnTo>
                  <a:lnTo>
                    <a:pt x="527" y="202"/>
                  </a:lnTo>
                  <a:lnTo>
                    <a:pt x="522" y="205"/>
                  </a:lnTo>
                  <a:lnTo>
                    <a:pt x="517" y="207"/>
                  </a:lnTo>
                  <a:lnTo>
                    <a:pt x="512" y="207"/>
                  </a:lnTo>
                  <a:lnTo>
                    <a:pt x="506" y="210"/>
                  </a:lnTo>
                  <a:lnTo>
                    <a:pt x="503" y="211"/>
                  </a:lnTo>
                  <a:lnTo>
                    <a:pt x="501" y="216"/>
                  </a:lnTo>
                  <a:lnTo>
                    <a:pt x="492" y="216"/>
                  </a:lnTo>
                  <a:lnTo>
                    <a:pt x="480" y="221"/>
                  </a:lnTo>
                  <a:lnTo>
                    <a:pt x="478" y="221"/>
                  </a:lnTo>
                  <a:lnTo>
                    <a:pt x="470" y="225"/>
                  </a:lnTo>
                  <a:lnTo>
                    <a:pt x="462" y="229"/>
                  </a:lnTo>
                  <a:lnTo>
                    <a:pt x="457" y="232"/>
                  </a:lnTo>
                  <a:lnTo>
                    <a:pt x="449" y="240"/>
                  </a:lnTo>
                  <a:lnTo>
                    <a:pt x="447" y="241"/>
                  </a:lnTo>
                  <a:lnTo>
                    <a:pt x="428" y="245"/>
                  </a:lnTo>
                  <a:lnTo>
                    <a:pt x="411" y="245"/>
                  </a:lnTo>
                  <a:lnTo>
                    <a:pt x="409" y="243"/>
                  </a:lnTo>
                  <a:lnTo>
                    <a:pt x="408" y="243"/>
                  </a:lnTo>
                  <a:lnTo>
                    <a:pt x="394" y="235"/>
                  </a:lnTo>
                  <a:lnTo>
                    <a:pt x="390" y="231"/>
                  </a:lnTo>
                  <a:lnTo>
                    <a:pt x="387" y="226"/>
                  </a:lnTo>
                  <a:lnTo>
                    <a:pt x="384" y="221"/>
                  </a:lnTo>
                  <a:lnTo>
                    <a:pt x="379" y="214"/>
                  </a:lnTo>
                  <a:lnTo>
                    <a:pt x="379" y="216"/>
                  </a:lnTo>
                  <a:lnTo>
                    <a:pt x="368" y="221"/>
                  </a:lnTo>
                  <a:lnTo>
                    <a:pt x="362" y="192"/>
                  </a:lnTo>
                  <a:lnTo>
                    <a:pt x="354" y="181"/>
                  </a:lnTo>
                  <a:lnTo>
                    <a:pt x="349" y="176"/>
                  </a:lnTo>
                  <a:lnTo>
                    <a:pt x="338" y="176"/>
                  </a:lnTo>
                  <a:lnTo>
                    <a:pt x="319" y="186"/>
                  </a:lnTo>
                  <a:lnTo>
                    <a:pt x="317" y="186"/>
                  </a:lnTo>
                  <a:lnTo>
                    <a:pt x="313" y="179"/>
                  </a:lnTo>
                  <a:lnTo>
                    <a:pt x="309" y="177"/>
                  </a:lnTo>
                  <a:lnTo>
                    <a:pt x="307" y="177"/>
                  </a:lnTo>
                  <a:lnTo>
                    <a:pt x="303" y="182"/>
                  </a:lnTo>
                  <a:lnTo>
                    <a:pt x="302" y="188"/>
                  </a:lnTo>
                  <a:lnTo>
                    <a:pt x="298" y="192"/>
                  </a:lnTo>
                  <a:lnTo>
                    <a:pt x="218" y="192"/>
                  </a:lnTo>
                  <a:lnTo>
                    <a:pt x="217" y="191"/>
                  </a:lnTo>
                  <a:lnTo>
                    <a:pt x="217" y="222"/>
                  </a:lnTo>
                  <a:lnTo>
                    <a:pt x="217" y="222"/>
                  </a:lnTo>
                  <a:lnTo>
                    <a:pt x="217" y="225"/>
                  </a:lnTo>
                  <a:lnTo>
                    <a:pt x="221" y="226"/>
                  </a:lnTo>
                  <a:lnTo>
                    <a:pt x="225" y="231"/>
                  </a:lnTo>
                  <a:lnTo>
                    <a:pt x="232" y="231"/>
                  </a:lnTo>
                  <a:lnTo>
                    <a:pt x="234" y="229"/>
                  </a:lnTo>
                  <a:lnTo>
                    <a:pt x="244" y="227"/>
                  </a:lnTo>
                  <a:lnTo>
                    <a:pt x="249" y="235"/>
                  </a:lnTo>
                  <a:lnTo>
                    <a:pt x="250" y="242"/>
                  </a:lnTo>
                  <a:lnTo>
                    <a:pt x="254" y="252"/>
                  </a:lnTo>
                  <a:lnTo>
                    <a:pt x="254" y="253"/>
                  </a:lnTo>
                  <a:lnTo>
                    <a:pt x="249" y="254"/>
                  </a:lnTo>
                  <a:lnTo>
                    <a:pt x="248" y="252"/>
                  </a:lnTo>
                  <a:lnTo>
                    <a:pt x="244" y="251"/>
                  </a:lnTo>
                  <a:lnTo>
                    <a:pt x="234" y="249"/>
                  </a:lnTo>
                  <a:lnTo>
                    <a:pt x="227" y="252"/>
                  </a:lnTo>
                  <a:lnTo>
                    <a:pt x="210" y="254"/>
                  </a:lnTo>
                  <a:lnTo>
                    <a:pt x="205" y="257"/>
                  </a:lnTo>
                  <a:lnTo>
                    <a:pt x="205" y="295"/>
                  </a:lnTo>
                  <a:lnTo>
                    <a:pt x="210" y="300"/>
                  </a:lnTo>
                  <a:lnTo>
                    <a:pt x="222" y="310"/>
                  </a:lnTo>
                  <a:lnTo>
                    <a:pt x="228" y="316"/>
                  </a:lnTo>
                  <a:lnTo>
                    <a:pt x="233" y="326"/>
                  </a:lnTo>
                  <a:lnTo>
                    <a:pt x="240" y="354"/>
                  </a:lnTo>
                  <a:lnTo>
                    <a:pt x="239" y="360"/>
                  </a:lnTo>
                  <a:lnTo>
                    <a:pt x="238" y="370"/>
                  </a:lnTo>
                  <a:lnTo>
                    <a:pt x="228" y="433"/>
                  </a:lnTo>
                  <a:lnTo>
                    <a:pt x="227" y="434"/>
                  </a:lnTo>
                  <a:lnTo>
                    <a:pt x="223" y="452"/>
                  </a:lnTo>
                  <a:lnTo>
                    <a:pt x="220" y="460"/>
                  </a:lnTo>
                  <a:lnTo>
                    <a:pt x="218" y="472"/>
                  </a:lnTo>
                  <a:lnTo>
                    <a:pt x="217" y="475"/>
                  </a:lnTo>
                  <a:lnTo>
                    <a:pt x="216" y="483"/>
                  </a:lnTo>
                  <a:lnTo>
                    <a:pt x="213" y="498"/>
                  </a:lnTo>
                  <a:lnTo>
                    <a:pt x="211" y="504"/>
                  </a:lnTo>
                  <a:lnTo>
                    <a:pt x="210" y="511"/>
                  </a:lnTo>
                  <a:lnTo>
                    <a:pt x="209" y="514"/>
                  </a:lnTo>
                  <a:lnTo>
                    <a:pt x="202" y="517"/>
                  </a:lnTo>
                  <a:lnTo>
                    <a:pt x="182" y="516"/>
                  </a:lnTo>
                  <a:lnTo>
                    <a:pt x="169" y="521"/>
                  </a:lnTo>
                  <a:lnTo>
                    <a:pt x="118" y="536"/>
                  </a:lnTo>
                  <a:lnTo>
                    <a:pt x="99" y="543"/>
                  </a:lnTo>
                  <a:lnTo>
                    <a:pt x="83" y="554"/>
                  </a:lnTo>
                  <a:lnTo>
                    <a:pt x="72" y="563"/>
                  </a:lnTo>
                  <a:lnTo>
                    <a:pt x="59" y="579"/>
                  </a:lnTo>
                  <a:lnTo>
                    <a:pt x="50" y="591"/>
                  </a:lnTo>
                  <a:lnTo>
                    <a:pt x="41" y="607"/>
                  </a:lnTo>
                  <a:lnTo>
                    <a:pt x="39" y="613"/>
                  </a:lnTo>
                  <a:lnTo>
                    <a:pt x="39" y="643"/>
                  </a:lnTo>
                  <a:lnTo>
                    <a:pt x="30" y="644"/>
                  </a:lnTo>
                  <a:lnTo>
                    <a:pt x="21" y="646"/>
                  </a:lnTo>
                  <a:lnTo>
                    <a:pt x="17" y="651"/>
                  </a:lnTo>
                  <a:lnTo>
                    <a:pt x="13" y="668"/>
                  </a:lnTo>
                  <a:lnTo>
                    <a:pt x="1" y="690"/>
                  </a:lnTo>
                  <a:lnTo>
                    <a:pt x="0" y="694"/>
                  </a:lnTo>
                  <a:lnTo>
                    <a:pt x="0" y="698"/>
                  </a:lnTo>
                  <a:lnTo>
                    <a:pt x="11" y="721"/>
                  </a:lnTo>
                  <a:lnTo>
                    <a:pt x="13" y="733"/>
                  </a:lnTo>
                  <a:lnTo>
                    <a:pt x="14" y="737"/>
                  </a:lnTo>
                  <a:lnTo>
                    <a:pt x="23" y="748"/>
                  </a:lnTo>
                  <a:lnTo>
                    <a:pt x="27" y="756"/>
                  </a:lnTo>
                  <a:lnTo>
                    <a:pt x="39" y="769"/>
                  </a:lnTo>
                  <a:lnTo>
                    <a:pt x="49" y="775"/>
                  </a:lnTo>
                  <a:lnTo>
                    <a:pt x="50" y="784"/>
                  </a:lnTo>
                  <a:lnTo>
                    <a:pt x="44" y="794"/>
                  </a:lnTo>
                  <a:lnTo>
                    <a:pt x="45" y="797"/>
                  </a:lnTo>
                  <a:lnTo>
                    <a:pt x="57" y="801"/>
                  </a:lnTo>
                  <a:lnTo>
                    <a:pt x="77" y="802"/>
                  </a:lnTo>
                  <a:lnTo>
                    <a:pt x="82" y="806"/>
                  </a:lnTo>
                  <a:lnTo>
                    <a:pt x="86" y="811"/>
                  </a:lnTo>
                  <a:lnTo>
                    <a:pt x="88" y="822"/>
                  </a:lnTo>
                  <a:lnTo>
                    <a:pt x="91" y="826"/>
                  </a:lnTo>
                  <a:lnTo>
                    <a:pt x="104" y="829"/>
                  </a:lnTo>
                  <a:lnTo>
                    <a:pt x="119" y="830"/>
                  </a:lnTo>
                  <a:lnTo>
                    <a:pt x="127" y="829"/>
                  </a:lnTo>
                  <a:lnTo>
                    <a:pt x="145" y="819"/>
                  </a:lnTo>
                  <a:lnTo>
                    <a:pt x="167" y="803"/>
                  </a:lnTo>
                  <a:lnTo>
                    <a:pt x="177" y="794"/>
                  </a:lnTo>
                  <a:lnTo>
                    <a:pt x="180" y="792"/>
                  </a:lnTo>
                  <a:lnTo>
                    <a:pt x="180" y="795"/>
                  </a:lnTo>
                  <a:lnTo>
                    <a:pt x="180" y="849"/>
                  </a:lnTo>
                  <a:lnTo>
                    <a:pt x="180" y="853"/>
                  </a:lnTo>
                  <a:lnTo>
                    <a:pt x="180" y="882"/>
                  </a:lnTo>
                  <a:lnTo>
                    <a:pt x="183" y="886"/>
                  </a:lnTo>
                  <a:lnTo>
                    <a:pt x="189" y="889"/>
                  </a:lnTo>
                  <a:lnTo>
                    <a:pt x="194" y="889"/>
                  </a:lnTo>
                  <a:lnTo>
                    <a:pt x="201" y="887"/>
                  </a:lnTo>
                  <a:lnTo>
                    <a:pt x="201" y="887"/>
                  </a:lnTo>
                  <a:lnTo>
                    <a:pt x="209" y="883"/>
                  </a:lnTo>
                  <a:lnTo>
                    <a:pt x="226" y="882"/>
                  </a:lnTo>
                  <a:lnTo>
                    <a:pt x="228" y="880"/>
                  </a:lnTo>
                  <a:lnTo>
                    <a:pt x="236" y="880"/>
                  </a:lnTo>
                  <a:lnTo>
                    <a:pt x="254" y="886"/>
                  </a:lnTo>
                  <a:lnTo>
                    <a:pt x="295" y="887"/>
                  </a:lnTo>
                  <a:lnTo>
                    <a:pt x="303" y="883"/>
                  </a:lnTo>
                  <a:lnTo>
                    <a:pt x="308" y="880"/>
                  </a:lnTo>
                  <a:lnTo>
                    <a:pt x="334" y="871"/>
                  </a:lnTo>
                  <a:lnTo>
                    <a:pt x="341" y="867"/>
                  </a:lnTo>
                  <a:lnTo>
                    <a:pt x="366" y="845"/>
                  </a:lnTo>
                  <a:lnTo>
                    <a:pt x="383" y="826"/>
                  </a:lnTo>
                  <a:lnTo>
                    <a:pt x="389" y="819"/>
                  </a:lnTo>
                  <a:lnTo>
                    <a:pt x="405" y="816"/>
                  </a:lnTo>
                  <a:lnTo>
                    <a:pt x="411" y="816"/>
                  </a:lnTo>
                  <a:lnTo>
                    <a:pt x="438" y="812"/>
                  </a:lnTo>
                  <a:lnTo>
                    <a:pt x="457" y="813"/>
                  </a:lnTo>
                  <a:lnTo>
                    <a:pt x="460" y="816"/>
                  </a:lnTo>
                  <a:lnTo>
                    <a:pt x="465" y="823"/>
                  </a:lnTo>
                  <a:lnTo>
                    <a:pt x="468" y="840"/>
                  </a:lnTo>
                  <a:lnTo>
                    <a:pt x="468" y="872"/>
                  </a:lnTo>
                  <a:lnTo>
                    <a:pt x="467" y="882"/>
                  </a:lnTo>
                  <a:lnTo>
                    <a:pt x="462" y="889"/>
                  </a:lnTo>
                  <a:lnTo>
                    <a:pt x="460" y="893"/>
                  </a:lnTo>
                  <a:lnTo>
                    <a:pt x="459" y="900"/>
                  </a:lnTo>
                  <a:lnTo>
                    <a:pt x="465" y="924"/>
                  </a:lnTo>
                  <a:lnTo>
                    <a:pt x="474" y="937"/>
                  </a:lnTo>
                  <a:lnTo>
                    <a:pt x="481" y="943"/>
                  </a:lnTo>
                  <a:lnTo>
                    <a:pt x="508" y="963"/>
                  </a:lnTo>
                  <a:lnTo>
                    <a:pt x="521" y="967"/>
                  </a:lnTo>
                  <a:lnTo>
                    <a:pt x="538" y="969"/>
                  </a:lnTo>
                  <a:lnTo>
                    <a:pt x="557" y="969"/>
                  </a:lnTo>
                  <a:lnTo>
                    <a:pt x="573" y="973"/>
                  </a:lnTo>
                  <a:lnTo>
                    <a:pt x="580" y="979"/>
                  </a:lnTo>
                  <a:lnTo>
                    <a:pt x="582" y="983"/>
                  </a:lnTo>
                  <a:lnTo>
                    <a:pt x="589" y="991"/>
                  </a:lnTo>
                  <a:lnTo>
                    <a:pt x="597" y="995"/>
                  </a:lnTo>
                  <a:lnTo>
                    <a:pt x="635" y="1005"/>
                  </a:lnTo>
                  <a:lnTo>
                    <a:pt x="651" y="1020"/>
                  </a:lnTo>
                  <a:lnTo>
                    <a:pt x="656" y="1023"/>
                  </a:lnTo>
                  <a:lnTo>
                    <a:pt x="666" y="1023"/>
                  </a:lnTo>
                  <a:lnTo>
                    <a:pt x="675" y="1021"/>
                  </a:lnTo>
                  <a:lnTo>
                    <a:pt x="680" y="1021"/>
                  </a:lnTo>
                  <a:lnTo>
                    <a:pt x="693" y="1023"/>
                  </a:lnTo>
                  <a:lnTo>
                    <a:pt x="712" y="1034"/>
                  </a:lnTo>
                  <a:lnTo>
                    <a:pt x="720" y="1039"/>
                  </a:lnTo>
                  <a:lnTo>
                    <a:pt x="726" y="1050"/>
                  </a:lnTo>
                  <a:lnTo>
                    <a:pt x="731" y="1065"/>
                  </a:lnTo>
                  <a:lnTo>
                    <a:pt x="732" y="1080"/>
                  </a:lnTo>
                  <a:lnTo>
                    <a:pt x="736" y="1088"/>
                  </a:lnTo>
                  <a:lnTo>
                    <a:pt x="739" y="1093"/>
                  </a:lnTo>
                  <a:lnTo>
                    <a:pt x="739" y="1102"/>
                  </a:lnTo>
                  <a:lnTo>
                    <a:pt x="737" y="1119"/>
                  </a:lnTo>
                  <a:lnTo>
                    <a:pt x="729" y="1120"/>
                  </a:lnTo>
                  <a:lnTo>
                    <a:pt x="729" y="1124"/>
                  </a:lnTo>
                  <a:lnTo>
                    <a:pt x="729" y="1129"/>
                  </a:lnTo>
                  <a:lnTo>
                    <a:pt x="736" y="1145"/>
                  </a:lnTo>
                  <a:lnTo>
                    <a:pt x="743" y="1168"/>
                  </a:lnTo>
                  <a:lnTo>
                    <a:pt x="749" y="1181"/>
                  </a:lnTo>
                  <a:lnTo>
                    <a:pt x="764" y="1181"/>
                  </a:lnTo>
                  <a:lnTo>
                    <a:pt x="775" y="1182"/>
                  </a:lnTo>
                  <a:lnTo>
                    <a:pt x="788" y="1182"/>
                  </a:lnTo>
                  <a:lnTo>
                    <a:pt x="793" y="1184"/>
                  </a:lnTo>
                  <a:lnTo>
                    <a:pt x="836" y="1184"/>
                  </a:lnTo>
                  <a:lnTo>
                    <a:pt x="841" y="1185"/>
                  </a:lnTo>
                  <a:lnTo>
                    <a:pt x="844" y="1188"/>
                  </a:lnTo>
                  <a:lnTo>
                    <a:pt x="846" y="1193"/>
                  </a:lnTo>
                  <a:lnTo>
                    <a:pt x="844" y="1203"/>
                  </a:lnTo>
                  <a:lnTo>
                    <a:pt x="841" y="1211"/>
                  </a:lnTo>
                  <a:lnTo>
                    <a:pt x="841" y="1217"/>
                  </a:lnTo>
                  <a:lnTo>
                    <a:pt x="846" y="1237"/>
                  </a:lnTo>
                  <a:lnTo>
                    <a:pt x="863" y="1243"/>
                  </a:lnTo>
                  <a:lnTo>
                    <a:pt x="866" y="1246"/>
                  </a:lnTo>
                  <a:lnTo>
                    <a:pt x="871" y="1260"/>
                  </a:lnTo>
                  <a:lnTo>
                    <a:pt x="881" y="1279"/>
                  </a:lnTo>
                  <a:lnTo>
                    <a:pt x="883" y="1289"/>
                  </a:lnTo>
                  <a:lnTo>
                    <a:pt x="883" y="1312"/>
                  </a:lnTo>
                  <a:lnTo>
                    <a:pt x="882" y="1341"/>
                  </a:lnTo>
                  <a:lnTo>
                    <a:pt x="881" y="1345"/>
                  </a:lnTo>
                  <a:lnTo>
                    <a:pt x="876" y="1356"/>
                  </a:lnTo>
                  <a:lnTo>
                    <a:pt x="871" y="1367"/>
                  </a:lnTo>
                  <a:lnTo>
                    <a:pt x="869" y="1373"/>
                  </a:lnTo>
                  <a:lnTo>
                    <a:pt x="869" y="1381"/>
                  </a:lnTo>
                  <a:lnTo>
                    <a:pt x="871" y="1386"/>
                  </a:lnTo>
                  <a:lnTo>
                    <a:pt x="872" y="1398"/>
                  </a:lnTo>
                  <a:lnTo>
                    <a:pt x="871" y="1399"/>
                  </a:lnTo>
                  <a:lnTo>
                    <a:pt x="863" y="1402"/>
                  </a:lnTo>
                  <a:lnTo>
                    <a:pt x="862" y="1403"/>
                  </a:lnTo>
                  <a:lnTo>
                    <a:pt x="861" y="1408"/>
                  </a:lnTo>
                  <a:lnTo>
                    <a:pt x="861" y="1410"/>
                  </a:lnTo>
                  <a:lnTo>
                    <a:pt x="868" y="1424"/>
                  </a:lnTo>
                  <a:lnTo>
                    <a:pt x="869" y="1426"/>
                  </a:lnTo>
                  <a:lnTo>
                    <a:pt x="871" y="1474"/>
                  </a:lnTo>
                  <a:lnTo>
                    <a:pt x="869" y="1507"/>
                  </a:lnTo>
                  <a:lnTo>
                    <a:pt x="873" y="1516"/>
                  </a:lnTo>
                  <a:lnTo>
                    <a:pt x="879" y="1518"/>
                  </a:lnTo>
                  <a:lnTo>
                    <a:pt x="894" y="1522"/>
                  </a:lnTo>
                  <a:lnTo>
                    <a:pt x="901" y="1526"/>
                  </a:lnTo>
                  <a:lnTo>
                    <a:pt x="919" y="1528"/>
                  </a:lnTo>
                  <a:lnTo>
                    <a:pt x="931" y="1528"/>
                  </a:lnTo>
                  <a:lnTo>
                    <a:pt x="943" y="1527"/>
                  </a:lnTo>
                  <a:lnTo>
                    <a:pt x="948" y="1524"/>
                  </a:lnTo>
                  <a:lnTo>
                    <a:pt x="957" y="1521"/>
                  </a:lnTo>
                  <a:lnTo>
                    <a:pt x="963" y="1526"/>
                  </a:lnTo>
                  <a:lnTo>
                    <a:pt x="986" y="1533"/>
                  </a:lnTo>
                  <a:lnTo>
                    <a:pt x="992" y="1542"/>
                  </a:lnTo>
                  <a:lnTo>
                    <a:pt x="994" y="1548"/>
                  </a:lnTo>
                  <a:lnTo>
                    <a:pt x="996" y="1571"/>
                  </a:lnTo>
                  <a:lnTo>
                    <a:pt x="1000" y="1583"/>
                  </a:lnTo>
                  <a:lnTo>
                    <a:pt x="998" y="1608"/>
                  </a:lnTo>
                  <a:lnTo>
                    <a:pt x="1000" y="1613"/>
                  </a:lnTo>
                  <a:lnTo>
                    <a:pt x="1006" y="1620"/>
                  </a:lnTo>
                  <a:lnTo>
                    <a:pt x="1013" y="1625"/>
                  </a:lnTo>
                  <a:lnTo>
                    <a:pt x="1019" y="1628"/>
                  </a:lnTo>
                  <a:lnTo>
                    <a:pt x="1029" y="1628"/>
                  </a:lnTo>
                  <a:lnTo>
                    <a:pt x="1035" y="1625"/>
                  </a:lnTo>
                  <a:lnTo>
                    <a:pt x="1048" y="1625"/>
                  </a:lnTo>
                  <a:lnTo>
                    <a:pt x="1057" y="1623"/>
                  </a:lnTo>
                  <a:lnTo>
                    <a:pt x="1062" y="1628"/>
                  </a:lnTo>
                  <a:lnTo>
                    <a:pt x="1067" y="1636"/>
                  </a:lnTo>
                  <a:lnTo>
                    <a:pt x="1067" y="1661"/>
                  </a:lnTo>
                  <a:lnTo>
                    <a:pt x="1066" y="1664"/>
                  </a:lnTo>
                  <a:lnTo>
                    <a:pt x="1062" y="1680"/>
                  </a:lnTo>
                  <a:lnTo>
                    <a:pt x="1059" y="1706"/>
                  </a:lnTo>
                  <a:lnTo>
                    <a:pt x="1057" y="1726"/>
                  </a:lnTo>
                  <a:lnTo>
                    <a:pt x="1066" y="1726"/>
                  </a:lnTo>
                  <a:lnTo>
                    <a:pt x="1070" y="1725"/>
                  </a:lnTo>
                  <a:lnTo>
                    <a:pt x="1084" y="1725"/>
                  </a:lnTo>
                  <a:lnTo>
                    <a:pt x="1091" y="1732"/>
                  </a:lnTo>
                  <a:lnTo>
                    <a:pt x="1103" y="1771"/>
                  </a:lnTo>
                  <a:lnTo>
                    <a:pt x="1103" y="1803"/>
                  </a:lnTo>
                  <a:lnTo>
                    <a:pt x="1102" y="1814"/>
                  </a:lnTo>
                  <a:lnTo>
                    <a:pt x="1099" y="1818"/>
                  </a:lnTo>
                  <a:lnTo>
                    <a:pt x="1097" y="1822"/>
                  </a:lnTo>
                  <a:lnTo>
                    <a:pt x="1073" y="1838"/>
                  </a:lnTo>
                  <a:lnTo>
                    <a:pt x="1066" y="1840"/>
                  </a:lnTo>
                  <a:lnTo>
                    <a:pt x="1054" y="1841"/>
                  </a:lnTo>
                  <a:lnTo>
                    <a:pt x="1046" y="1845"/>
                  </a:lnTo>
                  <a:lnTo>
                    <a:pt x="1037" y="1857"/>
                  </a:lnTo>
                  <a:lnTo>
                    <a:pt x="1028" y="1867"/>
                  </a:lnTo>
                  <a:lnTo>
                    <a:pt x="984" y="1905"/>
                  </a:lnTo>
                  <a:lnTo>
                    <a:pt x="982" y="1909"/>
                  </a:lnTo>
                  <a:lnTo>
                    <a:pt x="978" y="1916"/>
                  </a:lnTo>
                  <a:lnTo>
                    <a:pt x="958" y="1941"/>
                  </a:lnTo>
                  <a:lnTo>
                    <a:pt x="955" y="1947"/>
                  </a:lnTo>
                  <a:lnTo>
                    <a:pt x="937" y="1968"/>
                  </a:lnTo>
                  <a:lnTo>
                    <a:pt x="922" y="1980"/>
                  </a:lnTo>
                  <a:lnTo>
                    <a:pt x="915" y="1989"/>
                  </a:lnTo>
                  <a:lnTo>
                    <a:pt x="906" y="1995"/>
                  </a:lnTo>
                  <a:lnTo>
                    <a:pt x="904" y="2000"/>
                  </a:lnTo>
                  <a:lnTo>
                    <a:pt x="895" y="2010"/>
                  </a:lnTo>
                  <a:lnTo>
                    <a:pt x="885" y="2015"/>
                  </a:lnTo>
                  <a:lnTo>
                    <a:pt x="904" y="2017"/>
                  </a:lnTo>
                  <a:lnTo>
                    <a:pt x="911" y="2013"/>
                  </a:lnTo>
                  <a:lnTo>
                    <a:pt x="915" y="2007"/>
                  </a:lnTo>
                  <a:lnTo>
                    <a:pt x="920" y="2005"/>
                  </a:lnTo>
                  <a:lnTo>
                    <a:pt x="925" y="2005"/>
                  </a:lnTo>
                  <a:lnTo>
                    <a:pt x="931" y="2007"/>
                  </a:lnTo>
                  <a:lnTo>
                    <a:pt x="943" y="2017"/>
                  </a:lnTo>
                  <a:lnTo>
                    <a:pt x="948" y="2022"/>
                  </a:lnTo>
                  <a:lnTo>
                    <a:pt x="959" y="2032"/>
                  </a:lnTo>
                  <a:lnTo>
                    <a:pt x="968" y="2040"/>
                  </a:lnTo>
                  <a:lnTo>
                    <a:pt x="973" y="2055"/>
                  </a:lnTo>
                  <a:lnTo>
                    <a:pt x="974" y="2064"/>
                  </a:lnTo>
                  <a:lnTo>
                    <a:pt x="982" y="2065"/>
                  </a:lnTo>
                  <a:lnTo>
                    <a:pt x="986" y="2064"/>
                  </a:lnTo>
                  <a:lnTo>
                    <a:pt x="1000" y="2053"/>
                  </a:lnTo>
                  <a:lnTo>
                    <a:pt x="1005" y="2056"/>
                  </a:lnTo>
                  <a:lnTo>
                    <a:pt x="1006" y="2060"/>
                  </a:lnTo>
                  <a:lnTo>
                    <a:pt x="1011" y="2070"/>
                  </a:lnTo>
                  <a:lnTo>
                    <a:pt x="1018" y="2078"/>
                  </a:lnTo>
                  <a:lnTo>
                    <a:pt x="1021" y="2081"/>
                  </a:lnTo>
                  <a:lnTo>
                    <a:pt x="1025" y="2082"/>
                  </a:lnTo>
                  <a:lnTo>
                    <a:pt x="1033" y="2082"/>
                  </a:lnTo>
                  <a:lnTo>
                    <a:pt x="1040" y="2091"/>
                  </a:lnTo>
                  <a:lnTo>
                    <a:pt x="1052" y="2092"/>
                  </a:lnTo>
                  <a:lnTo>
                    <a:pt x="1055" y="2096"/>
                  </a:lnTo>
                  <a:lnTo>
                    <a:pt x="1062" y="2107"/>
                  </a:lnTo>
                  <a:lnTo>
                    <a:pt x="1068" y="2112"/>
                  </a:lnTo>
                  <a:lnTo>
                    <a:pt x="1077" y="2117"/>
                  </a:lnTo>
                  <a:lnTo>
                    <a:pt x="1082" y="2118"/>
                  </a:lnTo>
                  <a:lnTo>
                    <a:pt x="1097" y="2125"/>
                  </a:lnTo>
                  <a:lnTo>
                    <a:pt x="1100" y="2131"/>
                  </a:lnTo>
                  <a:lnTo>
                    <a:pt x="1104" y="2150"/>
                  </a:lnTo>
                  <a:lnTo>
                    <a:pt x="1107" y="2153"/>
                  </a:lnTo>
                  <a:lnTo>
                    <a:pt x="1127" y="2168"/>
                  </a:lnTo>
                  <a:lnTo>
                    <a:pt x="1132" y="2177"/>
                  </a:lnTo>
                  <a:lnTo>
                    <a:pt x="1131" y="2179"/>
                  </a:lnTo>
                  <a:lnTo>
                    <a:pt x="1126" y="2180"/>
                  </a:lnTo>
                  <a:lnTo>
                    <a:pt x="1124" y="2188"/>
                  </a:lnTo>
                  <a:lnTo>
                    <a:pt x="1121" y="2189"/>
                  </a:lnTo>
                  <a:lnTo>
                    <a:pt x="1116" y="2196"/>
                  </a:lnTo>
                  <a:lnTo>
                    <a:pt x="1114" y="2204"/>
                  </a:lnTo>
                  <a:lnTo>
                    <a:pt x="1114" y="2220"/>
                  </a:lnTo>
                  <a:lnTo>
                    <a:pt x="1111" y="2234"/>
                  </a:lnTo>
                  <a:lnTo>
                    <a:pt x="1113" y="2236"/>
                  </a:lnTo>
                  <a:lnTo>
                    <a:pt x="1116" y="2241"/>
                  </a:lnTo>
                  <a:lnTo>
                    <a:pt x="1116" y="2237"/>
                  </a:lnTo>
                  <a:lnTo>
                    <a:pt x="1121" y="2232"/>
                  </a:lnTo>
                  <a:lnTo>
                    <a:pt x="1130" y="2227"/>
                  </a:lnTo>
                  <a:lnTo>
                    <a:pt x="1145" y="2215"/>
                  </a:lnTo>
                  <a:lnTo>
                    <a:pt x="1156" y="2196"/>
                  </a:lnTo>
                  <a:lnTo>
                    <a:pt x="1167" y="2184"/>
                  </a:lnTo>
                  <a:lnTo>
                    <a:pt x="1173" y="2156"/>
                  </a:lnTo>
                  <a:lnTo>
                    <a:pt x="1178" y="2148"/>
                  </a:lnTo>
                  <a:lnTo>
                    <a:pt x="1193" y="2132"/>
                  </a:lnTo>
                  <a:lnTo>
                    <a:pt x="1199" y="2129"/>
                  </a:lnTo>
                  <a:lnTo>
                    <a:pt x="1221" y="2112"/>
                  </a:lnTo>
                  <a:lnTo>
                    <a:pt x="1229" y="2108"/>
                  </a:lnTo>
                  <a:lnTo>
                    <a:pt x="1238" y="2102"/>
                  </a:lnTo>
                  <a:lnTo>
                    <a:pt x="1244" y="2096"/>
                  </a:lnTo>
                  <a:lnTo>
                    <a:pt x="1247" y="2088"/>
                  </a:lnTo>
                  <a:lnTo>
                    <a:pt x="1253" y="2078"/>
                  </a:lnTo>
                  <a:lnTo>
                    <a:pt x="1267" y="2059"/>
                  </a:lnTo>
                  <a:lnTo>
                    <a:pt x="1275" y="2045"/>
                  </a:lnTo>
                  <a:lnTo>
                    <a:pt x="1286" y="2032"/>
                  </a:lnTo>
                  <a:lnTo>
                    <a:pt x="1291" y="2010"/>
                  </a:lnTo>
                  <a:lnTo>
                    <a:pt x="1303" y="1981"/>
                  </a:lnTo>
                  <a:lnTo>
                    <a:pt x="1309" y="1973"/>
                  </a:lnTo>
                  <a:lnTo>
                    <a:pt x="1314" y="1963"/>
                  </a:lnTo>
                  <a:lnTo>
                    <a:pt x="1318" y="1956"/>
                  </a:lnTo>
                  <a:lnTo>
                    <a:pt x="1324" y="1951"/>
                  </a:lnTo>
                  <a:lnTo>
                    <a:pt x="1339" y="1930"/>
                  </a:lnTo>
                  <a:lnTo>
                    <a:pt x="1346" y="1922"/>
                  </a:lnTo>
                  <a:lnTo>
                    <a:pt x="1352" y="1919"/>
                  </a:lnTo>
                  <a:lnTo>
                    <a:pt x="1363" y="1915"/>
                  </a:lnTo>
                  <a:lnTo>
                    <a:pt x="1368" y="1902"/>
                  </a:lnTo>
                  <a:lnTo>
                    <a:pt x="1377" y="1895"/>
                  </a:lnTo>
                  <a:lnTo>
                    <a:pt x="1380" y="1873"/>
                  </a:lnTo>
                  <a:lnTo>
                    <a:pt x="1382" y="1834"/>
                  </a:lnTo>
                  <a:lnTo>
                    <a:pt x="1384" y="1829"/>
                  </a:lnTo>
                  <a:lnTo>
                    <a:pt x="1390" y="1829"/>
                  </a:lnTo>
                  <a:lnTo>
                    <a:pt x="1392" y="1825"/>
                  </a:lnTo>
                  <a:lnTo>
                    <a:pt x="1389" y="1820"/>
                  </a:lnTo>
                  <a:lnTo>
                    <a:pt x="1382" y="1813"/>
                  </a:lnTo>
                  <a:lnTo>
                    <a:pt x="1380" y="1809"/>
                  </a:lnTo>
                  <a:lnTo>
                    <a:pt x="1380" y="1795"/>
                  </a:lnTo>
                  <a:lnTo>
                    <a:pt x="1378" y="1792"/>
                  </a:lnTo>
                  <a:lnTo>
                    <a:pt x="1378" y="1777"/>
                  </a:lnTo>
                  <a:lnTo>
                    <a:pt x="1376" y="1769"/>
                  </a:lnTo>
                  <a:lnTo>
                    <a:pt x="1376" y="1762"/>
                  </a:lnTo>
                  <a:lnTo>
                    <a:pt x="1378" y="1758"/>
                  </a:lnTo>
                  <a:lnTo>
                    <a:pt x="1380" y="1752"/>
                  </a:lnTo>
                  <a:lnTo>
                    <a:pt x="1380" y="1742"/>
                  </a:lnTo>
                  <a:lnTo>
                    <a:pt x="1390" y="1726"/>
                  </a:lnTo>
                  <a:lnTo>
                    <a:pt x="1395" y="1719"/>
                  </a:lnTo>
                  <a:lnTo>
                    <a:pt x="1409" y="1706"/>
                  </a:lnTo>
                  <a:lnTo>
                    <a:pt x="1428" y="1684"/>
                  </a:lnTo>
                  <a:lnTo>
                    <a:pt x="1431" y="1684"/>
                  </a:lnTo>
                  <a:lnTo>
                    <a:pt x="1436" y="1680"/>
                  </a:lnTo>
                  <a:lnTo>
                    <a:pt x="1446" y="1672"/>
                  </a:lnTo>
                  <a:lnTo>
                    <a:pt x="1459" y="1662"/>
                  </a:lnTo>
                  <a:lnTo>
                    <a:pt x="1464" y="1656"/>
                  </a:lnTo>
                  <a:lnTo>
                    <a:pt x="1474" y="1650"/>
                  </a:lnTo>
                  <a:lnTo>
                    <a:pt x="1487" y="1636"/>
                  </a:lnTo>
                  <a:lnTo>
                    <a:pt x="1501" y="1628"/>
                  </a:lnTo>
                  <a:lnTo>
                    <a:pt x="1511" y="1628"/>
                  </a:lnTo>
                  <a:lnTo>
                    <a:pt x="1516" y="1625"/>
                  </a:lnTo>
                  <a:lnTo>
                    <a:pt x="1522" y="1618"/>
                  </a:lnTo>
                  <a:lnTo>
                    <a:pt x="1533" y="1614"/>
                  </a:lnTo>
                  <a:lnTo>
                    <a:pt x="1550" y="1614"/>
                  </a:lnTo>
                  <a:lnTo>
                    <a:pt x="1561" y="1606"/>
                  </a:lnTo>
                  <a:lnTo>
                    <a:pt x="1565" y="1604"/>
                  </a:lnTo>
                  <a:lnTo>
                    <a:pt x="1573" y="1593"/>
                  </a:lnTo>
                  <a:lnTo>
                    <a:pt x="1578" y="1591"/>
                  </a:lnTo>
                  <a:lnTo>
                    <a:pt x="1591" y="1588"/>
                  </a:lnTo>
                  <a:lnTo>
                    <a:pt x="1598" y="1588"/>
                  </a:lnTo>
                  <a:lnTo>
                    <a:pt x="1600" y="1585"/>
                  </a:lnTo>
                  <a:lnTo>
                    <a:pt x="1600" y="1581"/>
                  </a:lnTo>
                  <a:lnTo>
                    <a:pt x="1597" y="1579"/>
                  </a:lnTo>
                  <a:lnTo>
                    <a:pt x="1597" y="1576"/>
                  </a:lnTo>
                  <a:lnTo>
                    <a:pt x="1605" y="1569"/>
                  </a:lnTo>
                  <a:lnTo>
                    <a:pt x="1608" y="1569"/>
                  </a:lnTo>
                  <a:lnTo>
                    <a:pt x="1608" y="1567"/>
                  </a:lnTo>
                  <a:lnTo>
                    <a:pt x="1609" y="1571"/>
                  </a:lnTo>
                  <a:lnTo>
                    <a:pt x="1615" y="1572"/>
                  </a:lnTo>
                  <a:lnTo>
                    <a:pt x="1638" y="1566"/>
                  </a:lnTo>
                  <a:lnTo>
                    <a:pt x="1643" y="1566"/>
                  </a:lnTo>
                  <a:lnTo>
                    <a:pt x="1647" y="1569"/>
                  </a:lnTo>
                  <a:lnTo>
                    <a:pt x="1657" y="1570"/>
                  </a:lnTo>
                  <a:lnTo>
                    <a:pt x="1673" y="1564"/>
                  </a:lnTo>
                  <a:lnTo>
                    <a:pt x="1680" y="1564"/>
                  </a:lnTo>
                  <a:lnTo>
                    <a:pt x="1686" y="1566"/>
                  </a:lnTo>
                  <a:lnTo>
                    <a:pt x="1697" y="1567"/>
                  </a:lnTo>
                  <a:lnTo>
                    <a:pt x="1708" y="1567"/>
                  </a:lnTo>
                  <a:lnTo>
                    <a:pt x="1732" y="1564"/>
                  </a:lnTo>
                  <a:lnTo>
                    <a:pt x="1736" y="1563"/>
                  </a:lnTo>
                  <a:lnTo>
                    <a:pt x="1740" y="1554"/>
                  </a:lnTo>
                  <a:lnTo>
                    <a:pt x="1743" y="1542"/>
                  </a:lnTo>
                  <a:lnTo>
                    <a:pt x="1751" y="1533"/>
                  </a:lnTo>
                  <a:lnTo>
                    <a:pt x="1759" y="1529"/>
                  </a:lnTo>
                  <a:lnTo>
                    <a:pt x="1778" y="1521"/>
                  </a:lnTo>
                  <a:lnTo>
                    <a:pt x="1787" y="1512"/>
                  </a:lnTo>
                  <a:lnTo>
                    <a:pt x="1791" y="1505"/>
                  </a:lnTo>
                  <a:lnTo>
                    <a:pt x="1792" y="1497"/>
                  </a:lnTo>
                  <a:lnTo>
                    <a:pt x="1793" y="1483"/>
                  </a:lnTo>
                  <a:lnTo>
                    <a:pt x="1796" y="1469"/>
                  </a:lnTo>
                  <a:lnTo>
                    <a:pt x="1808" y="1452"/>
                  </a:lnTo>
                  <a:lnTo>
                    <a:pt x="1825" y="1431"/>
                  </a:lnTo>
                  <a:lnTo>
                    <a:pt x="1834" y="1416"/>
                  </a:lnTo>
                  <a:lnTo>
                    <a:pt x="1845" y="1388"/>
                  </a:lnTo>
                  <a:lnTo>
                    <a:pt x="1858" y="1373"/>
                  </a:lnTo>
                  <a:lnTo>
                    <a:pt x="1864" y="1365"/>
                  </a:lnTo>
                  <a:lnTo>
                    <a:pt x="1867" y="1335"/>
                  </a:lnTo>
                  <a:lnTo>
                    <a:pt x="1867" y="1318"/>
                  </a:lnTo>
                  <a:lnTo>
                    <a:pt x="1868" y="1305"/>
                  </a:lnTo>
                  <a:lnTo>
                    <a:pt x="1872" y="1291"/>
                  </a:lnTo>
                  <a:lnTo>
                    <a:pt x="1878" y="1282"/>
                  </a:lnTo>
                  <a:lnTo>
                    <a:pt x="1890" y="1268"/>
                  </a:lnTo>
                  <a:lnTo>
                    <a:pt x="1894" y="1260"/>
                  </a:lnTo>
                  <a:lnTo>
                    <a:pt x="1894" y="1244"/>
                  </a:lnTo>
                  <a:lnTo>
                    <a:pt x="1898" y="1206"/>
                  </a:lnTo>
                  <a:lnTo>
                    <a:pt x="1900" y="1199"/>
                  </a:lnTo>
                  <a:lnTo>
                    <a:pt x="1904" y="1173"/>
                  </a:lnTo>
                  <a:lnTo>
                    <a:pt x="1907" y="1156"/>
                  </a:lnTo>
                  <a:lnTo>
                    <a:pt x="1906" y="1144"/>
                  </a:lnTo>
                  <a:lnTo>
                    <a:pt x="1904" y="1134"/>
                  </a:lnTo>
                  <a:lnTo>
                    <a:pt x="1904" y="1111"/>
                  </a:lnTo>
                  <a:lnTo>
                    <a:pt x="1901" y="1102"/>
                  </a:lnTo>
                  <a:lnTo>
                    <a:pt x="1901" y="1080"/>
                  </a:lnTo>
                  <a:lnTo>
                    <a:pt x="1904" y="1052"/>
                  </a:lnTo>
                  <a:lnTo>
                    <a:pt x="1907" y="1034"/>
                  </a:lnTo>
                  <a:lnTo>
                    <a:pt x="1907" y="1022"/>
                  </a:lnTo>
                  <a:lnTo>
                    <a:pt x="1910" y="1009"/>
                  </a:lnTo>
                  <a:lnTo>
                    <a:pt x="1911" y="1006"/>
                  </a:lnTo>
                  <a:lnTo>
                    <a:pt x="1922" y="995"/>
                  </a:lnTo>
                  <a:lnTo>
                    <a:pt x="1926" y="995"/>
                  </a:lnTo>
                  <a:lnTo>
                    <a:pt x="1935" y="998"/>
                  </a:lnTo>
                  <a:lnTo>
                    <a:pt x="1937" y="998"/>
                  </a:lnTo>
                  <a:lnTo>
                    <a:pt x="1952" y="984"/>
                  </a:lnTo>
                  <a:lnTo>
                    <a:pt x="1963" y="969"/>
                  </a:lnTo>
                  <a:lnTo>
                    <a:pt x="1975" y="947"/>
                  </a:lnTo>
                  <a:lnTo>
                    <a:pt x="1981" y="929"/>
                  </a:lnTo>
                  <a:lnTo>
                    <a:pt x="1989" y="914"/>
                  </a:lnTo>
                  <a:lnTo>
                    <a:pt x="1997" y="902"/>
                  </a:lnTo>
                  <a:lnTo>
                    <a:pt x="2013" y="889"/>
                  </a:lnTo>
                  <a:lnTo>
                    <a:pt x="2018" y="881"/>
                  </a:lnTo>
                  <a:lnTo>
                    <a:pt x="2028" y="871"/>
                  </a:lnTo>
                  <a:lnTo>
                    <a:pt x="2049" y="860"/>
                  </a:lnTo>
                  <a:lnTo>
                    <a:pt x="2055" y="853"/>
                  </a:lnTo>
                  <a:lnTo>
                    <a:pt x="2063" y="840"/>
                  </a:lnTo>
                  <a:lnTo>
                    <a:pt x="2076" y="824"/>
                  </a:lnTo>
                  <a:lnTo>
                    <a:pt x="2094" y="805"/>
                  </a:lnTo>
                  <a:lnTo>
                    <a:pt x="2111" y="779"/>
                  </a:lnTo>
                  <a:lnTo>
                    <a:pt x="2115" y="776"/>
                  </a:lnTo>
                  <a:lnTo>
                    <a:pt x="2120" y="767"/>
                  </a:lnTo>
                  <a:lnTo>
                    <a:pt x="2120" y="767"/>
                  </a:lnTo>
                  <a:lnTo>
                    <a:pt x="2130" y="724"/>
                  </a:lnTo>
                  <a:lnTo>
                    <a:pt x="2132" y="709"/>
                  </a:lnTo>
                  <a:lnTo>
                    <a:pt x="2135" y="673"/>
                  </a:lnTo>
                  <a:lnTo>
                    <a:pt x="2135" y="650"/>
                  </a:lnTo>
                  <a:lnTo>
                    <a:pt x="2126" y="629"/>
                  </a:lnTo>
                  <a:lnTo>
                    <a:pt x="2120" y="597"/>
                  </a:lnTo>
                  <a:lnTo>
                    <a:pt x="2111" y="582"/>
                  </a:lnTo>
                  <a:lnTo>
                    <a:pt x="2102" y="570"/>
                  </a:lnTo>
                  <a:lnTo>
                    <a:pt x="2093" y="565"/>
                  </a:lnTo>
                  <a:lnTo>
                    <a:pt x="2046" y="565"/>
                  </a:lnTo>
                  <a:lnTo>
                    <a:pt x="2040" y="565"/>
                  </a:lnTo>
                  <a:lnTo>
                    <a:pt x="2034" y="564"/>
                  </a:lnTo>
                  <a:lnTo>
                    <a:pt x="2030" y="560"/>
                  </a:lnTo>
                  <a:lnTo>
                    <a:pt x="2022" y="558"/>
                  </a:lnTo>
                  <a:lnTo>
                    <a:pt x="2014" y="558"/>
                  </a:lnTo>
                  <a:lnTo>
                    <a:pt x="2009" y="550"/>
                  </a:lnTo>
                  <a:lnTo>
                    <a:pt x="2000" y="542"/>
                  </a:lnTo>
                  <a:lnTo>
                    <a:pt x="1993" y="538"/>
                  </a:lnTo>
                  <a:lnTo>
                    <a:pt x="1985" y="534"/>
                  </a:lnTo>
                  <a:lnTo>
                    <a:pt x="1971" y="526"/>
                  </a:lnTo>
                  <a:lnTo>
                    <a:pt x="1942" y="496"/>
                  </a:lnTo>
                  <a:lnTo>
                    <a:pt x="1930" y="485"/>
                  </a:lnTo>
                  <a:lnTo>
                    <a:pt x="1915" y="474"/>
                  </a:lnTo>
                  <a:lnTo>
                    <a:pt x="1896" y="463"/>
                  </a:lnTo>
                  <a:lnTo>
                    <a:pt x="1883" y="455"/>
                  </a:lnTo>
                  <a:lnTo>
                    <a:pt x="1872" y="448"/>
                  </a:lnTo>
                  <a:lnTo>
                    <a:pt x="1860" y="445"/>
                  </a:lnTo>
                  <a:lnTo>
                    <a:pt x="1808" y="444"/>
                  </a:lnTo>
                  <a:lnTo>
                    <a:pt x="1799" y="445"/>
                  </a:lnTo>
                  <a:lnTo>
                    <a:pt x="1790" y="445"/>
                  </a:lnTo>
                  <a:lnTo>
                    <a:pt x="1760" y="444"/>
                  </a:lnTo>
                  <a:lnTo>
                    <a:pt x="1751" y="442"/>
                  </a:lnTo>
                  <a:lnTo>
                    <a:pt x="1731" y="437"/>
                  </a:lnTo>
                  <a:lnTo>
                    <a:pt x="1678" y="420"/>
                  </a:lnTo>
                  <a:lnTo>
                    <a:pt x="1668" y="420"/>
                  </a:lnTo>
                  <a:lnTo>
                    <a:pt x="1665" y="420"/>
                  </a:lnTo>
                  <a:lnTo>
                    <a:pt x="1659" y="413"/>
                  </a:lnTo>
                  <a:lnTo>
                    <a:pt x="1652" y="417"/>
                  </a:lnTo>
                  <a:lnTo>
                    <a:pt x="1645" y="423"/>
                  </a:lnTo>
                  <a:lnTo>
                    <a:pt x="1636" y="426"/>
                  </a:lnTo>
                  <a:lnTo>
                    <a:pt x="1620" y="433"/>
                  </a:lnTo>
                  <a:lnTo>
                    <a:pt x="1611" y="434"/>
                  </a:lnTo>
                  <a:lnTo>
                    <a:pt x="1610" y="428"/>
                  </a:lnTo>
                  <a:lnTo>
                    <a:pt x="1613" y="421"/>
                  </a:lnTo>
                  <a:lnTo>
                    <a:pt x="1619" y="415"/>
                  </a:lnTo>
                  <a:lnTo>
                    <a:pt x="1619" y="410"/>
                  </a:lnTo>
                  <a:lnTo>
                    <a:pt x="1616" y="405"/>
                  </a:lnTo>
                  <a:lnTo>
                    <a:pt x="1611" y="403"/>
                  </a:lnTo>
                  <a:lnTo>
                    <a:pt x="1609" y="403"/>
                  </a:lnTo>
                  <a:lnTo>
                    <a:pt x="1605" y="404"/>
                  </a:lnTo>
                  <a:lnTo>
                    <a:pt x="1602" y="404"/>
                  </a:lnTo>
                  <a:lnTo>
                    <a:pt x="1600" y="403"/>
                  </a:lnTo>
                  <a:lnTo>
                    <a:pt x="1600" y="399"/>
                  </a:lnTo>
                  <a:lnTo>
                    <a:pt x="1604" y="397"/>
                  </a:lnTo>
                  <a:lnTo>
                    <a:pt x="1605" y="387"/>
                  </a:lnTo>
                  <a:lnTo>
                    <a:pt x="1598" y="375"/>
                  </a:lnTo>
                  <a:lnTo>
                    <a:pt x="1587" y="366"/>
                  </a:lnTo>
                  <a:lnTo>
                    <a:pt x="1582" y="367"/>
                  </a:lnTo>
                  <a:lnTo>
                    <a:pt x="1576" y="370"/>
                  </a:lnTo>
                  <a:lnTo>
                    <a:pt x="1570" y="375"/>
                  </a:lnTo>
                  <a:lnTo>
                    <a:pt x="1564" y="378"/>
                  </a:lnTo>
                  <a:lnTo>
                    <a:pt x="1564" y="369"/>
                  </a:lnTo>
                  <a:lnTo>
                    <a:pt x="1561" y="364"/>
                  </a:lnTo>
                  <a:lnTo>
                    <a:pt x="1555" y="355"/>
                  </a:lnTo>
                  <a:lnTo>
                    <a:pt x="1543" y="353"/>
                  </a:lnTo>
                  <a:lnTo>
                    <a:pt x="1533" y="347"/>
                  </a:lnTo>
                  <a:lnTo>
                    <a:pt x="1522" y="345"/>
                  </a:lnTo>
                  <a:lnTo>
                    <a:pt x="1517" y="340"/>
                  </a:lnTo>
                  <a:lnTo>
                    <a:pt x="1502" y="340"/>
                  </a:lnTo>
                  <a:lnTo>
                    <a:pt x="1497" y="339"/>
                  </a:lnTo>
                  <a:lnTo>
                    <a:pt x="1465" y="322"/>
                  </a:lnTo>
                  <a:lnTo>
                    <a:pt x="1454" y="318"/>
                  </a:lnTo>
                  <a:lnTo>
                    <a:pt x="1425" y="320"/>
                  </a:lnTo>
                  <a:lnTo>
                    <a:pt x="1416" y="324"/>
                  </a:lnTo>
                  <a:lnTo>
                    <a:pt x="1409" y="339"/>
                  </a:lnTo>
                  <a:lnTo>
                    <a:pt x="1403" y="342"/>
                  </a:lnTo>
                  <a:lnTo>
                    <a:pt x="1399" y="350"/>
                  </a:lnTo>
                  <a:lnTo>
                    <a:pt x="1396" y="359"/>
                  </a:lnTo>
                  <a:lnTo>
                    <a:pt x="1392" y="366"/>
                  </a:lnTo>
                  <a:lnTo>
                    <a:pt x="1383" y="366"/>
                  </a:lnTo>
                  <a:lnTo>
                    <a:pt x="1374" y="370"/>
                  </a:lnTo>
                  <a:lnTo>
                    <a:pt x="1371" y="371"/>
                  </a:lnTo>
                  <a:lnTo>
                    <a:pt x="1365" y="376"/>
                  </a:lnTo>
                  <a:lnTo>
                    <a:pt x="1358" y="396"/>
                  </a:lnTo>
                  <a:lnTo>
                    <a:pt x="1355" y="403"/>
                  </a:lnTo>
                  <a:lnTo>
                    <a:pt x="1352" y="404"/>
                  </a:lnTo>
                  <a:lnTo>
                    <a:pt x="1351" y="408"/>
                  </a:lnTo>
                  <a:lnTo>
                    <a:pt x="1349" y="418"/>
                  </a:lnTo>
                  <a:lnTo>
                    <a:pt x="1344" y="419"/>
                  </a:lnTo>
                  <a:lnTo>
                    <a:pt x="1344" y="419"/>
                  </a:lnTo>
                  <a:lnTo>
                    <a:pt x="1341" y="412"/>
                  </a:lnTo>
                  <a:lnTo>
                    <a:pt x="1341" y="401"/>
                  </a:lnTo>
                  <a:lnTo>
                    <a:pt x="1345" y="386"/>
                  </a:lnTo>
                  <a:lnTo>
                    <a:pt x="1342" y="386"/>
                  </a:lnTo>
                  <a:lnTo>
                    <a:pt x="1334" y="386"/>
                  </a:lnTo>
                  <a:lnTo>
                    <a:pt x="1326" y="388"/>
                  </a:lnTo>
                  <a:lnTo>
                    <a:pt x="1319" y="387"/>
                  </a:lnTo>
                  <a:lnTo>
                    <a:pt x="1296" y="388"/>
                  </a:lnTo>
                  <a:lnTo>
                    <a:pt x="1287" y="387"/>
                  </a:lnTo>
                  <a:lnTo>
                    <a:pt x="1286" y="388"/>
                  </a:lnTo>
                  <a:lnTo>
                    <a:pt x="1280" y="388"/>
                  </a:lnTo>
                  <a:lnTo>
                    <a:pt x="1277" y="387"/>
                  </a:lnTo>
                  <a:lnTo>
                    <a:pt x="1271" y="387"/>
                  </a:lnTo>
                  <a:lnTo>
                    <a:pt x="1256" y="392"/>
                  </a:lnTo>
                  <a:lnTo>
                    <a:pt x="1250" y="392"/>
                  </a:lnTo>
                  <a:lnTo>
                    <a:pt x="1238" y="387"/>
                  </a:lnTo>
                  <a:lnTo>
                    <a:pt x="1234" y="387"/>
                  </a:lnTo>
                  <a:lnTo>
                    <a:pt x="1232" y="388"/>
                  </a:lnTo>
                  <a:lnTo>
                    <a:pt x="1229" y="397"/>
                  </a:lnTo>
                  <a:lnTo>
                    <a:pt x="1228" y="399"/>
                  </a:lnTo>
                  <a:lnTo>
                    <a:pt x="1226" y="397"/>
                  </a:lnTo>
                  <a:lnTo>
                    <a:pt x="1224" y="390"/>
                  </a:lnTo>
                  <a:lnTo>
                    <a:pt x="1226" y="387"/>
                  </a:lnTo>
                  <a:lnTo>
                    <a:pt x="1232" y="381"/>
                  </a:lnTo>
                  <a:lnTo>
                    <a:pt x="1238" y="381"/>
                  </a:lnTo>
                  <a:lnTo>
                    <a:pt x="1247" y="385"/>
                  </a:lnTo>
                  <a:lnTo>
                    <a:pt x="1259" y="386"/>
                  </a:lnTo>
                  <a:lnTo>
                    <a:pt x="1269" y="382"/>
                  </a:lnTo>
                  <a:lnTo>
                    <a:pt x="1271" y="380"/>
                  </a:lnTo>
                  <a:lnTo>
                    <a:pt x="1272" y="377"/>
                  </a:lnTo>
                  <a:lnTo>
                    <a:pt x="1272" y="355"/>
                  </a:lnTo>
                  <a:lnTo>
                    <a:pt x="1271" y="353"/>
                  </a:lnTo>
                  <a:lnTo>
                    <a:pt x="1265" y="353"/>
                  </a:lnTo>
                  <a:lnTo>
                    <a:pt x="1264" y="349"/>
                  </a:lnTo>
                  <a:lnTo>
                    <a:pt x="1258" y="345"/>
                  </a:lnTo>
                  <a:lnTo>
                    <a:pt x="1256" y="344"/>
                  </a:lnTo>
                  <a:lnTo>
                    <a:pt x="1256" y="340"/>
                  </a:lnTo>
                  <a:lnTo>
                    <a:pt x="1261" y="339"/>
                  </a:lnTo>
                  <a:lnTo>
                    <a:pt x="1266" y="334"/>
                  </a:lnTo>
                  <a:lnTo>
                    <a:pt x="1267" y="329"/>
                  </a:lnTo>
                  <a:lnTo>
                    <a:pt x="1261" y="329"/>
                  </a:lnTo>
                  <a:lnTo>
                    <a:pt x="1258" y="332"/>
                  </a:lnTo>
                  <a:lnTo>
                    <a:pt x="1254" y="332"/>
                  </a:lnTo>
                  <a:lnTo>
                    <a:pt x="1249" y="340"/>
                  </a:lnTo>
                  <a:lnTo>
                    <a:pt x="1247" y="348"/>
                  </a:lnTo>
                  <a:lnTo>
                    <a:pt x="1236" y="348"/>
                  </a:lnTo>
                  <a:lnTo>
                    <a:pt x="1234" y="345"/>
                  </a:lnTo>
                  <a:lnTo>
                    <a:pt x="1234" y="343"/>
                  </a:lnTo>
                  <a:lnTo>
                    <a:pt x="1234" y="327"/>
                  </a:lnTo>
                  <a:lnTo>
                    <a:pt x="1231" y="317"/>
                  </a:lnTo>
                  <a:lnTo>
                    <a:pt x="1231" y="308"/>
                  </a:lnTo>
                  <a:lnTo>
                    <a:pt x="1232" y="306"/>
                  </a:lnTo>
                  <a:lnTo>
                    <a:pt x="1238" y="299"/>
                  </a:lnTo>
                  <a:lnTo>
                    <a:pt x="1243" y="292"/>
                  </a:lnTo>
                  <a:lnTo>
                    <a:pt x="1253" y="281"/>
                  </a:lnTo>
                  <a:lnTo>
                    <a:pt x="1266" y="267"/>
                  </a:lnTo>
                  <a:lnTo>
                    <a:pt x="1283" y="254"/>
                  </a:lnTo>
                  <a:lnTo>
                    <a:pt x="1291" y="242"/>
                  </a:lnTo>
                  <a:lnTo>
                    <a:pt x="1297" y="238"/>
                  </a:lnTo>
                  <a:lnTo>
                    <a:pt x="1303" y="232"/>
                  </a:lnTo>
                  <a:lnTo>
                    <a:pt x="1306" y="222"/>
                  </a:lnTo>
                  <a:lnTo>
                    <a:pt x="1306" y="218"/>
                  </a:lnTo>
                  <a:lnTo>
                    <a:pt x="1312" y="199"/>
                  </a:lnTo>
                  <a:lnTo>
                    <a:pt x="1312" y="195"/>
                  </a:lnTo>
                  <a:lnTo>
                    <a:pt x="1308" y="192"/>
                  </a:lnTo>
                  <a:lnTo>
                    <a:pt x="1301" y="192"/>
                  </a:lnTo>
                  <a:lnTo>
                    <a:pt x="1285" y="187"/>
                  </a:lnTo>
                  <a:lnTo>
                    <a:pt x="1279" y="175"/>
                  </a:lnTo>
                  <a:lnTo>
                    <a:pt x="1272" y="152"/>
                  </a:lnTo>
                  <a:lnTo>
                    <a:pt x="1271" y="150"/>
                  </a:lnTo>
                  <a:lnTo>
                    <a:pt x="1269" y="138"/>
                  </a:lnTo>
                  <a:lnTo>
                    <a:pt x="1264" y="129"/>
                  </a:lnTo>
                  <a:lnTo>
                    <a:pt x="1260" y="116"/>
                  </a:lnTo>
                  <a:lnTo>
                    <a:pt x="1256" y="105"/>
                  </a:lnTo>
                  <a:lnTo>
                    <a:pt x="1253" y="91"/>
                  </a:lnTo>
                  <a:lnTo>
                    <a:pt x="1253" y="80"/>
                  </a:lnTo>
                  <a:lnTo>
                    <a:pt x="1247" y="69"/>
                  </a:lnTo>
                  <a:lnTo>
                    <a:pt x="1237" y="57"/>
                  </a:lnTo>
                  <a:lnTo>
                    <a:pt x="1232" y="53"/>
                  </a:lnTo>
                  <a:lnTo>
                    <a:pt x="1229" y="54"/>
                  </a:lnTo>
                  <a:lnTo>
                    <a:pt x="1227" y="62"/>
                  </a:lnTo>
                  <a:lnTo>
                    <a:pt x="1222" y="63"/>
                  </a:lnTo>
                  <a:lnTo>
                    <a:pt x="1209" y="76"/>
                  </a:lnTo>
                  <a:lnTo>
                    <a:pt x="1206" y="84"/>
                  </a:lnTo>
                  <a:lnTo>
                    <a:pt x="1193" y="102"/>
                  </a:lnTo>
                  <a:lnTo>
                    <a:pt x="1183" y="114"/>
                  </a:lnTo>
                  <a:lnTo>
                    <a:pt x="1179" y="121"/>
                  </a:lnTo>
                  <a:lnTo>
                    <a:pt x="1170" y="143"/>
                  </a:lnTo>
                  <a:lnTo>
                    <a:pt x="1143" y="167"/>
                  </a:lnTo>
                  <a:lnTo>
                    <a:pt x="1141" y="170"/>
                  </a:lnTo>
                  <a:lnTo>
                    <a:pt x="1136" y="172"/>
                  </a:lnTo>
                  <a:lnTo>
                    <a:pt x="1126" y="172"/>
                  </a:lnTo>
                  <a:lnTo>
                    <a:pt x="1119" y="168"/>
                  </a:lnTo>
                  <a:lnTo>
                    <a:pt x="1113" y="168"/>
                  </a:lnTo>
                  <a:lnTo>
                    <a:pt x="1109" y="170"/>
                  </a:lnTo>
                  <a:lnTo>
                    <a:pt x="1093" y="177"/>
                  </a:lnTo>
                  <a:lnTo>
                    <a:pt x="1087" y="177"/>
                  </a:lnTo>
                  <a:lnTo>
                    <a:pt x="1084" y="176"/>
                  </a:lnTo>
                  <a:lnTo>
                    <a:pt x="1075" y="170"/>
                  </a:lnTo>
                  <a:lnTo>
                    <a:pt x="1065" y="159"/>
                  </a:lnTo>
                  <a:lnTo>
                    <a:pt x="1059" y="157"/>
                  </a:lnTo>
                  <a:lnTo>
                    <a:pt x="1055" y="155"/>
                  </a:lnTo>
                  <a:lnTo>
                    <a:pt x="1034" y="149"/>
                  </a:lnTo>
                  <a:lnTo>
                    <a:pt x="1012" y="155"/>
                  </a:lnTo>
                  <a:lnTo>
                    <a:pt x="1008" y="155"/>
                  </a:lnTo>
                  <a:lnTo>
                    <a:pt x="998" y="152"/>
                  </a:lnTo>
                  <a:lnTo>
                    <a:pt x="991" y="152"/>
                  </a:lnTo>
                  <a:lnTo>
                    <a:pt x="985" y="155"/>
                  </a:lnTo>
                  <a:lnTo>
                    <a:pt x="986" y="179"/>
                  </a:lnTo>
                  <a:lnTo>
                    <a:pt x="982" y="183"/>
                  </a:lnTo>
                  <a:lnTo>
                    <a:pt x="965" y="183"/>
                  </a:lnTo>
                  <a:lnTo>
                    <a:pt x="953" y="178"/>
                  </a:lnTo>
                  <a:lnTo>
                    <a:pt x="942" y="179"/>
                  </a:lnTo>
                  <a:lnTo>
                    <a:pt x="928" y="181"/>
                  </a:lnTo>
                  <a:lnTo>
                    <a:pt x="922" y="178"/>
                  </a:lnTo>
                  <a:lnTo>
                    <a:pt x="921" y="177"/>
                  </a:lnTo>
                  <a:lnTo>
                    <a:pt x="917" y="176"/>
                  </a:lnTo>
                  <a:lnTo>
                    <a:pt x="912" y="176"/>
                  </a:lnTo>
                  <a:lnTo>
                    <a:pt x="901" y="182"/>
                  </a:lnTo>
                  <a:lnTo>
                    <a:pt x="893" y="192"/>
                  </a:lnTo>
                  <a:lnTo>
                    <a:pt x="879" y="192"/>
                  </a:lnTo>
                  <a:lnTo>
                    <a:pt x="871" y="195"/>
                  </a:lnTo>
                  <a:lnTo>
                    <a:pt x="866" y="200"/>
                  </a:lnTo>
                  <a:lnTo>
                    <a:pt x="855" y="200"/>
                  </a:lnTo>
                  <a:lnTo>
                    <a:pt x="846" y="203"/>
                  </a:lnTo>
                  <a:lnTo>
                    <a:pt x="840" y="213"/>
                  </a:lnTo>
                  <a:lnTo>
                    <a:pt x="835" y="215"/>
                  </a:lnTo>
                  <a:lnTo>
                    <a:pt x="822" y="215"/>
                  </a:lnTo>
                  <a:lnTo>
                    <a:pt x="812" y="213"/>
                  </a:lnTo>
                  <a:lnTo>
                    <a:pt x="796" y="203"/>
                  </a:lnTo>
                  <a:lnTo>
                    <a:pt x="790" y="198"/>
                  </a:lnTo>
                  <a:lnTo>
                    <a:pt x="786" y="192"/>
                  </a:lnTo>
                  <a:lnTo>
                    <a:pt x="783" y="191"/>
                  </a:lnTo>
                  <a:lnTo>
                    <a:pt x="779" y="186"/>
                  </a:lnTo>
                  <a:lnTo>
                    <a:pt x="777" y="183"/>
                  </a:lnTo>
                  <a:lnTo>
                    <a:pt x="779" y="170"/>
                  </a:lnTo>
                  <a:lnTo>
                    <a:pt x="777" y="161"/>
                  </a:lnTo>
                  <a:lnTo>
                    <a:pt x="766" y="151"/>
                  </a:lnTo>
                  <a:lnTo>
                    <a:pt x="765" y="148"/>
                  </a:lnTo>
                  <a:lnTo>
                    <a:pt x="765" y="117"/>
                  </a:lnTo>
                  <a:lnTo>
                    <a:pt x="771" y="103"/>
                  </a:lnTo>
                  <a:lnTo>
                    <a:pt x="774" y="96"/>
                  </a:lnTo>
                  <a:lnTo>
                    <a:pt x="774" y="86"/>
                  </a:lnTo>
                  <a:lnTo>
                    <a:pt x="783" y="73"/>
                  </a:lnTo>
                  <a:lnTo>
                    <a:pt x="785" y="70"/>
                  </a:lnTo>
                  <a:lnTo>
                    <a:pt x="783" y="63"/>
                  </a:lnTo>
                  <a:lnTo>
                    <a:pt x="779" y="57"/>
                  </a:lnTo>
                  <a:lnTo>
                    <a:pt x="779" y="42"/>
                  </a:lnTo>
                  <a:lnTo>
                    <a:pt x="767" y="38"/>
                  </a:lnTo>
                  <a:lnTo>
                    <a:pt x="765" y="37"/>
                  </a:lnTo>
                  <a:lnTo>
                    <a:pt x="756" y="36"/>
                  </a:lnTo>
                  <a:lnTo>
                    <a:pt x="760" y="22"/>
                  </a:lnTo>
                  <a:lnTo>
                    <a:pt x="760" y="15"/>
                  </a:lnTo>
                  <a:lnTo>
                    <a:pt x="760" y="9"/>
                  </a:lnTo>
                  <a:lnTo>
                    <a:pt x="755" y="0"/>
                  </a:lnTo>
                  <a:lnTo>
                    <a:pt x="747" y="0"/>
                  </a:lnTo>
                  <a:lnTo>
                    <a:pt x="734" y="4"/>
                  </a:lnTo>
                  <a:lnTo>
                    <a:pt x="725" y="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25" name="Colombia"/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 bwMode="gray">
            <a:xfrm>
              <a:off x="2426722" y="4309063"/>
              <a:ext cx="308959" cy="425989"/>
            </a:xfrm>
            <a:custGeom>
              <a:avLst/>
              <a:gdLst/>
              <a:ahLst/>
              <a:cxnLst>
                <a:cxn ang="0">
                  <a:pos x="404" y="0"/>
                </a:cxn>
                <a:cxn ang="0">
                  <a:pos x="380" y="12"/>
                </a:cxn>
                <a:cxn ang="0">
                  <a:pos x="314" y="58"/>
                </a:cxn>
                <a:cxn ang="0">
                  <a:pos x="260" y="65"/>
                </a:cxn>
                <a:cxn ang="0">
                  <a:pos x="244" y="82"/>
                </a:cxn>
                <a:cxn ang="0">
                  <a:pos x="187" y="102"/>
                </a:cxn>
                <a:cxn ang="0">
                  <a:pos x="158" y="170"/>
                </a:cxn>
                <a:cxn ang="0">
                  <a:pos x="115" y="213"/>
                </a:cxn>
                <a:cxn ang="0">
                  <a:pos x="113" y="242"/>
                </a:cxn>
                <a:cxn ang="0">
                  <a:pos x="88" y="226"/>
                </a:cxn>
                <a:cxn ang="0">
                  <a:pos x="91" y="251"/>
                </a:cxn>
                <a:cxn ang="0">
                  <a:pos x="60" y="278"/>
                </a:cxn>
                <a:cxn ang="0">
                  <a:pos x="81" y="320"/>
                </a:cxn>
                <a:cxn ang="0">
                  <a:pos x="83" y="380"/>
                </a:cxn>
                <a:cxn ang="0">
                  <a:pos x="83" y="462"/>
                </a:cxn>
                <a:cxn ang="0">
                  <a:pos x="111" y="472"/>
                </a:cxn>
                <a:cxn ang="0">
                  <a:pos x="71" y="533"/>
                </a:cxn>
                <a:cxn ang="0">
                  <a:pos x="20" y="560"/>
                </a:cxn>
                <a:cxn ang="0">
                  <a:pos x="0" y="596"/>
                </a:cxn>
                <a:cxn ang="0">
                  <a:pos x="44" y="629"/>
                </a:cxn>
                <a:cxn ang="0">
                  <a:pos x="106" y="673"/>
                </a:cxn>
                <a:cxn ang="0">
                  <a:pos x="156" y="665"/>
                </a:cxn>
                <a:cxn ang="0">
                  <a:pos x="201" y="687"/>
                </a:cxn>
                <a:cxn ang="0">
                  <a:pos x="238" y="708"/>
                </a:cxn>
                <a:cxn ang="0">
                  <a:pos x="273" y="743"/>
                </a:cxn>
                <a:cxn ang="0">
                  <a:pos x="297" y="776"/>
                </a:cxn>
                <a:cxn ang="0">
                  <a:pos x="319" y="811"/>
                </a:cxn>
                <a:cxn ang="0">
                  <a:pos x="365" y="821"/>
                </a:cxn>
                <a:cxn ang="0">
                  <a:pos x="389" y="807"/>
                </a:cxn>
                <a:cxn ang="0">
                  <a:pos x="435" y="807"/>
                </a:cxn>
                <a:cxn ang="0">
                  <a:pos x="488" y="842"/>
                </a:cxn>
                <a:cxn ang="0">
                  <a:pos x="459" y="892"/>
                </a:cxn>
                <a:cxn ang="0">
                  <a:pos x="494" y="909"/>
                </a:cxn>
                <a:cxn ang="0">
                  <a:pos x="504" y="858"/>
                </a:cxn>
                <a:cxn ang="0">
                  <a:pos x="524" y="752"/>
                </a:cxn>
                <a:cxn ang="0">
                  <a:pos x="489" y="655"/>
                </a:cxn>
                <a:cxn ang="0">
                  <a:pos x="532" y="652"/>
                </a:cxn>
                <a:cxn ang="0">
                  <a:pos x="518" y="627"/>
                </a:cxn>
                <a:cxn ang="0">
                  <a:pos x="501" y="620"/>
                </a:cxn>
                <a:cxn ang="0">
                  <a:pos x="591" y="575"/>
                </a:cxn>
                <a:cxn ang="0">
                  <a:pos x="633" y="574"/>
                </a:cxn>
                <a:cxn ang="0">
                  <a:pos x="658" y="603"/>
                </a:cxn>
                <a:cxn ang="0">
                  <a:pos x="626" y="516"/>
                </a:cxn>
                <a:cxn ang="0">
                  <a:pos x="640" y="493"/>
                </a:cxn>
                <a:cxn ang="0">
                  <a:pos x="615" y="453"/>
                </a:cxn>
                <a:cxn ang="0">
                  <a:pos x="615" y="403"/>
                </a:cxn>
                <a:cxn ang="0">
                  <a:pos x="633" y="353"/>
                </a:cxn>
                <a:cxn ang="0">
                  <a:pos x="583" y="353"/>
                </a:cxn>
                <a:cxn ang="0">
                  <a:pos x="544" y="348"/>
                </a:cxn>
                <a:cxn ang="0">
                  <a:pos x="494" y="307"/>
                </a:cxn>
                <a:cxn ang="0">
                  <a:pos x="443" y="294"/>
                </a:cxn>
                <a:cxn ang="0">
                  <a:pos x="376" y="283"/>
                </a:cxn>
                <a:cxn ang="0">
                  <a:pos x="353" y="223"/>
                </a:cxn>
                <a:cxn ang="0">
                  <a:pos x="334" y="180"/>
                </a:cxn>
                <a:cxn ang="0">
                  <a:pos x="375" y="62"/>
                </a:cxn>
              </a:cxnLst>
              <a:rect l="0" t="0" r="r" b="b"/>
              <a:pathLst>
                <a:path w="663" h="909">
                  <a:moveTo>
                    <a:pt x="419" y="33"/>
                  </a:moveTo>
                  <a:lnTo>
                    <a:pt x="424" y="28"/>
                  </a:lnTo>
                  <a:lnTo>
                    <a:pt x="429" y="21"/>
                  </a:lnTo>
                  <a:lnTo>
                    <a:pt x="427" y="12"/>
                  </a:lnTo>
                  <a:lnTo>
                    <a:pt x="418" y="6"/>
                  </a:lnTo>
                  <a:lnTo>
                    <a:pt x="404" y="0"/>
                  </a:lnTo>
                  <a:lnTo>
                    <a:pt x="396" y="5"/>
                  </a:lnTo>
                  <a:lnTo>
                    <a:pt x="393" y="5"/>
                  </a:lnTo>
                  <a:lnTo>
                    <a:pt x="391" y="5"/>
                  </a:lnTo>
                  <a:lnTo>
                    <a:pt x="391" y="14"/>
                  </a:lnTo>
                  <a:lnTo>
                    <a:pt x="386" y="14"/>
                  </a:lnTo>
                  <a:lnTo>
                    <a:pt x="380" y="12"/>
                  </a:lnTo>
                  <a:lnTo>
                    <a:pt x="378" y="16"/>
                  </a:lnTo>
                  <a:lnTo>
                    <a:pt x="377" y="24"/>
                  </a:lnTo>
                  <a:lnTo>
                    <a:pt x="372" y="31"/>
                  </a:lnTo>
                  <a:lnTo>
                    <a:pt x="366" y="35"/>
                  </a:lnTo>
                  <a:lnTo>
                    <a:pt x="341" y="43"/>
                  </a:lnTo>
                  <a:lnTo>
                    <a:pt x="314" y="58"/>
                  </a:lnTo>
                  <a:lnTo>
                    <a:pt x="310" y="60"/>
                  </a:lnTo>
                  <a:lnTo>
                    <a:pt x="289" y="65"/>
                  </a:lnTo>
                  <a:lnTo>
                    <a:pt x="281" y="65"/>
                  </a:lnTo>
                  <a:lnTo>
                    <a:pt x="271" y="63"/>
                  </a:lnTo>
                  <a:lnTo>
                    <a:pt x="263" y="63"/>
                  </a:lnTo>
                  <a:lnTo>
                    <a:pt x="260" y="65"/>
                  </a:lnTo>
                  <a:lnTo>
                    <a:pt x="257" y="70"/>
                  </a:lnTo>
                  <a:lnTo>
                    <a:pt x="253" y="81"/>
                  </a:lnTo>
                  <a:lnTo>
                    <a:pt x="249" y="90"/>
                  </a:lnTo>
                  <a:lnTo>
                    <a:pt x="247" y="91"/>
                  </a:lnTo>
                  <a:lnTo>
                    <a:pt x="244" y="91"/>
                  </a:lnTo>
                  <a:lnTo>
                    <a:pt x="244" y="82"/>
                  </a:lnTo>
                  <a:lnTo>
                    <a:pt x="242" y="80"/>
                  </a:lnTo>
                  <a:lnTo>
                    <a:pt x="231" y="80"/>
                  </a:lnTo>
                  <a:lnTo>
                    <a:pt x="220" y="80"/>
                  </a:lnTo>
                  <a:lnTo>
                    <a:pt x="216" y="80"/>
                  </a:lnTo>
                  <a:lnTo>
                    <a:pt x="194" y="96"/>
                  </a:lnTo>
                  <a:lnTo>
                    <a:pt x="187" y="102"/>
                  </a:lnTo>
                  <a:lnTo>
                    <a:pt x="185" y="107"/>
                  </a:lnTo>
                  <a:lnTo>
                    <a:pt x="183" y="128"/>
                  </a:lnTo>
                  <a:lnTo>
                    <a:pt x="181" y="144"/>
                  </a:lnTo>
                  <a:lnTo>
                    <a:pt x="179" y="160"/>
                  </a:lnTo>
                  <a:lnTo>
                    <a:pt x="173" y="166"/>
                  </a:lnTo>
                  <a:lnTo>
                    <a:pt x="158" y="170"/>
                  </a:lnTo>
                  <a:lnTo>
                    <a:pt x="155" y="173"/>
                  </a:lnTo>
                  <a:lnTo>
                    <a:pt x="146" y="188"/>
                  </a:lnTo>
                  <a:lnTo>
                    <a:pt x="142" y="192"/>
                  </a:lnTo>
                  <a:lnTo>
                    <a:pt x="135" y="198"/>
                  </a:lnTo>
                  <a:lnTo>
                    <a:pt x="117" y="209"/>
                  </a:lnTo>
                  <a:lnTo>
                    <a:pt x="115" y="213"/>
                  </a:lnTo>
                  <a:lnTo>
                    <a:pt x="117" y="216"/>
                  </a:lnTo>
                  <a:lnTo>
                    <a:pt x="118" y="219"/>
                  </a:lnTo>
                  <a:lnTo>
                    <a:pt x="122" y="238"/>
                  </a:lnTo>
                  <a:lnTo>
                    <a:pt x="119" y="245"/>
                  </a:lnTo>
                  <a:lnTo>
                    <a:pt x="118" y="246"/>
                  </a:lnTo>
                  <a:lnTo>
                    <a:pt x="113" y="242"/>
                  </a:lnTo>
                  <a:lnTo>
                    <a:pt x="103" y="229"/>
                  </a:lnTo>
                  <a:lnTo>
                    <a:pt x="86" y="209"/>
                  </a:lnTo>
                  <a:lnTo>
                    <a:pt x="85" y="213"/>
                  </a:lnTo>
                  <a:lnTo>
                    <a:pt x="83" y="221"/>
                  </a:lnTo>
                  <a:lnTo>
                    <a:pt x="83" y="223"/>
                  </a:lnTo>
                  <a:lnTo>
                    <a:pt x="88" y="226"/>
                  </a:lnTo>
                  <a:lnTo>
                    <a:pt x="92" y="232"/>
                  </a:lnTo>
                  <a:lnTo>
                    <a:pt x="92" y="238"/>
                  </a:lnTo>
                  <a:lnTo>
                    <a:pt x="93" y="240"/>
                  </a:lnTo>
                  <a:lnTo>
                    <a:pt x="97" y="242"/>
                  </a:lnTo>
                  <a:lnTo>
                    <a:pt x="97" y="246"/>
                  </a:lnTo>
                  <a:lnTo>
                    <a:pt x="91" y="251"/>
                  </a:lnTo>
                  <a:lnTo>
                    <a:pt x="81" y="264"/>
                  </a:lnTo>
                  <a:lnTo>
                    <a:pt x="77" y="267"/>
                  </a:lnTo>
                  <a:lnTo>
                    <a:pt x="72" y="263"/>
                  </a:lnTo>
                  <a:lnTo>
                    <a:pt x="69" y="264"/>
                  </a:lnTo>
                  <a:lnTo>
                    <a:pt x="69" y="272"/>
                  </a:lnTo>
                  <a:lnTo>
                    <a:pt x="60" y="278"/>
                  </a:lnTo>
                  <a:lnTo>
                    <a:pt x="60" y="283"/>
                  </a:lnTo>
                  <a:lnTo>
                    <a:pt x="59" y="283"/>
                  </a:lnTo>
                  <a:lnTo>
                    <a:pt x="61" y="288"/>
                  </a:lnTo>
                  <a:lnTo>
                    <a:pt x="66" y="306"/>
                  </a:lnTo>
                  <a:lnTo>
                    <a:pt x="70" y="311"/>
                  </a:lnTo>
                  <a:lnTo>
                    <a:pt x="81" y="320"/>
                  </a:lnTo>
                  <a:lnTo>
                    <a:pt x="86" y="327"/>
                  </a:lnTo>
                  <a:lnTo>
                    <a:pt x="87" y="331"/>
                  </a:lnTo>
                  <a:lnTo>
                    <a:pt x="85" y="353"/>
                  </a:lnTo>
                  <a:lnTo>
                    <a:pt x="88" y="367"/>
                  </a:lnTo>
                  <a:lnTo>
                    <a:pt x="88" y="372"/>
                  </a:lnTo>
                  <a:lnTo>
                    <a:pt x="83" y="380"/>
                  </a:lnTo>
                  <a:lnTo>
                    <a:pt x="81" y="386"/>
                  </a:lnTo>
                  <a:lnTo>
                    <a:pt x="85" y="412"/>
                  </a:lnTo>
                  <a:lnTo>
                    <a:pt x="90" y="431"/>
                  </a:lnTo>
                  <a:lnTo>
                    <a:pt x="90" y="439"/>
                  </a:lnTo>
                  <a:lnTo>
                    <a:pt x="85" y="455"/>
                  </a:lnTo>
                  <a:lnTo>
                    <a:pt x="83" y="462"/>
                  </a:lnTo>
                  <a:lnTo>
                    <a:pt x="85" y="469"/>
                  </a:lnTo>
                  <a:lnTo>
                    <a:pt x="92" y="472"/>
                  </a:lnTo>
                  <a:lnTo>
                    <a:pt x="98" y="473"/>
                  </a:lnTo>
                  <a:lnTo>
                    <a:pt x="103" y="472"/>
                  </a:lnTo>
                  <a:lnTo>
                    <a:pt x="111" y="467"/>
                  </a:lnTo>
                  <a:lnTo>
                    <a:pt x="111" y="472"/>
                  </a:lnTo>
                  <a:lnTo>
                    <a:pt x="111" y="474"/>
                  </a:lnTo>
                  <a:lnTo>
                    <a:pt x="107" y="479"/>
                  </a:lnTo>
                  <a:lnTo>
                    <a:pt x="95" y="490"/>
                  </a:lnTo>
                  <a:lnTo>
                    <a:pt x="81" y="507"/>
                  </a:lnTo>
                  <a:lnTo>
                    <a:pt x="74" y="531"/>
                  </a:lnTo>
                  <a:lnTo>
                    <a:pt x="71" y="533"/>
                  </a:lnTo>
                  <a:lnTo>
                    <a:pt x="69" y="536"/>
                  </a:lnTo>
                  <a:lnTo>
                    <a:pt x="54" y="541"/>
                  </a:lnTo>
                  <a:lnTo>
                    <a:pt x="40" y="539"/>
                  </a:lnTo>
                  <a:lnTo>
                    <a:pt x="37" y="541"/>
                  </a:lnTo>
                  <a:lnTo>
                    <a:pt x="26" y="547"/>
                  </a:lnTo>
                  <a:lnTo>
                    <a:pt x="20" y="560"/>
                  </a:lnTo>
                  <a:lnTo>
                    <a:pt x="18" y="569"/>
                  </a:lnTo>
                  <a:lnTo>
                    <a:pt x="21" y="577"/>
                  </a:lnTo>
                  <a:lnTo>
                    <a:pt x="20" y="584"/>
                  </a:lnTo>
                  <a:lnTo>
                    <a:pt x="7" y="585"/>
                  </a:lnTo>
                  <a:lnTo>
                    <a:pt x="4" y="590"/>
                  </a:lnTo>
                  <a:lnTo>
                    <a:pt x="0" y="596"/>
                  </a:lnTo>
                  <a:lnTo>
                    <a:pt x="0" y="601"/>
                  </a:lnTo>
                  <a:lnTo>
                    <a:pt x="5" y="607"/>
                  </a:lnTo>
                  <a:lnTo>
                    <a:pt x="6" y="611"/>
                  </a:lnTo>
                  <a:lnTo>
                    <a:pt x="9" y="613"/>
                  </a:lnTo>
                  <a:lnTo>
                    <a:pt x="12" y="616"/>
                  </a:lnTo>
                  <a:lnTo>
                    <a:pt x="44" y="629"/>
                  </a:lnTo>
                  <a:lnTo>
                    <a:pt x="74" y="644"/>
                  </a:lnTo>
                  <a:lnTo>
                    <a:pt x="86" y="652"/>
                  </a:lnTo>
                  <a:lnTo>
                    <a:pt x="88" y="657"/>
                  </a:lnTo>
                  <a:lnTo>
                    <a:pt x="91" y="668"/>
                  </a:lnTo>
                  <a:lnTo>
                    <a:pt x="93" y="672"/>
                  </a:lnTo>
                  <a:lnTo>
                    <a:pt x="106" y="673"/>
                  </a:lnTo>
                  <a:lnTo>
                    <a:pt x="114" y="671"/>
                  </a:lnTo>
                  <a:lnTo>
                    <a:pt x="119" y="671"/>
                  </a:lnTo>
                  <a:lnTo>
                    <a:pt x="140" y="673"/>
                  </a:lnTo>
                  <a:lnTo>
                    <a:pt x="150" y="673"/>
                  </a:lnTo>
                  <a:lnTo>
                    <a:pt x="151" y="671"/>
                  </a:lnTo>
                  <a:lnTo>
                    <a:pt x="156" y="665"/>
                  </a:lnTo>
                  <a:lnTo>
                    <a:pt x="161" y="665"/>
                  </a:lnTo>
                  <a:lnTo>
                    <a:pt x="168" y="667"/>
                  </a:lnTo>
                  <a:lnTo>
                    <a:pt x="174" y="673"/>
                  </a:lnTo>
                  <a:lnTo>
                    <a:pt x="181" y="676"/>
                  </a:lnTo>
                  <a:lnTo>
                    <a:pt x="195" y="687"/>
                  </a:lnTo>
                  <a:lnTo>
                    <a:pt x="201" y="687"/>
                  </a:lnTo>
                  <a:lnTo>
                    <a:pt x="205" y="687"/>
                  </a:lnTo>
                  <a:lnTo>
                    <a:pt x="215" y="690"/>
                  </a:lnTo>
                  <a:lnTo>
                    <a:pt x="224" y="693"/>
                  </a:lnTo>
                  <a:lnTo>
                    <a:pt x="230" y="695"/>
                  </a:lnTo>
                  <a:lnTo>
                    <a:pt x="235" y="704"/>
                  </a:lnTo>
                  <a:lnTo>
                    <a:pt x="238" y="708"/>
                  </a:lnTo>
                  <a:lnTo>
                    <a:pt x="248" y="711"/>
                  </a:lnTo>
                  <a:lnTo>
                    <a:pt x="253" y="725"/>
                  </a:lnTo>
                  <a:lnTo>
                    <a:pt x="258" y="733"/>
                  </a:lnTo>
                  <a:lnTo>
                    <a:pt x="264" y="737"/>
                  </a:lnTo>
                  <a:lnTo>
                    <a:pt x="267" y="742"/>
                  </a:lnTo>
                  <a:lnTo>
                    <a:pt x="273" y="743"/>
                  </a:lnTo>
                  <a:lnTo>
                    <a:pt x="278" y="743"/>
                  </a:lnTo>
                  <a:lnTo>
                    <a:pt x="284" y="746"/>
                  </a:lnTo>
                  <a:lnTo>
                    <a:pt x="289" y="749"/>
                  </a:lnTo>
                  <a:lnTo>
                    <a:pt x="292" y="756"/>
                  </a:lnTo>
                  <a:lnTo>
                    <a:pt x="294" y="768"/>
                  </a:lnTo>
                  <a:lnTo>
                    <a:pt x="297" y="776"/>
                  </a:lnTo>
                  <a:lnTo>
                    <a:pt x="298" y="780"/>
                  </a:lnTo>
                  <a:lnTo>
                    <a:pt x="302" y="783"/>
                  </a:lnTo>
                  <a:lnTo>
                    <a:pt x="311" y="783"/>
                  </a:lnTo>
                  <a:lnTo>
                    <a:pt x="316" y="784"/>
                  </a:lnTo>
                  <a:lnTo>
                    <a:pt x="316" y="806"/>
                  </a:lnTo>
                  <a:lnTo>
                    <a:pt x="319" y="811"/>
                  </a:lnTo>
                  <a:lnTo>
                    <a:pt x="324" y="816"/>
                  </a:lnTo>
                  <a:lnTo>
                    <a:pt x="334" y="817"/>
                  </a:lnTo>
                  <a:lnTo>
                    <a:pt x="339" y="816"/>
                  </a:lnTo>
                  <a:lnTo>
                    <a:pt x="353" y="817"/>
                  </a:lnTo>
                  <a:lnTo>
                    <a:pt x="361" y="821"/>
                  </a:lnTo>
                  <a:lnTo>
                    <a:pt x="365" y="821"/>
                  </a:lnTo>
                  <a:lnTo>
                    <a:pt x="372" y="819"/>
                  </a:lnTo>
                  <a:lnTo>
                    <a:pt x="376" y="817"/>
                  </a:lnTo>
                  <a:lnTo>
                    <a:pt x="378" y="813"/>
                  </a:lnTo>
                  <a:lnTo>
                    <a:pt x="382" y="812"/>
                  </a:lnTo>
                  <a:lnTo>
                    <a:pt x="386" y="808"/>
                  </a:lnTo>
                  <a:lnTo>
                    <a:pt x="389" y="807"/>
                  </a:lnTo>
                  <a:lnTo>
                    <a:pt x="398" y="807"/>
                  </a:lnTo>
                  <a:lnTo>
                    <a:pt x="405" y="808"/>
                  </a:lnTo>
                  <a:lnTo>
                    <a:pt x="410" y="813"/>
                  </a:lnTo>
                  <a:lnTo>
                    <a:pt x="418" y="815"/>
                  </a:lnTo>
                  <a:lnTo>
                    <a:pt x="426" y="813"/>
                  </a:lnTo>
                  <a:lnTo>
                    <a:pt x="435" y="807"/>
                  </a:lnTo>
                  <a:lnTo>
                    <a:pt x="437" y="807"/>
                  </a:lnTo>
                  <a:lnTo>
                    <a:pt x="445" y="808"/>
                  </a:lnTo>
                  <a:lnTo>
                    <a:pt x="461" y="815"/>
                  </a:lnTo>
                  <a:lnTo>
                    <a:pt x="477" y="824"/>
                  </a:lnTo>
                  <a:lnTo>
                    <a:pt x="488" y="837"/>
                  </a:lnTo>
                  <a:lnTo>
                    <a:pt x="488" y="842"/>
                  </a:lnTo>
                  <a:lnTo>
                    <a:pt x="484" y="849"/>
                  </a:lnTo>
                  <a:lnTo>
                    <a:pt x="478" y="856"/>
                  </a:lnTo>
                  <a:lnTo>
                    <a:pt x="466" y="869"/>
                  </a:lnTo>
                  <a:lnTo>
                    <a:pt x="458" y="880"/>
                  </a:lnTo>
                  <a:lnTo>
                    <a:pt x="458" y="889"/>
                  </a:lnTo>
                  <a:lnTo>
                    <a:pt x="459" y="892"/>
                  </a:lnTo>
                  <a:lnTo>
                    <a:pt x="464" y="893"/>
                  </a:lnTo>
                  <a:lnTo>
                    <a:pt x="469" y="892"/>
                  </a:lnTo>
                  <a:lnTo>
                    <a:pt x="473" y="893"/>
                  </a:lnTo>
                  <a:lnTo>
                    <a:pt x="478" y="897"/>
                  </a:lnTo>
                  <a:lnTo>
                    <a:pt x="486" y="908"/>
                  </a:lnTo>
                  <a:lnTo>
                    <a:pt x="494" y="909"/>
                  </a:lnTo>
                  <a:lnTo>
                    <a:pt x="495" y="902"/>
                  </a:lnTo>
                  <a:lnTo>
                    <a:pt x="497" y="896"/>
                  </a:lnTo>
                  <a:lnTo>
                    <a:pt x="499" y="881"/>
                  </a:lnTo>
                  <a:lnTo>
                    <a:pt x="501" y="873"/>
                  </a:lnTo>
                  <a:lnTo>
                    <a:pt x="502" y="870"/>
                  </a:lnTo>
                  <a:lnTo>
                    <a:pt x="504" y="858"/>
                  </a:lnTo>
                  <a:lnTo>
                    <a:pt x="506" y="850"/>
                  </a:lnTo>
                  <a:lnTo>
                    <a:pt x="511" y="832"/>
                  </a:lnTo>
                  <a:lnTo>
                    <a:pt x="512" y="831"/>
                  </a:lnTo>
                  <a:lnTo>
                    <a:pt x="522" y="768"/>
                  </a:lnTo>
                  <a:lnTo>
                    <a:pt x="523" y="758"/>
                  </a:lnTo>
                  <a:lnTo>
                    <a:pt x="524" y="752"/>
                  </a:lnTo>
                  <a:lnTo>
                    <a:pt x="517" y="724"/>
                  </a:lnTo>
                  <a:lnTo>
                    <a:pt x="512" y="714"/>
                  </a:lnTo>
                  <a:lnTo>
                    <a:pt x="506" y="708"/>
                  </a:lnTo>
                  <a:lnTo>
                    <a:pt x="494" y="698"/>
                  </a:lnTo>
                  <a:lnTo>
                    <a:pt x="489" y="693"/>
                  </a:lnTo>
                  <a:lnTo>
                    <a:pt x="489" y="655"/>
                  </a:lnTo>
                  <a:lnTo>
                    <a:pt x="494" y="652"/>
                  </a:lnTo>
                  <a:lnTo>
                    <a:pt x="511" y="650"/>
                  </a:lnTo>
                  <a:lnTo>
                    <a:pt x="517" y="647"/>
                  </a:lnTo>
                  <a:lnTo>
                    <a:pt x="528" y="649"/>
                  </a:lnTo>
                  <a:lnTo>
                    <a:pt x="532" y="650"/>
                  </a:lnTo>
                  <a:lnTo>
                    <a:pt x="532" y="652"/>
                  </a:lnTo>
                  <a:lnTo>
                    <a:pt x="538" y="651"/>
                  </a:lnTo>
                  <a:lnTo>
                    <a:pt x="538" y="650"/>
                  </a:lnTo>
                  <a:lnTo>
                    <a:pt x="534" y="640"/>
                  </a:lnTo>
                  <a:lnTo>
                    <a:pt x="533" y="633"/>
                  </a:lnTo>
                  <a:lnTo>
                    <a:pt x="528" y="625"/>
                  </a:lnTo>
                  <a:lnTo>
                    <a:pt x="518" y="627"/>
                  </a:lnTo>
                  <a:lnTo>
                    <a:pt x="516" y="629"/>
                  </a:lnTo>
                  <a:lnTo>
                    <a:pt x="509" y="629"/>
                  </a:lnTo>
                  <a:lnTo>
                    <a:pt x="505" y="624"/>
                  </a:lnTo>
                  <a:lnTo>
                    <a:pt x="501" y="623"/>
                  </a:lnTo>
                  <a:lnTo>
                    <a:pt x="501" y="620"/>
                  </a:lnTo>
                  <a:lnTo>
                    <a:pt x="501" y="620"/>
                  </a:lnTo>
                  <a:lnTo>
                    <a:pt x="501" y="589"/>
                  </a:lnTo>
                  <a:lnTo>
                    <a:pt x="502" y="590"/>
                  </a:lnTo>
                  <a:lnTo>
                    <a:pt x="582" y="590"/>
                  </a:lnTo>
                  <a:lnTo>
                    <a:pt x="586" y="586"/>
                  </a:lnTo>
                  <a:lnTo>
                    <a:pt x="587" y="580"/>
                  </a:lnTo>
                  <a:lnTo>
                    <a:pt x="591" y="575"/>
                  </a:lnTo>
                  <a:lnTo>
                    <a:pt x="593" y="575"/>
                  </a:lnTo>
                  <a:lnTo>
                    <a:pt x="597" y="577"/>
                  </a:lnTo>
                  <a:lnTo>
                    <a:pt x="601" y="584"/>
                  </a:lnTo>
                  <a:lnTo>
                    <a:pt x="603" y="584"/>
                  </a:lnTo>
                  <a:lnTo>
                    <a:pt x="622" y="574"/>
                  </a:lnTo>
                  <a:lnTo>
                    <a:pt x="633" y="574"/>
                  </a:lnTo>
                  <a:lnTo>
                    <a:pt x="638" y="579"/>
                  </a:lnTo>
                  <a:lnTo>
                    <a:pt x="646" y="590"/>
                  </a:lnTo>
                  <a:lnTo>
                    <a:pt x="652" y="619"/>
                  </a:lnTo>
                  <a:lnTo>
                    <a:pt x="662" y="614"/>
                  </a:lnTo>
                  <a:lnTo>
                    <a:pt x="663" y="612"/>
                  </a:lnTo>
                  <a:lnTo>
                    <a:pt x="658" y="603"/>
                  </a:lnTo>
                  <a:lnTo>
                    <a:pt x="656" y="592"/>
                  </a:lnTo>
                  <a:lnTo>
                    <a:pt x="640" y="555"/>
                  </a:lnTo>
                  <a:lnTo>
                    <a:pt x="631" y="544"/>
                  </a:lnTo>
                  <a:lnTo>
                    <a:pt x="614" y="531"/>
                  </a:lnTo>
                  <a:lnTo>
                    <a:pt x="614" y="527"/>
                  </a:lnTo>
                  <a:lnTo>
                    <a:pt x="626" y="516"/>
                  </a:lnTo>
                  <a:lnTo>
                    <a:pt x="631" y="509"/>
                  </a:lnTo>
                  <a:lnTo>
                    <a:pt x="634" y="507"/>
                  </a:lnTo>
                  <a:lnTo>
                    <a:pt x="638" y="504"/>
                  </a:lnTo>
                  <a:lnTo>
                    <a:pt x="640" y="503"/>
                  </a:lnTo>
                  <a:lnTo>
                    <a:pt x="641" y="500"/>
                  </a:lnTo>
                  <a:lnTo>
                    <a:pt x="640" y="493"/>
                  </a:lnTo>
                  <a:lnTo>
                    <a:pt x="638" y="488"/>
                  </a:lnTo>
                  <a:lnTo>
                    <a:pt x="633" y="479"/>
                  </a:lnTo>
                  <a:lnTo>
                    <a:pt x="625" y="471"/>
                  </a:lnTo>
                  <a:lnTo>
                    <a:pt x="618" y="466"/>
                  </a:lnTo>
                  <a:lnTo>
                    <a:pt x="617" y="463"/>
                  </a:lnTo>
                  <a:lnTo>
                    <a:pt x="615" y="453"/>
                  </a:lnTo>
                  <a:lnTo>
                    <a:pt x="613" y="447"/>
                  </a:lnTo>
                  <a:lnTo>
                    <a:pt x="613" y="439"/>
                  </a:lnTo>
                  <a:lnTo>
                    <a:pt x="609" y="431"/>
                  </a:lnTo>
                  <a:lnTo>
                    <a:pt x="609" y="419"/>
                  </a:lnTo>
                  <a:lnTo>
                    <a:pt x="613" y="413"/>
                  </a:lnTo>
                  <a:lnTo>
                    <a:pt x="615" y="403"/>
                  </a:lnTo>
                  <a:lnTo>
                    <a:pt x="615" y="392"/>
                  </a:lnTo>
                  <a:lnTo>
                    <a:pt x="624" y="382"/>
                  </a:lnTo>
                  <a:lnTo>
                    <a:pt x="624" y="369"/>
                  </a:lnTo>
                  <a:lnTo>
                    <a:pt x="626" y="364"/>
                  </a:lnTo>
                  <a:lnTo>
                    <a:pt x="633" y="358"/>
                  </a:lnTo>
                  <a:lnTo>
                    <a:pt x="633" y="353"/>
                  </a:lnTo>
                  <a:lnTo>
                    <a:pt x="630" y="344"/>
                  </a:lnTo>
                  <a:lnTo>
                    <a:pt x="628" y="342"/>
                  </a:lnTo>
                  <a:lnTo>
                    <a:pt x="624" y="342"/>
                  </a:lnTo>
                  <a:lnTo>
                    <a:pt x="614" y="342"/>
                  </a:lnTo>
                  <a:lnTo>
                    <a:pt x="595" y="350"/>
                  </a:lnTo>
                  <a:lnTo>
                    <a:pt x="583" y="353"/>
                  </a:lnTo>
                  <a:lnTo>
                    <a:pt x="576" y="353"/>
                  </a:lnTo>
                  <a:lnTo>
                    <a:pt x="567" y="350"/>
                  </a:lnTo>
                  <a:lnTo>
                    <a:pt x="563" y="349"/>
                  </a:lnTo>
                  <a:lnTo>
                    <a:pt x="558" y="347"/>
                  </a:lnTo>
                  <a:lnTo>
                    <a:pt x="552" y="345"/>
                  </a:lnTo>
                  <a:lnTo>
                    <a:pt x="544" y="348"/>
                  </a:lnTo>
                  <a:lnTo>
                    <a:pt x="542" y="350"/>
                  </a:lnTo>
                  <a:lnTo>
                    <a:pt x="536" y="350"/>
                  </a:lnTo>
                  <a:lnTo>
                    <a:pt x="527" y="350"/>
                  </a:lnTo>
                  <a:lnTo>
                    <a:pt x="523" y="348"/>
                  </a:lnTo>
                  <a:lnTo>
                    <a:pt x="522" y="348"/>
                  </a:lnTo>
                  <a:lnTo>
                    <a:pt x="494" y="307"/>
                  </a:lnTo>
                  <a:lnTo>
                    <a:pt x="493" y="305"/>
                  </a:lnTo>
                  <a:lnTo>
                    <a:pt x="490" y="302"/>
                  </a:lnTo>
                  <a:lnTo>
                    <a:pt x="479" y="301"/>
                  </a:lnTo>
                  <a:lnTo>
                    <a:pt x="473" y="297"/>
                  </a:lnTo>
                  <a:lnTo>
                    <a:pt x="461" y="293"/>
                  </a:lnTo>
                  <a:lnTo>
                    <a:pt x="443" y="294"/>
                  </a:lnTo>
                  <a:lnTo>
                    <a:pt x="425" y="299"/>
                  </a:lnTo>
                  <a:lnTo>
                    <a:pt x="415" y="300"/>
                  </a:lnTo>
                  <a:lnTo>
                    <a:pt x="400" y="299"/>
                  </a:lnTo>
                  <a:lnTo>
                    <a:pt x="383" y="291"/>
                  </a:lnTo>
                  <a:lnTo>
                    <a:pt x="380" y="284"/>
                  </a:lnTo>
                  <a:lnTo>
                    <a:pt x="376" y="283"/>
                  </a:lnTo>
                  <a:lnTo>
                    <a:pt x="364" y="277"/>
                  </a:lnTo>
                  <a:lnTo>
                    <a:pt x="362" y="274"/>
                  </a:lnTo>
                  <a:lnTo>
                    <a:pt x="362" y="241"/>
                  </a:lnTo>
                  <a:lnTo>
                    <a:pt x="360" y="232"/>
                  </a:lnTo>
                  <a:lnTo>
                    <a:pt x="357" y="226"/>
                  </a:lnTo>
                  <a:lnTo>
                    <a:pt x="353" y="223"/>
                  </a:lnTo>
                  <a:lnTo>
                    <a:pt x="351" y="220"/>
                  </a:lnTo>
                  <a:lnTo>
                    <a:pt x="344" y="211"/>
                  </a:lnTo>
                  <a:lnTo>
                    <a:pt x="341" y="208"/>
                  </a:lnTo>
                  <a:lnTo>
                    <a:pt x="338" y="188"/>
                  </a:lnTo>
                  <a:lnTo>
                    <a:pt x="335" y="182"/>
                  </a:lnTo>
                  <a:lnTo>
                    <a:pt x="334" y="180"/>
                  </a:lnTo>
                  <a:lnTo>
                    <a:pt x="310" y="181"/>
                  </a:lnTo>
                  <a:lnTo>
                    <a:pt x="316" y="167"/>
                  </a:lnTo>
                  <a:lnTo>
                    <a:pt x="324" y="152"/>
                  </a:lnTo>
                  <a:lnTo>
                    <a:pt x="337" y="107"/>
                  </a:lnTo>
                  <a:lnTo>
                    <a:pt x="350" y="85"/>
                  </a:lnTo>
                  <a:lnTo>
                    <a:pt x="375" y="62"/>
                  </a:lnTo>
                  <a:lnTo>
                    <a:pt x="378" y="57"/>
                  </a:lnTo>
                  <a:lnTo>
                    <a:pt x="383" y="47"/>
                  </a:lnTo>
                  <a:lnTo>
                    <a:pt x="389" y="41"/>
                  </a:lnTo>
                  <a:lnTo>
                    <a:pt x="404" y="35"/>
                  </a:lnTo>
                  <a:lnTo>
                    <a:pt x="419" y="3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26" name="Bolivia"/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 bwMode="gray">
            <a:xfrm>
              <a:off x="2663122" y="4875488"/>
              <a:ext cx="308959" cy="353431"/>
            </a:xfrm>
            <a:custGeom>
              <a:avLst/>
              <a:gdLst/>
              <a:ahLst/>
              <a:cxnLst>
                <a:cxn ang="0">
                  <a:pos x="29" y="74"/>
                </a:cxn>
                <a:cxn ang="0">
                  <a:pos x="109" y="59"/>
                </a:cxn>
                <a:cxn ang="0">
                  <a:pos x="164" y="7"/>
                </a:cxn>
                <a:cxn ang="0">
                  <a:pos x="232" y="1"/>
                </a:cxn>
                <a:cxn ang="0">
                  <a:pos x="243" y="60"/>
                </a:cxn>
                <a:cxn ang="0">
                  <a:pos x="234" y="88"/>
                </a:cxn>
                <a:cxn ang="0">
                  <a:pos x="283" y="151"/>
                </a:cxn>
                <a:cxn ang="0">
                  <a:pos x="348" y="161"/>
                </a:cxn>
                <a:cxn ang="0">
                  <a:pos x="372" y="183"/>
                </a:cxn>
                <a:cxn ang="0">
                  <a:pos x="441" y="211"/>
                </a:cxn>
                <a:cxn ang="0">
                  <a:pos x="487" y="222"/>
                </a:cxn>
                <a:cxn ang="0">
                  <a:pos x="507" y="268"/>
                </a:cxn>
                <a:cxn ang="0">
                  <a:pos x="512" y="307"/>
                </a:cxn>
                <a:cxn ang="0">
                  <a:pos x="511" y="334"/>
                </a:cxn>
                <a:cxn ang="0">
                  <a:pos x="550" y="370"/>
                </a:cxn>
                <a:cxn ang="0">
                  <a:pos x="616" y="373"/>
                </a:cxn>
                <a:cxn ang="0">
                  <a:pos x="616" y="399"/>
                </a:cxn>
                <a:cxn ang="0">
                  <a:pos x="641" y="434"/>
                </a:cxn>
                <a:cxn ang="0">
                  <a:pos x="658" y="500"/>
                </a:cxn>
                <a:cxn ang="0">
                  <a:pos x="644" y="555"/>
                </a:cxn>
                <a:cxn ang="0">
                  <a:pos x="647" y="586"/>
                </a:cxn>
                <a:cxn ang="0">
                  <a:pos x="631" y="585"/>
                </a:cxn>
                <a:cxn ang="0">
                  <a:pos x="595" y="544"/>
                </a:cxn>
                <a:cxn ang="0">
                  <a:pos x="504" y="549"/>
                </a:cxn>
                <a:cxn ang="0">
                  <a:pos x="426" y="576"/>
                </a:cxn>
                <a:cxn ang="0">
                  <a:pos x="401" y="628"/>
                </a:cxn>
                <a:cxn ang="0">
                  <a:pos x="391" y="705"/>
                </a:cxn>
                <a:cxn ang="0">
                  <a:pos x="362" y="706"/>
                </a:cxn>
                <a:cxn ang="0">
                  <a:pos x="315" y="701"/>
                </a:cxn>
                <a:cxn ang="0">
                  <a:pos x="297" y="735"/>
                </a:cxn>
                <a:cxn ang="0">
                  <a:pos x="281" y="726"/>
                </a:cxn>
                <a:cxn ang="0">
                  <a:pos x="250" y="710"/>
                </a:cxn>
                <a:cxn ang="0">
                  <a:pos x="202" y="695"/>
                </a:cxn>
                <a:cxn ang="0">
                  <a:pos x="176" y="708"/>
                </a:cxn>
                <a:cxn ang="0">
                  <a:pos x="149" y="737"/>
                </a:cxn>
                <a:cxn ang="0">
                  <a:pos x="126" y="752"/>
                </a:cxn>
                <a:cxn ang="0">
                  <a:pos x="94" y="751"/>
                </a:cxn>
                <a:cxn ang="0">
                  <a:pos x="86" y="711"/>
                </a:cxn>
                <a:cxn ang="0">
                  <a:pos x="77" y="652"/>
                </a:cxn>
                <a:cxn ang="0">
                  <a:pos x="61" y="626"/>
                </a:cxn>
                <a:cxn ang="0">
                  <a:pos x="55" y="602"/>
                </a:cxn>
                <a:cxn ang="0">
                  <a:pos x="51" y="579"/>
                </a:cxn>
                <a:cxn ang="0">
                  <a:pos x="57" y="564"/>
                </a:cxn>
                <a:cxn ang="0">
                  <a:pos x="54" y="536"/>
                </a:cxn>
                <a:cxn ang="0">
                  <a:pos x="29" y="480"/>
                </a:cxn>
                <a:cxn ang="0">
                  <a:pos x="7" y="443"/>
                </a:cxn>
                <a:cxn ang="0">
                  <a:pos x="1" y="431"/>
                </a:cxn>
                <a:cxn ang="0">
                  <a:pos x="36" y="373"/>
                </a:cxn>
                <a:cxn ang="0">
                  <a:pos x="20" y="357"/>
                </a:cxn>
                <a:cxn ang="0">
                  <a:pos x="17" y="328"/>
                </a:cxn>
                <a:cxn ang="0">
                  <a:pos x="29" y="303"/>
                </a:cxn>
                <a:cxn ang="0">
                  <a:pos x="22" y="276"/>
                </a:cxn>
                <a:cxn ang="0">
                  <a:pos x="33" y="231"/>
                </a:cxn>
                <a:cxn ang="0">
                  <a:pos x="40" y="166"/>
                </a:cxn>
                <a:cxn ang="0">
                  <a:pos x="35" y="129"/>
                </a:cxn>
              </a:cxnLst>
              <a:rect l="0" t="0" r="r" b="b"/>
              <a:pathLst>
                <a:path w="658" h="754">
                  <a:moveTo>
                    <a:pt x="1" y="70"/>
                  </a:moveTo>
                  <a:lnTo>
                    <a:pt x="3" y="68"/>
                  </a:lnTo>
                  <a:lnTo>
                    <a:pt x="11" y="68"/>
                  </a:lnTo>
                  <a:lnTo>
                    <a:pt x="29" y="74"/>
                  </a:lnTo>
                  <a:lnTo>
                    <a:pt x="70" y="75"/>
                  </a:lnTo>
                  <a:lnTo>
                    <a:pt x="78" y="71"/>
                  </a:lnTo>
                  <a:lnTo>
                    <a:pt x="83" y="68"/>
                  </a:lnTo>
                  <a:lnTo>
                    <a:pt x="109" y="59"/>
                  </a:lnTo>
                  <a:lnTo>
                    <a:pt x="116" y="55"/>
                  </a:lnTo>
                  <a:lnTo>
                    <a:pt x="141" y="33"/>
                  </a:lnTo>
                  <a:lnTo>
                    <a:pt x="158" y="14"/>
                  </a:lnTo>
                  <a:lnTo>
                    <a:pt x="164" y="7"/>
                  </a:lnTo>
                  <a:lnTo>
                    <a:pt x="180" y="4"/>
                  </a:lnTo>
                  <a:lnTo>
                    <a:pt x="186" y="4"/>
                  </a:lnTo>
                  <a:lnTo>
                    <a:pt x="213" y="0"/>
                  </a:lnTo>
                  <a:lnTo>
                    <a:pt x="232" y="1"/>
                  </a:lnTo>
                  <a:lnTo>
                    <a:pt x="235" y="4"/>
                  </a:lnTo>
                  <a:lnTo>
                    <a:pt x="240" y="11"/>
                  </a:lnTo>
                  <a:lnTo>
                    <a:pt x="243" y="28"/>
                  </a:lnTo>
                  <a:lnTo>
                    <a:pt x="243" y="60"/>
                  </a:lnTo>
                  <a:lnTo>
                    <a:pt x="242" y="70"/>
                  </a:lnTo>
                  <a:lnTo>
                    <a:pt x="237" y="77"/>
                  </a:lnTo>
                  <a:lnTo>
                    <a:pt x="235" y="81"/>
                  </a:lnTo>
                  <a:lnTo>
                    <a:pt x="234" y="88"/>
                  </a:lnTo>
                  <a:lnTo>
                    <a:pt x="240" y="112"/>
                  </a:lnTo>
                  <a:lnTo>
                    <a:pt x="249" y="125"/>
                  </a:lnTo>
                  <a:lnTo>
                    <a:pt x="256" y="131"/>
                  </a:lnTo>
                  <a:lnTo>
                    <a:pt x="283" y="151"/>
                  </a:lnTo>
                  <a:lnTo>
                    <a:pt x="296" y="155"/>
                  </a:lnTo>
                  <a:lnTo>
                    <a:pt x="313" y="157"/>
                  </a:lnTo>
                  <a:lnTo>
                    <a:pt x="332" y="157"/>
                  </a:lnTo>
                  <a:lnTo>
                    <a:pt x="348" y="161"/>
                  </a:lnTo>
                  <a:lnTo>
                    <a:pt x="355" y="167"/>
                  </a:lnTo>
                  <a:lnTo>
                    <a:pt x="356" y="171"/>
                  </a:lnTo>
                  <a:lnTo>
                    <a:pt x="363" y="179"/>
                  </a:lnTo>
                  <a:lnTo>
                    <a:pt x="372" y="183"/>
                  </a:lnTo>
                  <a:lnTo>
                    <a:pt x="410" y="193"/>
                  </a:lnTo>
                  <a:lnTo>
                    <a:pt x="426" y="208"/>
                  </a:lnTo>
                  <a:lnTo>
                    <a:pt x="431" y="211"/>
                  </a:lnTo>
                  <a:lnTo>
                    <a:pt x="441" y="211"/>
                  </a:lnTo>
                  <a:lnTo>
                    <a:pt x="450" y="209"/>
                  </a:lnTo>
                  <a:lnTo>
                    <a:pt x="455" y="209"/>
                  </a:lnTo>
                  <a:lnTo>
                    <a:pt x="468" y="211"/>
                  </a:lnTo>
                  <a:lnTo>
                    <a:pt x="487" y="222"/>
                  </a:lnTo>
                  <a:lnTo>
                    <a:pt x="493" y="227"/>
                  </a:lnTo>
                  <a:lnTo>
                    <a:pt x="501" y="238"/>
                  </a:lnTo>
                  <a:lnTo>
                    <a:pt x="506" y="253"/>
                  </a:lnTo>
                  <a:lnTo>
                    <a:pt x="507" y="268"/>
                  </a:lnTo>
                  <a:lnTo>
                    <a:pt x="511" y="276"/>
                  </a:lnTo>
                  <a:lnTo>
                    <a:pt x="514" y="281"/>
                  </a:lnTo>
                  <a:lnTo>
                    <a:pt x="514" y="290"/>
                  </a:lnTo>
                  <a:lnTo>
                    <a:pt x="512" y="307"/>
                  </a:lnTo>
                  <a:lnTo>
                    <a:pt x="503" y="308"/>
                  </a:lnTo>
                  <a:lnTo>
                    <a:pt x="503" y="312"/>
                  </a:lnTo>
                  <a:lnTo>
                    <a:pt x="504" y="317"/>
                  </a:lnTo>
                  <a:lnTo>
                    <a:pt x="511" y="334"/>
                  </a:lnTo>
                  <a:lnTo>
                    <a:pt x="518" y="356"/>
                  </a:lnTo>
                  <a:lnTo>
                    <a:pt x="524" y="369"/>
                  </a:lnTo>
                  <a:lnTo>
                    <a:pt x="539" y="369"/>
                  </a:lnTo>
                  <a:lnTo>
                    <a:pt x="550" y="370"/>
                  </a:lnTo>
                  <a:lnTo>
                    <a:pt x="563" y="370"/>
                  </a:lnTo>
                  <a:lnTo>
                    <a:pt x="568" y="372"/>
                  </a:lnTo>
                  <a:lnTo>
                    <a:pt x="611" y="372"/>
                  </a:lnTo>
                  <a:lnTo>
                    <a:pt x="616" y="373"/>
                  </a:lnTo>
                  <a:lnTo>
                    <a:pt x="619" y="376"/>
                  </a:lnTo>
                  <a:lnTo>
                    <a:pt x="620" y="381"/>
                  </a:lnTo>
                  <a:lnTo>
                    <a:pt x="619" y="391"/>
                  </a:lnTo>
                  <a:lnTo>
                    <a:pt x="616" y="399"/>
                  </a:lnTo>
                  <a:lnTo>
                    <a:pt x="616" y="405"/>
                  </a:lnTo>
                  <a:lnTo>
                    <a:pt x="620" y="425"/>
                  </a:lnTo>
                  <a:lnTo>
                    <a:pt x="638" y="431"/>
                  </a:lnTo>
                  <a:lnTo>
                    <a:pt x="641" y="434"/>
                  </a:lnTo>
                  <a:lnTo>
                    <a:pt x="644" y="448"/>
                  </a:lnTo>
                  <a:lnTo>
                    <a:pt x="656" y="467"/>
                  </a:lnTo>
                  <a:lnTo>
                    <a:pt x="658" y="477"/>
                  </a:lnTo>
                  <a:lnTo>
                    <a:pt x="658" y="500"/>
                  </a:lnTo>
                  <a:lnTo>
                    <a:pt x="657" y="529"/>
                  </a:lnTo>
                  <a:lnTo>
                    <a:pt x="656" y="533"/>
                  </a:lnTo>
                  <a:lnTo>
                    <a:pt x="649" y="544"/>
                  </a:lnTo>
                  <a:lnTo>
                    <a:pt x="644" y="555"/>
                  </a:lnTo>
                  <a:lnTo>
                    <a:pt x="644" y="561"/>
                  </a:lnTo>
                  <a:lnTo>
                    <a:pt x="644" y="569"/>
                  </a:lnTo>
                  <a:lnTo>
                    <a:pt x="646" y="574"/>
                  </a:lnTo>
                  <a:lnTo>
                    <a:pt x="647" y="586"/>
                  </a:lnTo>
                  <a:lnTo>
                    <a:pt x="646" y="587"/>
                  </a:lnTo>
                  <a:lnTo>
                    <a:pt x="638" y="590"/>
                  </a:lnTo>
                  <a:lnTo>
                    <a:pt x="637" y="591"/>
                  </a:lnTo>
                  <a:lnTo>
                    <a:pt x="631" y="585"/>
                  </a:lnTo>
                  <a:lnTo>
                    <a:pt x="630" y="581"/>
                  </a:lnTo>
                  <a:lnTo>
                    <a:pt x="615" y="560"/>
                  </a:lnTo>
                  <a:lnTo>
                    <a:pt x="605" y="552"/>
                  </a:lnTo>
                  <a:lnTo>
                    <a:pt x="595" y="544"/>
                  </a:lnTo>
                  <a:lnTo>
                    <a:pt x="582" y="541"/>
                  </a:lnTo>
                  <a:lnTo>
                    <a:pt x="539" y="541"/>
                  </a:lnTo>
                  <a:lnTo>
                    <a:pt x="535" y="541"/>
                  </a:lnTo>
                  <a:lnTo>
                    <a:pt x="504" y="549"/>
                  </a:lnTo>
                  <a:lnTo>
                    <a:pt x="501" y="549"/>
                  </a:lnTo>
                  <a:lnTo>
                    <a:pt x="447" y="566"/>
                  </a:lnTo>
                  <a:lnTo>
                    <a:pt x="428" y="570"/>
                  </a:lnTo>
                  <a:lnTo>
                    <a:pt x="426" y="576"/>
                  </a:lnTo>
                  <a:lnTo>
                    <a:pt x="423" y="591"/>
                  </a:lnTo>
                  <a:lnTo>
                    <a:pt x="412" y="607"/>
                  </a:lnTo>
                  <a:lnTo>
                    <a:pt x="401" y="625"/>
                  </a:lnTo>
                  <a:lnTo>
                    <a:pt x="401" y="628"/>
                  </a:lnTo>
                  <a:lnTo>
                    <a:pt x="401" y="654"/>
                  </a:lnTo>
                  <a:lnTo>
                    <a:pt x="402" y="658"/>
                  </a:lnTo>
                  <a:lnTo>
                    <a:pt x="402" y="665"/>
                  </a:lnTo>
                  <a:lnTo>
                    <a:pt x="391" y="705"/>
                  </a:lnTo>
                  <a:lnTo>
                    <a:pt x="383" y="720"/>
                  </a:lnTo>
                  <a:lnTo>
                    <a:pt x="375" y="716"/>
                  </a:lnTo>
                  <a:lnTo>
                    <a:pt x="369" y="711"/>
                  </a:lnTo>
                  <a:lnTo>
                    <a:pt x="362" y="706"/>
                  </a:lnTo>
                  <a:lnTo>
                    <a:pt x="359" y="705"/>
                  </a:lnTo>
                  <a:lnTo>
                    <a:pt x="351" y="704"/>
                  </a:lnTo>
                  <a:lnTo>
                    <a:pt x="334" y="704"/>
                  </a:lnTo>
                  <a:lnTo>
                    <a:pt x="315" y="701"/>
                  </a:lnTo>
                  <a:lnTo>
                    <a:pt x="307" y="701"/>
                  </a:lnTo>
                  <a:lnTo>
                    <a:pt x="304" y="705"/>
                  </a:lnTo>
                  <a:lnTo>
                    <a:pt x="300" y="724"/>
                  </a:lnTo>
                  <a:lnTo>
                    <a:pt x="297" y="735"/>
                  </a:lnTo>
                  <a:lnTo>
                    <a:pt x="296" y="741"/>
                  </a:lnTo>
                  <a:lnTo>
                    <a:pt x="293" y="741"/>
                  </a:lnTo>
                  <a:lnTo>
                    <a:pt x="282" y="730"/>
                  </a:lnTo>
                  <a:lnTo>
                    <a:pt x="281" y="726"/>
                  </a:lnTo>
                  <a:lnTo>
                    <a:pt x="278" y="725"/>
                  </a:lnTo>
                  <a:lnTo>
                    <a:pt x="275" y="719"/>
                  </a:lnTo>
                  <a:lnTo>
                    <a:pt x="271" y="715"/>
                  </a:lnTo>
                  <a:lnTo>
                    <a:pt x="250" y="710"/>
                  </a:lnTo>
                  <a:lnTo>
                    <a:pt x="245" y="710"/>
                  </a:lnTo>
                  <a:lnTo>
                    <a:pt x="237" y="708"/>
                  </a:lnTo>
                  <a:lnTo>
                    <a:pt x="211" y="708"/>
                  </a:lnTo>
                  <a:lnTo>
                    <a:pt x="202" y="695"/>
                  </a:lnTo>
                  <a:lnTo>
                    <a:pt x="196" y="689"/>
                  </a:lnTo>
                  <a:lnTo>
                    <a:pt x="192" y="689"/>
                  </a:lnTo>
                  <a:lnTo>
                    <a:pt x="189" y="690"/>
                  </a:lnTo>
                  <a:lnTo>
                    <a:pt x="176" y="708"/>
                  </a:lnTo>
                  <a:lnTo>
                    <a:pt x="165" y="716"/>
                  </a:lnTo>
                  <a:lnTo>
                    <a:pt x="157" y="725"/>
                  </a:lnTo>
                  <a:lnTo>
                    <a:pt x="151" y="733"/>
                  </a:lnTo>
                  <a:lnTo>
                    <a:pt x="149" y="737"/>
                  </a:lnTo>
                  <a:lnTo>
                    <a:pt x="143" y="747"/>
                  </a:lnTo>
                  <a:lnTo>
                    <a:pt x="138" y="752"/>
                  </a:lnTo>
                  <a:lnTo>
                    <a:pt x="136" y="752"/>
                  </a:lnTo>
                  <a:lnTo>
                    <a:pt x="126" y="752"/>
                  </a:lnTo>
                  <a:lnTo>
                    <a:pt x="120" y="754"/>
                  </a:lnTo>
                  <a:lnTo>
                    <a:pt x="108" y="754"/>
                  </a:lnTo>
                  <a:lnTo>
                    <a:pt x="101" y="754"/>
                  </a:lnTo>
                  <a:lnTo>
                    <a:pt x="94" y="751"/>
                  </a:lnTo>
                  <a:lnTo>
                    <a:pt x="94" y="749"/>
                  </a:lnTo>
                  <a:lnTo>
                    <a:pt x="90" y="737"/>
                  </a:lnTo>
                  <a:lnTo>
                    <a:pt x="90" y="733"/>
                  </a:lnTo>
                  <a:lnTo>
                    <a:pt x="86" y="711"/>
                  </a:lnTo>
                  <a:lnTo>
                    <a:pt x="86" y="693"/>
                  </a:lnTo>
                  <a:lnTo>
                    <a:pt x="83" y="671"/>
                  </a:lnTo>
                  <a:lnTo>
                    <a:pt x="77" y="661"/>
                  </a:lnTo>
                  <a:lnTo>
                    <a:pt x="77" y="652"/>
                  </a:lnTo>
                  <a:lnTo>
                    <a:pt x="74" y="639"/>
                  </a:lnTo>
                  <a:lnTo>
                    <a:pt x="73" y="635"/>
                  </a:lnTo>
                  <a:lnTo>
                    <a:pt x="66" y="628"/>
                  </a:lnTo>
                  <a:lnTo>
                    <a:pt x="61" y="626"/>
                  </a:lnTo>
                  <a:lnTo>
                    <a:pt x="58" y="623"/>
                  </a:lnTo>
                  <a:lnTo>
                    <a:pt x="58" y="615"/>
                  </a:lnTo>
                  <a:lnTo>
                    <a:pt x="58" y="607"/>
                  </a:lnTo>
                  <a:lnTo>
                    <a:pt x="55" y="602"/>
                  </a:lnTo>
                  <a:lnTo>
                    <a:pt x="47" y="598"/>
                  </a:lnTo>
                  <a:lnTo>
                    <a:pt x="47" y="592"/>
                  </a:lnTo>
                  <a:lnTo>
                    <a:pt x="50" y="580"/>
                  </a:lnTo>
                  <a:lnTo>
                    <a:pt x="51" y="579"/>
                  </a:lnTo>
                  <a:lnTo>
                    <a:pt x="58" y="575"/>
                  </a:lnTo>
                  <a:lnTo>
                    <a:pt x="61" y="574"/>
                  </a:lnTo>
                  <a:lnTo>
                    <a:pt x="61" y="570"/>
                  </a:lnTo>
                  <a:lnTo>
                    <a:pt x="57" y="564"/>
                  </a:lnTo>
                  <a:lnTo>
                    <a:pt x="58" y="558"/>
                  </a:lnTo>
                  <a:lnTo>
                    <a:pt x="62" y="553"/>
                  </a:lnTo>
                  <a:lnTo>
                    <a:pt x="61" y="543"/>
                  </a:lnTo>
                  <a:lnTo>
                    <a:pt x="54" y="536"/>
                  </a:lnTo>
                  <a:lnTo>
                    <a:pt x="41" y="526"/>
                  </a:lnTo>
                  <a:lnTo>
                    <a:pt x="36" y="521"/>
                  </a:lnTo>
                  <a:lnTo>
                    <a:pt x="33" y="512"/>
                  </a:lnTo>
                  <a:lnTo>
                    <a:pt x="29" y="480"/>
                  </a:lnTo>
                  <a:lnTo>
                    <a:pt x="29" y="470"/>
                  </a:lnTo>
                  <a:lnTo>
                    <a:pt x="22" y="461"/>
                  </a:lnTo>
                  <a:lnTo>
                    <a:pt x="18" y="457"/>
                  </a:lnTo>
                  <a:lnTo>
                    <a:pt x="7" y="443"/>
                  </a:lnTo>
                  <a:lnTo>
                    <a:pt x="4" y="443"/>
                  </a:lnTo>
                  <a:lnTo>
                    <a:pt x="2" y="439"/>
                  </a:lnTo>
                  <a:lnTo>
                    <a:pt x="0" y="437"/>
                  </a:lnTo>
                  <a:lnTo>
                    <a:pt x="1" y="431"/>
                  </a:lnTo>
                  <a:lnTo>
                    <a:pt x="12" y="412"/>
                  </a:lnTo>
                  <a:lnTo>
                    <a:pt x="23" y="400"/>
                  </a:lnTo>
                  <a:lnTo>
                    <a:pt x="35" y="383"/>
                  </a:lnTo>
                  <a:lnTo>
                    <a:pt x="36" y="373"/>
                  </a:lnTo>
                  <a:lnTo>
                    <a:pt x="35" y="370"/>
                  </a:lnTo>
                  <a:lnTo>
                    <a:pt x="29" y="365"/>
                  </a:lnTo>
                  <a:lnTo>
                    <a:pt x="24" y="362"/>
                  </a:lnTo>
                  <a:lnTo>
                    <a:pt x="20" y="357"/>
                  </a:lnTo>
                  <a:lnTo>
                    <a:pt x="18" y="356"/>
                  </a:lnTo>
                  <a:lnTo>
                    <a:pt x="17" y="350"/>
                  </a:lnTo>
                  <a:lnTo>
                    <a:pt x="15" y="342"/>
                  </a:lnTo>
                  <a:lnTo>
                    <a:pt x="17" y="328"/>
                  </a:lnTo>
                  <a:lnTo>
                    <a:pt x="22" y="319"/>
                  </a:lnTo>
                  <a:lnTo>
                    <a:pt x="27" y="316"/>
                  </a:lnTo>
                  <a:lnTo>
                    <a:pt x="29" y="308"/>
                  </a:lnTo>
                  <a:lnTo>
                    <a:pt x="29" y="303"/>
                  </a:lnTo>
                  <a:lnTo>
                    <a:pt x="27" y="297"/>
                  </a:lnTo>
                  <a:lnTo>
                    <a:pt x="18" y="286"/>
                  </a:lnTo>
                  <a:lnTo>
                    <a:pt x="18" y="283"/>
                  </a:lnTo>
                  <a:lnTo>
                    <a:pt x="22" y="276"/>
                  </a:lnTo>
                  <a:lnTo>
                    <a:pt x="35" y="270"/>
                  </a:lnTo>
                  <a:lnTo>
                    <a:pt x="36" y="268"/>
                  </a:lnTo>
                  <a:lnTo>
                    <a:pt x="36" y="249"/>
                  </a:lnTo>
                  <a:lnTo>
                    <a:pt x="33" y="231"/>
                  </a:lnTo>
                  <a:lnTo>
                    <a:pt x="33" y="220"/>
                  </a:lnTo>
                  <a:lnTo>
                    <a:pt x="35" y="201"/>
                  </a:lnTo>
                  <a:lnTo>
                    <a:pt x="35" y="177"/>
                  </a:lnTo>
                  <a:lnTo>
                    <a:pt x="40" y="166"/>
                  </a:lnTo>
                  <a:lnTo>
                    <a:pt x="47" y="157"/>
                  </a:lnTo>
                  <a:lnTo>
                    <a:pt x="50" y="155"/>
                  </a:lnTo>
                  <a:lnTo>
                    <a:pt x="50" y="152"/>
                  </a:lnTo>
                  <a:lnTo>
                    <a:pt x="35" y="129"/>
                  </a:lnTo>
                  <a:lnTo>
                    <a:pt x="1" y="7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27" name="Uruguay"/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 bwMode="gray">
            <a:xfrm>
              <a:off x="2951016" y="5434892"/>
              <a:ext cx="138095" cy="147458"/>
            </a:xfrm>
            <a:custGeom>
              <a:avLst/>
              <a:gdLst/>
              <a:ahLst/>
              <a:cxnLst>
                <a:cxn ang="0">
                  <a:pos x="2" y="252"/>
                </a:cxn>
                <a:cxn ang="0">
                  <a:pos x="26" y="272"/>
                </a:cxn>
                <a:cxn ang="0">
                  <a:pos x="56" y="283"/>
                </a:cxn>
                <a:cxn ang="0">
                  <a:pos x="91" y="297"/>
                </a:cxn>
                <a:cxn ang="0">
                  <a:pos x="115" y="304"/>
                </a:cxn>
                <a:cxn ang="0">
                  <a:pos x="129" y="310"/>
                </a:cxn>
                <a:cxn ang="0">
                  <a:pos x="162" y="307"/>
                </a:cxn>
                <a:cxn ang="0">
                  <a:pos x="197" y="314"/>
                </a:cxn>
                <a:cxn ang="0">
                  <a:pos x="225" y="303"/>
                </a:cxn>
                <a:cxn ang="0">
                  <a:pos x="246" y="283"/>
                </a:cxn>
                <a:cxn ang="0">
                  <a:pos x="253" y="272"/>
                </a:cxn>
                <a:cxn ang="0">
                  <a:pos x="268" y="253"/>
                </a:cxn>
                <a:cxn ang="0">
                  <a:pos x="276" y="236"/>
                </a:cxn>
                <a:cxn ang="0">
                  <a:pos x="271" y="229"/>
                </a:cxn>
                <a:cxn ang="0">
                  <a:pos x="274" y="199"/>
                </a:cxn>
                <a:cxn ang="0">
                  <a:pos x="281" y="184"/>
                </a:cxn>
                <a:cxn ang="0">
                  <a:pos x="286" y="175"/>
                </a:cxn>
                <a:cxn ang="0">
                  <a:pos x="292" y="172"/>
                </a:cxn>
                <a:cxn ang="0">
                  <a:pos x="267" y="148"/>
                </a:cxn>
                <a:cxn ang="0">
                  <a:pos x="260" y="126"/>
                </a:cxn>
                <a:cxn ang="0">
                  <a:pos x="242" y="113"/>
                </a:cxn>
                <a:cxn ang="0">
                  <a:pos x="228" y="108"/>
                </a:cxn>
                <a:cxn ang="0">
                  <a:pos x="215" y="91"/>
                </a:cxn>
                <a:cxn ang="0">
                  <a:pos x="200" y="86"/>
                </a:cxn>
                <a:cxn ang="0">
                  <a:pos x="185" y="77"/>
                </a:cxn>
                <a:cxn ang="0">
                  <a:pos x="178" y="73"/>
                </a:cxn>
                <a:cxn ang="0">
                  <a:pos x="166" y="55"/>
                </a:cxn>
                <a:cxn ang="0">
                  <a:pos x="160" y="48"/>
                </a:cxn>
                <a:cxn ang="0">
                  <a:pos x="142" y="60"/>
                </a:cxn>
                <a:cxn ang="0">
                  <a:pos x="133" y="50"/>
                </a:cxn>
                <a:cxn ang="0">
                  <a:pos x="119" y="27"/>
                </a:cxn>
                <a:cxn ang="0">
                  <a:pos x="103" y="12"/>
                </a:cxn>
                <a:cxn ang="0">
                  <a:pos x="85" y="0"/>
                </a:cxn>
                <a:cxn ang="0">
                  <a:pos x="75" y="2"/>
                </a:cxn>
                <a:cxn ang="0">
                  <a:pos x="64" y="12"/>
                </a:cxn>
                <a:cxn ang="0">
                  <a:pos x="44" y="16"/>
                </a:cxn>
                <a:cxn ang="0">
                  <a:pos x="33" y="27"/>
                </a:cxn>
                <a:cxn ang="0">
                  <a:pos x="31" y="72"/>
                </a:cxn>
                <a:cxn ang="0">
                  <a:pos x="29" y="97"/>
                </a:cxn>
                <a:cxn ang="0">
                  <a:pos x="20" y="172"/>
                </a:cxn>
                <a:cxn ang="0">
                  <a:pos x="16" y="188"/>
                </a:cxn>
                <a:cxn ang="0">
                  <a:pos x="5" y="210"/>
                </a:cxn>
                <a:cxn ang="0">
                  <a:pos x="0" y="252"/>
                </a:cxn>
              </a:cxnLst>
              <a:rect l="0" t="0" r="r" b="b"/>
              <a:pathLst>
                <a:path w="292" h="314">
                  <a:moveTo>
                    <a:pt x="0" y="252"/>
                  </a:moveTo>
                  <a:lnTo>
                    <a:pt x="2" y="252"/>
                  </a:lnTo>
                  <a:lnTo>
                    <a:pt x="9" y="253"/>
                  </a:lnTo>
                  <a:lnTo>
                    <a:pt x="26" y="272"/>
                  </a:lnTo>
                  <a:lnTo>
                    <a:pt x="29" y="281"/>
                  </a:lnTo>
                  <a:lnTo>
                    <a:pt x="56" y="283"/>
                  </a:lnTo>
                  <a:lnTo>
                    <a:pt x="66" y="283"/>
                  </a:lnTo>
                  <a:lnTo>
                    <a:pt x="91" y="297"/>
                  </a:lnTo>
                  <a:lnTo>
                    <a:pt x="104" y="302"/>
                  </a:lnTo>
                  <a:lnTo>
                    <a:pt x="115" y="304"/>
                  </a:lnTo>
                  <a:lnTo>
                    <a:pt x="123" y="309"/>
                  </a:lnTo>
                  <a:lnTo>
                    <a:pt x="129" y="310"/>
                  </a:lnTo>
                  <a:lnTo>
                    <a:pt x="149" y="307"/>
                  </a:lnTo>
                  <a:lnTo>
                    <a:pt x="162" y="307"/>
                  </a:lnTo>
                  <a:lnTo>
                    <a:pt x="183" y="310"/>
                  </a:lnTo>
                  <a:lnTo>
                    <a:pt x="197" y="314"/>
                  </a:lnTo>
                  <a:lnTo>
                    <a:pt x="212" y="309"/>
                  </a:lnTo>
                  <a:lnTo>
                    <a:pt x="225" y="303"/>
                  </a:lnTo>
                  <a:lnTo>
                    <a:pt x="236" y="295"/>
                  </a:lnTo>
                  <a:lnTo>
                    <a:pt x="246" y="283"/>
                  </a:lnTo>
                  <a:lnTo>
                    <a:pt x="249" y="281"/>
                  </a:lnTo>
                  <a:lnTo>
                    <a:pt x="253" y="272"/>
                  </a:lnTo>
                  <a:lnTo>
                    <a:pt x="260" y="265"/>
                  </a:lnTo>
                  <a:lnTo>
                    <a:pt x="268" y="253"/>
                  </a:lnTo>
                  <a:lnTo>
                    <a:pt x="271" y="240"/>
                  </a:lnTo>
                  <a:lnTo>
                    <a:pt x="276" y="236"/>
                  </a:lnTo>
                  <a:lnTo>
                    <a:pt x="273" y="231"/>
                  </a:lnTo>
                  <a:lnTo>
                    <a:pt x="271" y="229"/>
                  </a:lnTo>
                  <a:lnTo>
                    <a:pt x="274" y="215"/>
                  </a:lnTo>
                  <a:lnTo>
                    <a:pt x="274" y="199"/>
                  </a:lnTo>
                  <a:lnTo>
                    <a:pt x="276" y="191"/>
                  </a:lnTo>
                  <a:lnTo>
                    <a:pt x="281" y="184"/>
                  </a:lnTo>
                  <a:lnTo>
                    <a:pt x="284" y="183"/>
                  </a:lnTo>
                  <a:lnTo>
                    <a:pt x="286" y="175"/>
                  </a:lnTo>
                  <a:lnTo>
                    <a:pt x="291" y="174"/>
                  </a:lnTo>
                  <a:lnTo>
                    <a:pt x="292" y="172"/>
                  </a:lnTo>
                  <a:lnTo>
                    <a:pt x="287" y="163"/>
                  </a:lnTo>
                  <a:lnTo>
                    <a:pt x="267" y="148"/>
                  </a:lnTo>
                  <a:lnTo>
                    <a:pt x="264" y="145"/>
                  </a:lnTo>
                  <a:lnTo>
                    <a:pt x="260" y="126"/>
                  </a:lnTo>
                  <a:lnTo>
                    <a:pt x="257" y="120"/>
                  </a:lnTo>
                  <a:lnTo>
                    <a:pt x="242" y="113"/>
                  </a:lnTo>
                  <a:lnTo>
                    <a:pt x="237" y="112"/>
                  </a:lnTo>
                  <a:lnTo>
                    <a:pt x="228" y="108"/>
                  </a:lnTo>
                  <a:lnTo>
                    <a:pt x="222" y="102"/>
                  </a:lnTo>
                  <a:lnTo>
                    <a:pt x="215" y="91"/>
                  </a:lnTo>
                  <a:lnTo>
                    <a:pt x="212" y="87"/>
                  </a:lnTo>
                  <a:lnTo>
                    <a:pt x="200" y="86"/>
                  </a:lnTo>
                  <a:lnTo>
                    <a:pt x="193" y="77"/>
                  </a:lnTo>
                  <a:lnTo>
                    <a:pt x="185" y="77"/>
                  </a:lnTo>
                  <a:lnTo>
                    <a:pt x="181" y="76"/>
                  </a:lnTo>
                  <a:lnTo>
                    <a:pt x="178" y="73"/>
                  </a:lnTo>
                  <a:lnTo>
                    <a:pt x="171" y="65"/>
                  </a:lnTo>
                  <a:lnTo>
                    <a:pt x="166" y="55"/>
                  </a:lnTo>
                  <a:lnTo>
                    <a:pt x="165" y="51"/>
                  </a:lnTo>
                  <a:lnTo>
                    <a:pt x="160" y="48"/>
                  </a:lnTo>
                  <a:lnTo>
                    <a:pt x="146" y="59"/>
                  </a:lnTo>
                  <a:lnTo>
                    <a:pt x="142" y="60"/>
                  </a:lnTo>
                  <a:lnTo>
                    <a:pt x="134" y="59"/>
                  </a:lnTo>
                  <a:lnTo>
                    <a:pt x="133" y="50"/>
                  </a:lnTo>
                  <a:lnTo>
                    <a:pt x="128" y="35"/>
                  </a:lnTo>
                  <a:lnTo>
                    <a:pt x="119" y="27"/>
                  </a:lnTo>
                  <a:lnTo>
                    <a:pt x="108" y="17"/>
                  </a:lnTo>
                  <a:lnTo>
                    <a:pt x="103" y="12"/>
                  </a:lnTo>
                  <a:lnTo>
                    <a:pt x="91" y="2"/>
                  </a:lnTo>
                  <a:lnTo>
                    <a:pt x="85" y="0"/>
                  </a:lnTo>
                  <a:lnTo>
                    <a:pt x="80" y="0"/>
                  </a:lnTo>
                  <a:lnTo>
                    <a:pt x="75" y="2"/>
                  </a:lnTo>
                  <a:lnTo>
                    <a:pt x="71" y="8"/>
                  </a:lnTo>
                  <a:lnTo>
                    <a:pt x="64" y="12"/>
                  </a:lnTo>
                  <a:lnTo>
                    <a:pt x="45" y="10"/>
                  </a:lnTo>
                  <a:lnTo>
                    <a:pt x="44" y="16"/>
                  </a:lnTo>
                  <a:lnTo>
                    <a:pt x="34" y="24"/>
                  </a:lnTo>
                  <a:lnTo>
                    <a:pt x="33" y="27"/>
                  </a:lnTo>
                  <a:lnTo>
                    <a:pt x="34" y="50"/>
                  </a:lnTo>
                  <a:lnTo>
                    <a:pt x="31" y="72"/>
                  </a:lnTo>
                  <a:lnTo>
                    <a:pt x="31" y="87"/>
                  </a:lnTo>
                  <a:lnTo>
                    <a:pt x="29" y="97"/>
                  </a:lnTo>
                  <a:lnTo>
                    <a:pt x="20" y="121"/>
                  </a:lnTo>
                  <a:lnTo>
                    <a:pt x="20" y="172"/>
                  </a:lnTo>
                  <a:lnTo>
                    <a:pt x="18" y="182"/>
                  </a:lnTo>
                  <a:lnTo>
                    <a:pt x="16" y="188"/>
                  </a:lnTo>
                  <a:lnTo>
                    <a:pt x="9" y="201"/>
                  </a:lnTo>
                  <a:lnTo>
                    <a:pt x="5" y="210"/>
                  </a:lnTo>
                  <a:lnTo>
                    <a:pt x="1" y="236"/>
                  </a:lnTo>
                  <a:lnTo>
                    <a:pt x="0" y="25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28" name="Guyana"/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 bwMode="gray">
            <a:xfrm>
              <a:off x="2880798" y="4416731"/>
              <a:ext cx="124052" cy="180226"/>
            </a:xfrm>
            <a:custGeom>
              <a:avLst/>
              <a:gdLst/>
              <a:ahLst/>
              <a:cxnLst>
                <a:cxn ang="0">
                  <a:pos x="89" y="0"/>
                </a:cxn>
                <a:cxn ang="0">
                  <a:pos x="141" y="41"/>
                </a:cxn>
                <a:cxn ang="0">
                  <a:pos x="152" y="83"/>
                </a:cxn>
                <a:cxn ang="0">
                  <a:pos x="172" y="84"/>
                </a:cxn>
                <a:cxn ang="0">
                  <a:pos x="195" y="94"/>
                </a:cxn>
                <a:cxn ang="0">
                  <a:pos x="211" y="112"/>
                </a:cxn>
                <a:cxn ang="0">
                  <a:pos x="232" y="139"/>
                </a:cxn>
                <a:cxn ang="0">
                  <a:pos x="217" y="159"/>
                </a:cxn>
                <a:cxn ang="0">
                  <a:pos x="220" y="165"/>
                </a:cxn>
                <a:cxn ang="0">
                  <a:pos x="212" y="182"/>
                </a:cxn>
                <a:cxn ang="0">
                  <a:pos x="189" y="186"/>
                </a:cxn>
                <a:cxn ang="0">
                  <a:pos x="183" y="193"/>
                </a:cxn>
                <a:cxn ang="0">
                  <a:pos x="174" y="228"/>
                </a:cxn>
                <a:cxn ang="0">
                  <a:pos x="189" y="255"/>
                </a:cxn>
                <a:cxn ang="0">
                  <a:pos x="200" y="268"/>
                </a:cxn>
                <a:cxn ang="0">
                  <a:pos x="217" y="273"/>
                </a:cxn>
                <a:cxn ang="0">
                  <a:pos x="226" y="289"/>
                </a:cxn>
                <a:cxn ang="0">
                  <a:pos x="233" y="311"/>
                </a:cxn>
                <a:cxn ang="0">
                  <a:pos x="263" y="347"/>
                </a:cxn>
                <a:cxn ang="0">
                  <a:pos x="254" y="350"/>
                </a:cxn>
                <a:cxn ang="0">
                  <a:pos x="233" y="348"/>
                </a:cxn>
                <a:cxn ang="0">
                  <a:pos x="213" y="353"/>
                </a:cxn>
                <a:cxn ang="0">
                  <a:pos x="183" y="366"/>
                </a:cxn>
                <a:cxn ang="0">
                  <a:pos x="158" y="374"/>
                </a:cxn>
                <a:cxn ang="0">
                  <a:pos x="134" y="386"/>
                </a:cxn>
                <a:cxn ang="0">
                  <a:pos x="102" y="369"/>
                </a:cxn>
                <a:cxn ang="0">
                  <a:pos x="91" y="357"/>
                </a:cxn>
                <a:cxn ang="0">
                  <a:pos x="89" y="332"/>
                </a:cxn>
                <a:cxn ang="0">
                  <a:pos x="77" y="288"/>
                </a:cxn>
                <a:cxn ang="0">
                  <a:pos x="86" y="257"/>
                </a:cxn>
                <a:cxn ang="0">
                  <a:pos x="95" y="234"/>
                </a:cxn>
                <a:cxn ang="0">
                  <a:pos x="79" y="209"/>
                </a:cxn>
                <a:cxn ang="0">
                  <a:pos x="72" y="193"/>
                </a:cxn>
                <a:cxn ang="0">
                  <a:pos x="67" y="171"/>
                </a:cxn>
                <a:cxn ang="0">
                  <a:pos x="37" y="174"/>
                </a:cxn>
                <a:cxn ang="0">
                  <a:pos x="27" y="163"/>
                </a:cxn>
                <a:cxn ang="0">
                  <a:pos x="0" y="128"/>
                </a:cxn>
                <a:cxn ang="0">
                  <a:pos x="1" y="121"/>
                </a:cxn>
                <a:cxn ang="0">
                  <a:pos x="11" y="91"/>
                </a:cxn>
                <a:cxn ang="0">
                  <a:pos x="40" y="75"/>
                </a:cxn>
                <a:cxn ang="0">
                  <a:pos x="38" y="64"/>
                </a:cxn>
                <a:cxn ang="0">
                  <a:pos x="24" y="52"/>
                </a:cxn>
                <a:cxn ang="0">
                  <a:pos x="29" y="35"/>
                </a:cxn>
                <a:cxn ang="0">
                  <a:pos x="46" y="26"/>
                </a:cxn>
                <a:cxn ang="0">
                  <a:pos x="72" y="13"/>
                </a:cxn>
                <a:cxn ang="0">
                  <a:pos x="81" y="2"/>
                </a:cxn>
              </a:cxnLst>
              <a:rect l="0" t="0" r="r" b="b"/>
              <a:pathLst>
                <a:path w="265" h="386">
                  <a:moveTo>
                    <a:pt x="81" y="2"/>
                  </a:moveTo>
                  <a:lnTo>
                    <a:pt x="87" y="3"/>
                  </a:lnTo>
                  <a:lnTo>
                    <a:pt x="89" y="0"/>
                  </a:lnTo>
                  <a:lnTo>
                    <a:pt x="94" y="0"/>
                  </a:lnTo>
                  <a:lnTo>
                    <a:pt x="108" y="10"/>
                  </a:lnTo>
                  <a:lnTo>
                    <a:pt x="141" y="41"/>
                  </a:lnTo>
                  <a:lnTo>
                    <a:pt x="150" y="53"/>
                  </a:lnTo>
                  <a:lnTo>
                    <a:pt x="151" y="59"/>
                  </a:lnTo>
                  <a:lnTo>
                    <a:pt x="152" y="83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72" y="84"/>
                  </a:lnTo>
                  <a:lnTo>
                    <a:pt x="179" y="85"/>
                  </a:lnTo>
                  <a:lnTo>
                    <a:pt x="183" y="88"/>
                  </a:lnTo>
                  <a:lnTo>
                    <a:pt x="195" y="94"/>
                  </a:lnTo>
                  <a:lnTo>
                    <a:pt x="197" y="96"/>
                  </a:lnTo>
                  <a:lnTo>
                    <a:pt x="202" y="104"/>
                  </a:lnTo>
                  <a:lnTo>
                    <a:pt x="211" y="112"/>
                  </a:lnTo>
                  <a:lnTo>
                    <a:pt x="222" y="120"/>
                  </a:lnTo>
                  <a:lnTo>
                    <a:pt x="228" y="136"/>
                  </a:lnTo>
                  <a:lnTo>
                    <a:pt x="232" y="139"/>
                  </a:lnTo>
                  <a:lnTo>
                    <a:pt x="231" y="142"/>
                  </a:lnTo>
                  <a:lnTo>
                    <a:pt x="224" y="148"/>
                  </a:lnTo>
                  <a:lnTo>
                    <a:pt x="217" y="159"/>
                  </a:lnTo>
                  <a:lnTo>
                    <a:pt x="216" y="163"/>
                  </a:lnTo>
                  <a:lnTo>
                    <a:pt x="218" y="165"/>
                  </a:lnTo>
                  <a:lnTo>
                    <a:pt x="220" y="165"/>
                  </a:lnTo>
                  <a:lnTo>
                    <a:pt x="220" y="172"/>
                  </a:lnTo>
                  <a:lnTo>
                    <a:pt x="213" y="179"/>
                  </a:lnTo>
                  <a:lnTo>
                    <a:pt x="212" y="182"/>
                  </a:lnTo>
                  <a:lnTo>
                    <a:pt x="205" y="183"/>
                  </a:lnTo>
                  <a:lnTo>
                    <a:pt x="196" y="183"/>
                  </a:lnTo>
                  <a:lnTo>
                    <a:pt x="189" y="186"/>
                  </a:lnTo>
                  <a:lnTo>
                    <a:pt x="185" y="188"/>
                  </a:lnTo>
                  <a:lnTo>
                    <a:pt x="184" y="191"/>
                  </a:lnTo>
                  <a:lnTo>
                    <a:pt x="183" y="193"/>
                  </a:lnTo>
                  <a:lnTo>
                    <a:pt x="181" y="208"/>
                  </a:lnTo>
                  <a:lnTo>
                    <a:pt x="178" y="217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80" y="240"/>
                  </a:lnTo>
                  <a:lnTo>
                    <a:pt x="189" y="255"/>
                  </a:lnTo>
                  <a:lnTo>
                    <a:pt x="191" y="256"/>
                  </a:lnTo>
                  <a:lnTo>
                    <a:pt x="200" y="263"/>
                  </a:lnTo>
                  <a:lnTo>
                    <a:pt x="200" y="268"/>
                  </a:lnTo>
                  <a:lnTo>
                    <a:pt x="204" y="272"/>
                  </a:lnTo>
                  <a:lnTo>
                    <a:pt x="205" y="273"/>
                  </a:lnTo>
                  <a:lnTo>
                    <a:pt x="217" y="273"/>
                  </a:lnTo>
                  <a:lnTo>
                    <a:pt x="220" y="276"/>
                  </a:lnTo>
                  <a:lnTo>
                    <a:pt x="221" y="284"/>
                  </a:lnTo>
                  <a:lnTo>
                    <a:pt x="226" y="289"/>
                  </a:lnTo>
                  <a:lnTo>
                    <a:pt x="226" y="299"/>
                  </a:lnTo>
                  <a:lnTo>
                    <a:pt x="232" y="305"/>
                  </a:lnTo>
                  <a:lnTo>
                    <a:pt x="233" y="311"/>
                  </a:lnTo>
                  <a:lnTo>
                    <a:pt x="239" y="321"/>
                  </a:lnTo>
                  <a:lnTo>
                    <a:pt x="253" y="338"/>
                  </a:lnTo>
                  <a:lnTo>
                    <a:pt x="263" y="347"/>
                  </a:lnTo>
                  <a:lnTo>
                    <a:pt x="265" y="347"/>
                  </a:lnTo>
                  <a:lnTo>
                    <a:pt x="265" y="349"/>
                  </a:lnTo>
                  <a:lnTo>
                    <a:pt x="254" y="350"/>
                  </a:lnTo>
                  <a:lnTo>
                    <a:pt x="240" y="352"/>
                  </a:lnTo>
                  <a:lnTo>
                    <a:pt x="234" y="349"/>
                  </a:lnTo>
                  <a:lnTo>
                    <a:pt x="233" y="348"/>
                  </a:lnTo>
                  <a:lnTo>
                    <a:pt x="229" y="347"/>
                  </a:lnTo>
                  <a:lnTo>
                    <a:pt x="224" y="347"/>
                  </a:lnTo>
                  <a:lnTo>
                    <a:pt x="213" y="353"/>
                  </a:lnTo>
                  <a:lnTo>
                    <a:pt x="205" y="363"/>
                  </a:lnTo>
                  <a:lnTo>
                    <a:pt x="191" y="363"/>
                  </a:lnTo>
                  <a:lnTo>
                    <a:pt x="183" y="366"/>
                  </a:lnTo>
                  <a:lnTo>
                    <a:pt x="178" y="371"/>
                  </a:lnTo>
                  <a:lnTo>
                    <a:pt x="167" y="371"/>
                  </a:lnTo>
                  <a:lnTo>
                    <a:pt x="158" y="374"/>
                  </a:lnTo>
                  <a:lnTo>
                    <a:pt x="152" y="384"/>
                  </a:lnTo>
                  <a:lnTo>
                    <a:pt x="147" y="386"/>
                  </a:lnTo>
                  <a:lnTo>
                    <a:pt x="134" y="386"/>
                  </a:lnTo>
                  <a:lnTo>
                    <a:pt x="124" y="384"/>
                  </a:lnTo>
                  <a:lnTo>
                    <a:pt x="108" y="374"/>
                  </a:lnTo>
                  <a:lnTo>
                    <a:pt x="102" y="369"/>
                  </a:lnTo>
                  <a:lnTo>
                    <a:pt x="98" y="363"/>
                  </a:lnTo>
                  <a:lnTo>
                    <a:pt x="95" y="362"/>
                  </a:lnTo>
                  <a:lnTo>
                    <a:pt x="91" y="357"/>
                  </a:lnTo>
                  <a:lnTo>
                    <a:pt x="89" y="354"/>
                  </a:lnTo>
                  <a:lnTo>
                    <a:pt x="91" y="341"/>
                  </a:lnTo>
                  <a:lnTo>
                    <a:pt x="89" y="332"/>
                  </a:lnTo>
                  <a:lnTo>
                    <a:pt x="78" y="322"/>
                  </a:lnTo>
                  <a:lnTo>
                    <a:pt x="77" y="319"/>
                  </a:lnTo>
                  <a:lnTo>
                    <a:pt x="77" y="288"/>
                  </a:lnTo>
                  <a:lnTo>
                    <a:pt x="83" y="274"/>
                  </a:lnTo>
                  <a:lnTo>
                    <a:pt x="86" y="267"/>
                  </a:lnTo>
                  <a:lnTo>
                    <a:pt x="86" y="257"/>
                  </a:lnTo>
                  <a:lnTo>
                    <a:pt x="95" y="244"/>
                  </a:lnTo>
                  <a:lnTo>
                    <a:pt x="97" y="241"/>
                  </a:lnTo>
                  <a:lnTo>
                    <a:pt x="95" y="234"/>
                  </a:lnTo>
                  <a:lnTo>
                    <a:pt x="91" y="228"/>
                  </a:lnTo>
                  <a:lnTo>
                    <a:pt x="91" y="213"/>
                  </a:lnTo>
                  <a:lnTo>
                    <a:pt x="79" y="209"/>
                  </a:lnTo>
                  <a:lnTo>
                    <a:pt x="77" y="208"/>
                  </a:lnTo>
                  <a:lnTo>
                    <a:pt x="68" y="207"/>
                  </a:lnTo>
                  <a:lnTo>
                    <a:pt x="72" y="193"/>
                  </a:lnTo>
                  <a:lnTo>
                    <a:pt x="72" y="186"/>
                  </a:lnTo>
                  <a:lnTo>
                    <a:pt x="72" y="180"/>
                  </a:lnTo>
                  <a:lnTo>
                    <a:pt x="67" y="171"/>
                  </a:lnTo>
                  <a:lnTo>
                    <a:pt x="59" y="171"/>
                  </a:lnTo>
                  <a:lnTo>
                    <a:pt x="46" y="175"/>
                  </a:lnTo>
                  <a:lnTo>
                    <a:pt x="37" y="174"/>
                  </a:lnTo>
                  <a:lnTo>
                    <a:pt x="37" y="171"/>
                  </a:lnTo>
                  <a:lnTo>
                    <a:pt x="33" y="169"/>
                  </a:lnTo>
                  <a:lnTo>
                    <a:pt x="27" y="163"/>
                  </a:lnTo>
                  <a:lnTo>
                    <a:pt x="23" y="155"/>
                  </a:lnTo>
                  <a:lnTo>
                    <a:pt x="12" y="144"/>
                  </a:lnTo>
                  <a:lnTo>
                    <a:pt x="0" y="128"/>
                  </a:lnTo>
                  <a:lnTo>
                    <a:pt x="0" y="126"/>
                  </a:lnTo>
                  <a:lnTo>
                    <a:pt x="0" y="122"/>
                  </a:lnTo>
                  <a:lnTo>
                    <a:pt x="1" y="121"/>
                  </a:lnTo>
                  <a:lnTo>
                    <a:pt x="7" y="112"/>
                  </a:lnTo>
                  <a:lnTo>
                    <a:pt x="11" y="106"/>
                  </a:lnTo>
                  <a:lnTo>
                    <a:pt x="11" y="91"/>
                  </a:lnTo>
                  <a:lnTo>
                    <a:pt x="12" y="89"/>
                  </a:lnTo>
                  <a:lnTo>
                    <a:pt x="29" y="83"/>
                  </a:lnTo>
                  <a:lnTo>
                    <a:pt x="40" y="75"/>
                  </a:lnTo>
                  <a:lnTo>
                    <a:pt x="45" y="69"/>
                  </a:lnTo>
                  <a:lnTo>
                    <a:pt x="40" y="64"/>
                  </a:lnTo>
                  <a:lnTo>
                    <a:pt x="38" y="64"/>
                  </a:lnTo>
                  <a:lnTo>
                    <a:pt x="32" y="66"/>
                  </a:lnTo>
                  <a:lnTo>
                    <a:pt x="27" y="64"/>
                  </a:lnTo>
                  <a:lnTo>
                    <a:pt x="24" y="52"/>
                  </a:lnTo>
                  <a:lnTo>
                    <a:pt x="24" y="43"/>
                  </a:lnTo>
                  <a:lnTo>
                    <a:pt x="27" y="37"/>
                  </a:lnTo>
                  <a:lnTo>
                    <a:pt x="29" y="35"/>
                  </a:lnTo>
                  <a:lnTo>
                    <a:pt x="40" y="32"/>
                  </a:lnTo>
                  <a:lnTo>
                    <a:pt x="43" y="30"/>
                  </a:lnTo>
                  <a:lnTo>
                    <a:pt x="46" y="26"/>
                  </a:lnTo>
                  <a:lnTo>
                    <a:pt x="62" y="19"/>
                  </a:lnTo>
                  <a:lnTo>
                    <a:pt x="66" y="16"/>
                  </a:lnTo>
                  <a:lnTo>
                    <a:pt x="72" y="13"/>
                  </a:lnTo>
                  <a:lnTo>
                    <a:pt x="77" y="13"/>
                  </a:lnTo>
                  <a:lnTo>
                    <a:pt x="81" y="10"/>
                  </a:lnTo>
                  <a:lnTo>
                    <a:pt x="81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29" name="French Guiana"/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 bwMode="gray">
            <a:xfrm>
              <a:off x="3056343" y="4484608"/>
              <a:ext cx="74899" cy="93624"/>
            </a:xfrm>
            <a:custGeom>
              <a:avLst/>
              <a:gdLst/>
              <a:ahLst/>
              <a:cxnLst>
                <a:cxn ang="0">
                  <a:pos x="0" y="182"/>
                </a:cxn>
                <a:cxn ang="0">
                  <a:pos x="13" y="169"/>
                </a:cxn>
                <a:cxn ang="0">
                  <a:pos x="15" y="166"/>
                </a:cxn>
                <a:cxn ang="0">
                  <a:pos x="17" y="147"/>
                </a:cxn>
                <a:cxn ang="0">
                  <a:pos x="22" y="125"/>
                </a:cxn>
                <a:cxn ang="0">
                  <a:pos x="23" y="110"/>
                </a:cxn>
                <a:cxn ang="0">
                  <a:pos x="18" y="102"/>
                </a:cxn>
                <a:cxn ang="0">
                  <a:pos x="17" y="101"/>
                </a:cxn>
                <a:cxn ang="0">
                  <a:pos x="17" y="99"/>
                </a:cxn>
                <a:cxn ang="0">
                  <a:pos x="8" y="86"/>
                </a:cxn>
                <a:cxn ang="0">
                  <a:pos x="5" y="75"/>
                </a:cxn>
                <a:cxn ang="0">
                  <a:pos x="3" y="56"/>
                </a:cxn>
                <a:cxn ang="0">
                  <a:pos x="3" y="34"/>
                </a:cxn>
                <a:cxn ang="0">
                  <a:pos x="7" y="24"/>
                </a:cxn>
                <a:cxn ang="0">
                  <a:pos x="15" y="18"/>
                </a:cxn>
                <a:cxn ang="0">
                  <a:pos x="19" y="12"/>
                </a:cxn>
                <a:cxn ang="0">
                  <a:pos x="19" y="10"/>
                </a:cxn>
                <a:cxn ang="0">
                  <a:pos x="22" y="7"/>
                </a:cxn>
                <a:cxn ang="0">
                  <a:pos x="28" y="5"/>
                </a:cxn>
                <a:cxn ang="0">
                  <a:pos x="32" y="1"/>
                </a:cxn>
                <a:cxn ang="0">
                  <a:pos x="35" y="0"/>
                </a:cxn>
                <a:cxn ang="0">
                  <a:pos x="49" y="8"/>
                </a:cxn>
                <a:cxn ang="0">
                  <a:pos x="61" y="13"/>
                </a:cxn>
                <a:cxn ang="0">
                  <a:pos x="73" y="19"/>
                </a:cxn>
                <a:cxn ang="0">
                  <a:pos x="85" y="21"/>
                </a:cxn>
                <a:cxn ang="0">
                  <a:pos x="98" y="28"/>
                </a:cxn>
                <a:cxn ang="0">
                  <a:pos x="113" y="39"/>
                </a:cxn>
                <a:cxn ang="0">
                  <a:pos x="116" y="40"/>
                </a:cxn>
                <a:cxn ang="0">
                  <a:pos x="130" y="53"/>
                </a:cxn>
                <a:cxn ang="0">
                  <a:pos x="135" y="59"/>
                </a:cxn>
                <a:cxn ang="0">
                  <a:pos x="146" y="65"/>
                </a:cxn>
                <a:cxn ang="0">
                  <a:pos x="156" y="75"/>
                </a:cxn>
                <a:cxn ang="0">
                  <a:pos x="156" y="86"/>
                </a:cxn>
                <a:cxn ang="0">
                  <a:pos x="157" y="86"/>
                </a:cxn>
                <a:cxn ang="0">
                  <a:pos x="144" y="99"/>
                </a:cxn>
                <a:cxn ang="0">
                  <a:pos x="141" y="107"/>
                </a:cxn>
                <a:cxn ang="0">
                  <a:pos x="128" y="125"/>
                </a:cxn>
                <a:cxn ang="0">
                  <a:pos x="118" y="137"/>
                </a:cxn>
                <a:cxn ang="0">
                  <a:pos x="114" y="144"/>
                </a:cxn>
                <a:cxn ang="0">
                  <a:pos x="105" y="166"/>
                </a:cxn>
                <a:cxn ang="0">
                  <a:pos x="78" y="190"/>
                </a:cxn>
                <a:cxn ang="0">
                  <a:pos x="76" y="193"/>
                </a:cxn>
                <a:cxn ang="0">
                  <a:pos x="71" y="195"/>
                </a:cxn>
                <a:cxn ang="0">
                  <a:pos x="61" y="195"/>
                </a:cxn>
                <a:cxn ang="0">
                  <a:pos x="54" y="191"/>
                </a:cxn>
                <a:cxn ang="0">
                  <a:pos x="48" y="191"/>
                </a:cxn>
                <a:cxn ang="0">
                  <a:pos x="44" y="193"/>
                </a:cxn>
                <a:cxn ang="0">
                  <a:pos x="28" y="200"/>
                </a:cxn>
                <a:cxn ang="0">
                  <a:pos x="22" y="200"/>
                </a:cxn>
                <a:cxn ang="0">
                  <a:pos x="19" y="199"/>
                </a:cxn>
                <a:cxn ang="0">
                  <a:pos x="10" y="193"/>
                </a:cxn>
                <a:cxn ang="0">
                  <a:pos x="0" y="182"/>
                </a:cxn>
              </a:cxnLst>
              <a:rect l="0" t="0" r="r" b="b"/>
              <a:pathLst>
                <a:path w="157" h="200">
                  <a:moveTo>
                    <a:pt x="0" y="182"/>
                  </a:moveTo>
                  <a:lnTo>
                    <a:pt x="13" y="169"/>
                  </a:lnTo>
                  <a:lnTo>
                    <a:pt x="15" y="166"/>
                  </a:lnTo>
                  <a:lnTo>
                    <a:pt x="17" y="147"/>
                  </a:lnTo>
                  <a:lnTo>
                    <a:pt x="22" y="125"/>
                  </a:lnTo>
                  <a:lnTo>
                    <a:pt x="23" y="110"/>
                  </a:lnTo>
                  <a:lnTo>
                    <a:pt x="18" y="102"/>
                  </a:lnTo>
                  <a:lnTo>
                    <a:pt x="17" y="101"/>
                  </a:lnTo>
                  <a:lnTo>
                    <a:pt x="17" y="99"/>
                  </a:lnTo>
                  <a:lnTo>
                    <a:pt x="8" y="86"/>
                  </a:lnTo>
                  <a:lnTo>
                    <a:pt x="5" y="75"/>
                  </a:lnTo>
                  <a:lnTo>
                    <a:pt x="3" y="56"/>
                  </a:lnTo>
                  <a:lnTo>
                    <a:pt x="3" y="34"/>
                  </a:lnTo>
                  <a:lnTo>
                    <a:pt x="7" y="24"/>
                  </a:lnTo>
                  <a:lnTo>
                    <a:pt x="15" y="18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22" y="7"/>
                  </a:lnTo>
                  <a:lnTo>
                    <a:pt x="28" y="5"/>
                  </a:lnTo>
                  <a:lnTo>
                    <a:pt x="32" y="1"/>
                  </a:lnTo>
                  <a:lnTo>
                    <a:pt x="35" y="0"/>
                  </a:lnTo>
                  <a:lnTo>
                    <a:pt x="49" y="8"/>
                  </a:lnTo>
                  <a:lnTo>
                    <a:pt x="61" y="13"/>
                  </a:lnTo>
                  <a:lnTo>
                    <a:pt x="73" y="19"/>
                  </a:lnTo>
                  <a:lnTo>
                    <a:pt x="85" y="21"/>
                  </a:lnTo>
                  <a:lnTo>
                    <a:pt x="98" y="28"/>
                  </a:lnTo>
                  <a:lnTo>
                    <a:pt x="113" y="39"/>
                  </a:lnTo>
                  <a:lnTo>
                    <a:pt x="116" y="40"/>
                  </a:lnTo>
                  <a:lnTo>
                    <a:pt x="130" y="53"/>
                  </a:lnTo>
                  <a:lnTo>
                    <a:pt x="135" y="59"/>
                  </a:lnTo>
                  <a:lnTo>
                    <a:pt x="146" y="65"/>
                  </a:lnTo>
                  <a:lnTo>
                    <a:pt x="156" y="75"/>
                  </a:lnTo>
                  <a:lnTo>
                    <a:pt x="156" y="86"/>
                  </a:lnTo>
                  <a:lnTo>
                    <a:pt x="157" y="86"/>
                  </a:lnTo>
                  <a:lnTo>
                    <a:pt x="144" y="99"/>
                  </a:lnTo>
                  <a:lnTo>
                    <a:pt x="141" y="107"/>
                  </a:lnTo>
                  <a:lnTo>
                    <a:pt x="128" y="125"/>
                  </a:lnTo>
                  <a:lnTo>
                    <a:pt x="118" y="137"/>
                  </a:lnTo>
                  <a:lnTo>
                    <a:pt x="114" y="144"/>
                  </a:lnTo>
                  <a:lnTo>
                    <a:pt x="105" y="166"/>
                  </a:lnTo>
                  <a:lnTo>
                    <a:pt x="78" y="190"/>
                  </a:lnTo>
                  <a:lnTo>
                    <a:pt x="76" y="193"/>
                  </a:lnTo>
                  <a:lnTo>
                    <a:pt x="71" y="195"/>
                  </a:lnTo>
                  <a:lnTo>
                    <a:pt x="61" y="195"/>
                  </a:lnTo>
                  <a:lnTo>
                    <a:pt x="54" y="191"/>
                  </a:lnTo>
                  <a:lnTo>
                    <a:pt x="48" y="191"/>
                  </a:lnTo>
                  <a:lnTo>
                    <a:pt x="44" y="193"/>
                  </a:lnTo>
                  <a:lnTo>
                    <a:pt x="28" y="200"/>
                  </a:lnTo>
                  <a:lnTo>
                    <a:pt x="22" y="200"/>
                  </a:lnTo>
                  <a:lnTo>
                    <a:pt x="19" y="199"/>
                  </a:lnTo>
                  <a:lnTo>
                    <a:pt x="10" y="193"/>
                  </a:lnTo>
                  <a:lnTo>
                    <a:pt x="0" y="18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30" name="Peru"/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 bwMode="gray">
            <a:xfrm>
              <a:off x="2365866" y="4632066"/>
              <a:ext cx="320662" cy="470461"/>
            </a:xfrm>
            <a:custGeom>
              <a:avLst/>
              <a:gdLst/>
              <a:ahLst/>
              <a:cxnLst>
                <a:cxn ang="0">
                  <a:pos x="319" y="13"/>
                </a:cxn>
                <a:cxn ang="0">
                  <a:pos x="335" y="50"/>
                </a:cxn>
                <a:cxn ang="0">
                  <a:pos x="284" y="110"/>
                </a:cxn>
                <a:cxn ang="0">
                  <a:pos x="204" y="156"/>
                </a:cxn>
                <a:cxn ang="0">
                  <a:pos x="170" y="190"/>
                </a:cxn>
                <a:cxn ang="0">
                  <a:pos x="159" y="190"/>
                </a:cxn>
                <a:cxn ang="0">
                  <a:pos x="138" y="253"/>
                </a:cxn>
                <a:cxn ang="0">
                  <a:pos x="97" y="260"/>
                </a:cxn>
                <a:cxn ang="0">
                  <a:pos x="72" y="242"/>
                </a:cxn>
                <a:cxn ang="0">
                  <a:pos x="43" y="242"/>
                </a:cxn>
                <a:cxn ang="0">
                  <a:pos x="52" y="214"/>
                </a:cxn>
                <a:cxn ang="0">
                  <a:pos x="51" y="188"/>
                </a:cxn>
                <a:cxn ang="0">
                  <a:pos x="3" y="231"/>
                </a:cxn>
                <a:cxn ang="0">
                  <a:pos x="9" y="271"/>
                </a:cxn>
                <a:cxn ang="0">
                  <a:pos x="21" y="308"/>
                </a:cxn>
                <a:cxn ang="0">
                  <a:pos x="51" y="350"/>
                </a:cxn>
                <a:cxn ang="0">
                  <a:pos x="89" y="387"/>
                </a:cxn>
                <a:cxn ang="0">
                  <a:pos x="140" y="478"/>
                </a:cxn>
                <a:cxn ang="0">
                  <a:pos x="188" y="578"/>
                </a:cxn>
                <a:cxn ang="0">
                  <a:pos x="212" y="632"/>
                </a:cxn>
                <a:cxn ang="0">
                  <a:pos x="256" y="711"/>
                </a:cxn>
                <a:cxn ang="0">
                  <a:pos x="267" y="764"/>
                </a:cxn>
                <a:cxn ang="0">
                  <a:pos x="298" y="807"/>
                </a:cxn>
                <a:cxn ang="0">
                  <a:pos x="391" y="874"/>
                </a:cxn>
                <a:cxn ang="0">
                  <a:pos x="481" y="922"/>
                </a:cxn>
                <a:cxn ang="0">
                  <a:pos x="532" y="957"/>
                </a:cxn>
                <a:cxn ang="0">
                  <a:pos x="584" y="1001"/>
                </a:cxn>
                <a:cxn ang="0">
                  <a:pos x="620" y="995"/>
                </a:cxn>
                <a:cxn ang="0">
                  <a:pos x="638" y="968"/>
                </a:cxn>
                <a:cxn ang="0">
                  <a:pos x="649" y="935"/>
                </a:cxn>
                <a:cxn ang="0">
                  <a:pos x="665" y="888"/>
                </a:cxn>
                <a:cxn ang="0">
                  <a:pos x="651" y="865"/>
                </a:cxn>
                <a:cxn ang="0">
                  <a:pos x="665" y="826"/>
                </a:cxn>
                <a:cxn ang="0">
                  <a:pos x="671" y="793"/>
                </a:cxn>
                <a:cxn ang="0">
                  <a:pos x="671" y="724"/>
                </a:cxn>
                <a:cxn ang="0">
                  <a:pos x="686" y="675"/>
                </a:cxn>
                <a:cxn ang="0">
                  <a:pos x="612" y="598"/>
                </a:cxn>
                <a:cxn ang="0">
                  <a:pos x="591" y="564"/>
                </a:cxn>
                <a:cxn ang="0">
                  <a:pos x="578" y="514"/>
                </a:cxn>
                <a:cxn ang="0">
                  <a:pos x="502" y="537"/>
                </a:cxn>
                <a:cxn ang="0">
                  <a:pos x="468" y="512"/>
                </a:cxn>
                <a:cxn ang="0">
                  <a:pos x="450" y="480"/>
                </a:cxn>
                <a:cxn ang="0">
                  <a:pos x="422" y="432"/>
                </a:cxn>
                <a:cxn ang="0">
                  <a:pos x="428" y="362"/>
                </a:cxn>
                <a:cxn ang="0">
                  <a:pos x="452" y="318"/>
                </a:cxn>
                <a:cxn ang="0">
                  <a:pos x="510" y="254"/>
                </a:cxn>
                <a:cxn ang="0">
                  <a:pos x="620" y="225"/>
                </a:cxn>
                <a:cxn ang="0">
                  <a:pos x="596" y="205"/>
                </a:cxn>
                <a:cxn ang="0">
                  <a:pos x="593" y="182"/>
                </a:cxn>
                <a:cxn ang="0">
                  <a:pos x="605" y="137"/>
                </a:cxn>
                <a:cxn ang="0">
                  <a:pos x="553" y="126"/>
                </a:cxn>
                <a:cxn ang="0">
                  <a:pos x="516" y="120"/>
                </a:cxn>
                <a:cxn ang="0">
                  <a:pos x="499" y="132"/>
                </a:cxn>
                <a:cxn ang="0">
                  <a:pos x="461" y="130"/>
                </a:cxn>
                <a:cxn ang="0">
                  <a:pos x="438" y="96"/>
                </a:cxn>
                <a:cxn ang="0">
                  <a:pos x="419" y="69"/>
                </a:cxn>
                <a:cxn ang="0">
                  <a:pos x="394" y="55"/>
                </a:cxn>
                <a:cxn ang="0">
                  <a:pos x="366" y="21"/>
                </a:cxn>
                <a:cxn ang="0">
                  <a:pos x="332" y="0"/>
                </a:cxn>
              </a:cxnLst>
              <a:rect l="0" t="0" r="r" b="b"/>
              <a:pathLst>
                <a:path w="686" h="1005">
                  <a:moveTo>
                    <a:pt x="328" y="0"/>
                  </a:moveTo>
                  <a:lnTo>
                    <a:pt x="326" y="2"/>
                  </a:lnTo>
                  <a:lnTo>
                    <a:pt x="315" y="2"/>
                  </a:lnTo>
                  <a:lnTo>
                    <a:pt x="314" y="11"/>
                  </a:lnTo>
                  <a:lnTo>
                    <a:pt x="319" y="13"/>
                  </a:lnTo>
                  <a:lnTo>
                    <a:pt x="321" y="16"/>
                  </a:lnTo>
                  <a:lnTo>
                    <a:pt x="326" y="27"/>
                  </a:lnTo>
                  <a:lnTo>
                    <a:pt x="327" y="32"/>
                  </a:lnTo>
                  <a:lnTo>
                    <a:pt x="335" y="49"/>
                  </a:lnTo>
                  <a:lnTo>
                    <a:pt x="335" y="50"/>
                  </a:lnTo>
                  <a:lnTo>
                    <a:pt x="326" y="50"/>
                  </a:lnTo>
                  <a:lnTo>
                    <a:pt x="319" y="65"/>
                  </a:lnTo>
                  <a:lnTo>
                    <a:pt x="305" y="89"/>
                  </a:lnTo>
                  <a:lnTo>
                    <a:pt x="292" y="104"/>
                  </a:lnTo>
                  <a:lnTo>
                    <a:pt x="284" y="110"/>
                  </a:lnTo>
                  <a:lnTo>
                    <a:pt x="274" y="119"/>
                  </a:lnTo>
                  <a:lnTo>
                    <a:pt x="265" y="131"/>
                  </a:lnTo>
                  <a:lnTo>
                    <a:pt x="256" y="137"/>
                  </a:lnTo>
                  <a:lnTo>
                    <a:pt x="240" y="145"/>
                  </a:lnTo>
                  <a:lnTo>
                    <a:pt x="204" y="156"/>
                  </a:lnTo>
                  <a:lnTo>
                    <a:pt x="186" y="163"/>
                  </a:lnTo>
                  <a:lnTo>
                    <a:pt x="179" y="168"/>
                  </a:lnTo>
                  <a:lnTo>
                    <a:pt x="176" y="171"/>
                  </a:lnTo>
                  <a:lnTo>
                    <a:pt x="171" y="180"/>
                  </a:lnTo>
                  <a:lnTo>
                    <a:pt x="170" y="190"/>
                  </a:lnTo>
                  <a:lnTo>
                    <a:pt x="166" y="193"/>
                  </a:lnTo>
                  <a:lnTo>
                    <a:pt x="164" y="193"/>
                  </a:lnTo>
                  <a:lnTo>
                    <a:pt x="160" y="189"/>
                  </a:lnTo>
                  <a:lnTo>
                    <a:pt x="159" y="189"/>
                  </a:lnTo>
                  <a:lnTo>
                    <a:pt x="159" y="190"/>
                  </a:lnTo>
                  <a:lnTo>
                    <a:pt x="144" y="210"/>
                  </a:lnTo>
                  <a:lnTo>
                    <a:pt x="142" y="223"/>
                  </a:lnTo>
                  <a:lnTo>
                    <a:pt x="142" y="244"/>
                  </a:lnTo>
                  <a:lnTo>
                    <a:pt x="139" y="252"/>
                  </a:lnTo>
                  <a:lnTo>
                    <a:pt x="138" y="253"/>
                  </a:lnTo>
                  <a:lnTo>
                    <a:pt x="128" y="257"/>
                  </a:lnTo>
                  <a:lnTo>
                    <a:pt x="121" y="264"/>
                  </a:lnTo>
                  <a:lnTo>
                    <a:pt x="110" y="269"/>
                  </a:lnTo>
                  <a:lnTo>
                    <a:pt x="102" y="268"/>
                  </a:lnTo>
                  <a:lnTo>
                    <a:pt x="97" y="260"/>
                  </a:lnTo>
                  <a:lnTo>
                    <a:pt x="95" y="254"/>
                  </a:lnTo>
                  <a:lnTo>
                    <a:pt x="90" y="245"/>
                  </a:lnTo>
                  <a:lnTo>
                    <a:pt x="84" y="245"/>
                  </a:lnTo>
                  <a:lnTo>
                    <a:pt x="74" y="245"/>
                  </a:lnTo>
                  <a:lnTo>
                    <a:pt x="72" y="242"/>
                  </a:lnTo>
                  <a:lnTo>
                    <a:pt x="67" y="238"/>
                  </a:lnTo>
                  <a:lnTo>
                    <a:pt x="58" y="238"/>
                  </a:lnTo>
                  <a:lnTo>
                    <a:pt x="50" y="243"/>
                  </a:lnTo>
                  <a:lnTo>
                    <a:pt x="45" y="244"/>
                  </a:lnTo>
                  <a:lnTo>
                    <a:pt x="43" y="242"/>
                  </a:lnTo>
                  <a:lnTo>
                    <a:pt x="41" y="228"/>
                  </a:lnTo>
                  <a:lnTo>
                    <a:pt x="39" y="223"/>
                  </a:lnTo>
                  <a:lnTo>
                    <a:pt x="39" y="221"/>
                  </a:lnTo>
                  <a:lnTo>
                    <a:pt x="42" y="216"/>
                  </a:lnTo>
                  <a:lnTo>
                    <a:pt x="52" y="214"/>
                  </a:lnTo>
                  <a:lnTo>
                    <a:pt x="57" y="209"/>
                  </a:lnTo>
                  <a:lnTo>
                    <a:pt x="56" y="200"/>
                  </a:lnTo>
                  <a:lnTo>
                    <a:pt x="54" y="198"/>
                  </a:lnTo>
                  <a:lnTo>
                    <a:pt x="52" y="188"/>
                  </a:lnTo>
                  <a:lnTo>
                    <a:pt x="51" y="188"/>
                  </a:lnTo>
                  <a:lnTo>
                    <a:pt x="51" y="185"/>
                  </a:lnTo>
                  <a:lnTo>
                    <a:pt x="43" y="193"/>
                  </a:lnTo>
                  <a:lnTo>
                    <a:pt x="32" y="200"/>
                  </a:lnTo>
                  <a:lnTo>
                    <a:pt x="18" y="216"/>
                  </a:lnTo>
                  <a:lnTo>
                    <a:pt x="3" y="231"/>
                  </a:lnTo>
                  <a:lnTo>
                    <a:pt x="2" y="236"/>
                  </a:lnTo>
                  <a:lnTo>
                    <a:pt x="0" y="245"/>
                  </a:lnTo>
                  <a:lnTo>
                    <a:pt x="3" y="260"/>
                  </a:lnTo>
                  <a:lnTo>
                    <a:pt x="4" y="263"/>
                  </a:lnTo>
                  <a:lnTo>
                    <a:pt x="9" y="271"/>
                  </a:lnTo>
                  <a:lnTo>
                    <a:pt x="10" y="284"/>
                  </a:lnTo>
                  <a:lnTo>
                    <a:pt x="19" y="292"/>
                  </a:lnTo>
                  <a:lnTo>
                    <a:pt x="24" y="298"/>
                  </a:lnTo>
                  <a:lnTo>
                    <a:pt x="24" y="302"/>
                  </a:lnTo>
                  <a:lnTo>
                    <a:pt x="21" y="308"/>
                  </a:lnTo>
                  <a:lnTo>
                    <a:pt x="11" y="318"/>
                  </a:lnTo>
                  <a:lnTo>
                    <a:pt x="14" y="323"/>
                  </a:lnTo>
                  <a:lnTo>
                    <a:pt x="29" y="333"/>
                  </a:lnTo>
                  <a:lnTo>
                    <a:pt x="37" y="340"/>
                  </a:lnTo>
                  <a:lnTo>
                    <a:pt x="51" y="350"/>
                  </a:lnTo>
                  <a:lnTo>
                    <a:pt x="58" y="355"/>
                  </a:lnTo>
                  <a:lnTo>
                    <a:pt x="73" y="367"/>
                  </a:lnTo>
                  <a:lnTo>
                    <a:pt x="80" y="379"/>
                  </a:lnTo>
                  <a:lnTo>
                    <a:pt x="83" y="379"/>
                  </a:lnTo>
                  <a:lnTo>
                    <a:pt x="89" y="387"/>
                  </a:lnTo>
                  <a:lnTo>
                    <a:pt x="97" y="413"/>
                  </a:lnTo>
                  <a:lnTo>
                    <a:pt x="102" y="422"/>
                  </a:lnTo>
                  <a:lnTo>
                    <a:pt x="133" y="452"/>
                  </a:lnTo>
                  <a:lnTo>
                    <a:pt x="139" y="467"/>
                  </a:lnTo>
                  <a:lnTo>
                    <a:pt x="140" y="478"/>
                  </a:lnTo>
                  <a:lnTo>
                    <a:pt x="143" y="484"/>
                  </a:lnTo>
                  <a:lnTo>
                    <a:pt x="155" y="507"/>
                  </a:lnTo>
                  <a:lnTo>
                    <a:pt x="161" y="522"/>
                  </a:lnTo>
                  <a:lnTo>
                    <a:pt x="170" y="549"/>
                  </a:lnTo>
                  <a:lnTo>
                    <a:pt x="188" y="578"/>
                  </a:lnTo>
                  <a:lnTo>
                    <a:pt x="191" y="584"/>
                  </a:lnTo>
                  <a:lnTo>
                    <a:pt x="193" y="608"/>
                  </a:lnTo>
                  <a:lnTo>
                    <a:pt x="199" y="624"/>
                  </a:lnTo>
                  <a:lnTo>
                    <a:pt x="204" y="629"/>
                  </a:lnTo>
                  <a:lnTo>
                    <a:pt x="212" y="632"/>
                  </a:lnTo>
                  <a:lnTo>
                    <a:pt x="217" y="639"/>
                  </a:lnTo>
                  <a:lnTo>
                    <a:pt x="225" y="659"/>
                  </a:lnTo>
                  <a:lnTo>
                    <a:pt x="239" y="678"/>
                  </a:lnTo>
                  <a:lnTo>
                    <a:pt x="249" y="693"/>
                  </a:lnTo>
                  <a:lnTo>
                    <a:pt x="256" y="711"/>
                  </a:lnTo>
                  <a:lnTo>
                    <a:pt x="269" y="726"/>
                  </a:lnTo>
                  <a:lnTo>
                    <a:pt x="274" y="742"/>
                  </a:lnTo>
                  <a:lnTo>
                    <a:pt x="277" y="754"/>
                  </a:lnTo>
                  <a:lnTo>
                    <a:pt x="271" y="758"/>
                  </a:lnTo>
                  <a:lnTo>
                    <a:pt x="267" y="764"/>
                  </a:lnTo>
                  <a:lnTo>
                    <a:pt x="269" y="776"/>
                  </a:lnTo>
                  <a:lnTo>
                    <a:pt x="272" y="780"/>
                  </a:lnTo>
                  <a:lnTo>
                    <a:pt x="283" y="791"/>
                  </a:lnTo>
                  <a:lnTo>
                    <a:pt x="290" y="802"/>
                  </a:lnTo>
                  <a:lnTo>
                    <a:pt x="298" y="807"/>
                  </a:lnTo>
                  <a:lnTo>
                    <a:pt x="317" y="828"/>
                  </a:lnTo>
                  <a:lnTo>
                    <a:pt x="327" y="834"/>
                  </a:lnTo>
                  <a:lnTo>
                    <a:pt x="335" y="842"/>
                  </a:lnTo>
                  <a:lnTo>
                    <a:pt x="359" y="858"/>
                  </a:lnTo>
                  <a:lnTo>
                    <a:pt x="391" y="874"/>
                  </a:lnTo>
                  <a:lnTo>
                    <a:pt x="411" y="890"/>
                  </a:lnTo>
                  <a:lnTo>
                    <a:pt x="414" y="892"/>
                  </a:lnTo>
                  <a:lnTo>
                    <a:pt x="455" y="908"/>
                  </a:lnTo>
                  <a:lnTo>
                    <a:pt x="478" y="921"/>
                  </a:lnTo>
                  <a:lnTo>
                    <a:pt x="481" y="922"/>
                  </a:lnTo>
                  <a:lnTo>
                    <a:pt x="486" y="922"/>
                  </a:lnTo>
                  <a:lnTo>
                    <a:pt x="491" y="923"/>
                  </a:lnTo>
                  <a:lnTo>
                    <a:pt x="513" y="941"/>
                  </a:lnTo>
                  <a:lnTo>
                    <a:pt x="525" y="948"/>
                  </a:lnTo>
                  <a:lnTo>
                    <a:pt x="532" y="957"/>
                  </a:lnTo>
                  <a:lnTo>
                    <a:pt x="541" y="964"/>
                  </a:lnTo>
                  <a:lnTo>
                    <a:pt x="551" y="974"/>
                  </a:lnTo>
                  <a:lnTo>
                    <a:pt x="562" y="989"/>
                  </a:lnTo>
                  <a:lnTo>
                    <a:pt x="574" y="995"/>
                  </a:lnTo>
                  <a:lnTo>
                    <a:pt x="584" y="1001"/>
                  </a:lnTo>
                  <a:lnTo>
                    <a:pt x="585" y="1001"/>
                  </a:lnTo>
                  <a:lnTo>
                    <a:pt x="589" y="1005"/>
                  </a:lnTo>
                  <a:lnTo>
                    <a:pt x="599" y="996"/>
                  </a:lnTo>
                  <a:lnTo>
                    <a:pt x="601" y="996"/>
                  </a:lnTo>
                  <a:lnTo>
                    <a:pt x="620" y="995"/>
                  </a:lnTo>
                  <a:lnTo>
                    <a:pt x="626" y="992"/>
                  </a:lnTo>
                  <a:lnTo>
                    <a:pt x="627" y="991"/>
                  </a:lnTo>
                  <a:lnTo>
                    <a:pt x="628" y="982"/>
                  </a:lnTo>
                  <a:lnTo>
                    <a:pt x="634" y="973"/>
                  </a:lnTo>
                  <a:lnTo>
                    <a:pt x="638" y="968"/>
                  </a:lnTo>
                  <a:lnTo>
                    <a:pt x="642" y="966"/>
                  </a:lnTo>
                  <a:lnTo>
                    <a:pt x="638" y="960"/>
                  </a:lnTo>
                  <a:lnTo>
                    <a:pt x="636" y="960"/>
                  </a:lnTo>
                  <a:lnTo>
                    <a:pt x="637" y="954"/>
                  </a:lnTo>
                  <a:lnTo>
                    <a:pt x="649" y="935"/>
                  </a:lnTo>
                  <a:lnTo>
                    <a:pt x="659" y="923"/>
                  </a:lnTo>
                  <a:lnTo>
                    <a:pt x="671" y="906"/>
                  </a:lnTo>
                  <a:lnTo>
                    <a:pt x="672" y="896"/>
                  </a:lnTo>
                  <a:lnTo>
                    <a:pt x="671" y="893"/>
                  </a:lnTo>
                  <a:lnTo>
                    <a:pt x="665" y="888"/>
                  </a:lnTo>
                  <a:lnTo>
                    <a:pt x="660" y="885"/>
                  </a:lnTo>
                  <a:lnTo>
                    <a:pt x="656" y="880"/>
                  </a:lnTo>
                  <a:lnTo>
                    <a:pt x="654" y="879"/>
                  </a:lnTo>
                  <a:lnTo>
                    <a:pt x="653" y="873"/>
                  </a:lnTo>
                  <a:lnTo>
                    <a:pt x="651" y="865"/>
                  </a:lnTo>
                  <a:lnTo>
                    <a:pt x="653" y="851"/>
                  </a:lnTo>
                  <a:lnTo>
                    <a:pt x="658" y="842"/>
                  </a:lnTo>
                  <a:lnTo>
                    <a:pt x="663" y="839"/>
                  </a:lnTo>
                  <a:lnTo>
                    <a:pt x="665" y="831"/>
                  </a:lnTo>
                  <a:lnTo>
                    <a:pt x="665" y="826"/>
                  </a:lnTo>
                  <a:lnTo>
                    <a:pt x="664" y="820"/>
                  </a:lnTo>
                  <a:lnTo>
                    <a:pt x="654" y="809"/>
                  </a:lnTo>
                  <a:lnTo>
                    <a:pt x="654" y="806"/>
                  </a:lnTo>
                  <a:lnTo>
                    <a:pt x="658" y="799"/>
                  </a:lnTo>
                  <a:lnTo>
                    <a:pt x="671" y="793"/>
                  </a:lnTo>
                  <a:lnTo>
                    <a:pt x="672" y="791"/>
                  </a:lnTo>
                  <a:lnTo>
                    <a:pt x="672" y="772"/>
                  </a:lnTo>
                  <a:lnTo>
                    <a:pt x="669" y="754"/>
                  </a:lnTo>
                  <a:lnTo>
                    <a:pt x="669" y="743"/>
                  </a:lnTo>
                  <a:lnTo>
                    <a:pt x="671" y="724"/>
                  </a:lnTo>
                  <a:lnTo>
                    <a:pt x="671" y="700"/>
                  </a:lnTo>
                  <a:lnTo>
                    <a:pt x="676" y="689"/>
                  </a:lnTo>
                  <a:lnTo>
                    <a:pt x="683" y="680"/>
                  </a:lnTo>
                  <a:lnTo>
                    <a:pt x="686" y="678"/>
                  </a:lnTo>
                  <a:lnTo>
                    <a:pt x="686" y="675"/>
                  </a:lnTo>
                  <a:lnTo>
                    <a:pt x="671" y="652"/>
                  </a:lnTo>
                  <a:lnTo>
                    <a:pt x="637" y="593"/>
                  </a:lnTo>
                  <a:lnTo>
                    <a:pt x="620" y="594"/>
                  </a:lnTo>
                  <a:lnTo>
                    <a:pt x="612" y="598"/>
                  </a:lnTo>
                  <a:lnTo>
                    <a:pt x="612" y="598"/>
                  </a:lnTo>
                  <a:lnTo>
                    <a:pt x="605" y="600"/>
                  </a:lnTo>
                  <a:lnTo>
                    <a:pt x="600" y="600"/>
                  </a:lnTo>
                  <a:lnTo>
                    <a:pt x="594" y="597"/>
                  </a:lnTo>
                  <a:lnTo>
                    <a:pt x="591" y="593"/>
                  </a:lnTo>
                  <a:lnTo>
                    <a:pt x="591" y="564"/>
                  </a:lnTo>
                  <a:lnTo>
                    <a:pt x="591" y="560"/>
                  </a:lnTo>
                  <a:lnTo>
                    <a:pt x="591" y="506"/>
                  </a:lnTo>
                  <a:lnTo>
                    <a:pt x="591" y="503"/>
                  </a:lnTo>
                  <a:lnTo>
                    <a:pt x="588" y="505"/>
                  </a:lnTo>
                  <a:lnTo>
                    <a:pt x="578" y="514"/>
                  </a:lnTo>
                  <a:lnTo>
                    <a:pt x="556" y="530"/>
                  </a:lnTo>
                  <a:lnTo>
                    <a:pt x="538" y="540"/>
                  </a:lnTo>
                  <a:lnTo>
                    <a:pt x="530" y="541"/>
                  </a:lnTo>
                  <a:lnTo>
                    <a:pt x="515" y="540"/>
                  </a:lnTo>
                  <a:lnTo>
                    <a:pt x="502" y="537"/>
                  </a:lnTo>
                  <a:lnTo>
                    <a:pt x="499" y="533"/>
                  </a:lnTo>
                  <a:lnTo>
                    <a:pt x="497" y="522"/>
                  </a:lnTo>
                  <a:lnTo>
                    <a:pt x="493" y="517"/>
                  </a:lnTo>
                  <a:lnTo>
                    <a:pt x="488" y="513"/>
                  </a:lnTo>
                  <a:lnTo>
                    <a:pt x="468" y="512"/>
                  </a:lnTo>
                  <a:lnTo>
                    <a:pt x="456" y="508"/>
                  </a:lnTo>
                  <a:lnTo>
                    <a:pt x="455" y="505"/>
                  </a:lnTo>
                  <a:lnTo>
                    <a:pt x="461" y="495"/>
                  </a:lnTo>
                  <a:lnTo>
                    <a:pt x="460" y="486"/>
                  </a:lnTo>
                  <a:lnTo>
                    <a:pt x="450" y="480"/>
                  </a:lnTo>
                  <a:lnTo>
                    <a:pt x="438" y="467"/>
                  </a:lnTo>
                  <a:lnTo>
                    <a:pt x="434" y="459"/>
                  </a:lnTo>
                  <a:lnTo>
                    <a:pt x="425" y="448"/>
                  </a:lnTo>
                  <a:lnTo>
                    <a:pt x="424" y="444"/>
                  </a:lnTo>
                  <a:lnTo>
                    <a:pt x="422" y="432"/>
                  </a:lnTo>
                  <a:lnTo>
                    <a:pt x="411" y="409"/>
                  </a:lnTo>
                  <a:lnTo>
                    <a:pt x="411" y="405"/>
                  </a:lnTo>
                  <a:lnTo>
                    <a:pt x="412" y="401"/>
                  </a:lnTo>
                  <a:lnTo>
                    <a:pt x="424" y="379"/>
                  </a:lnTo>
                  <a:lnTo>
                    <a:pt x="428" y="362"/>
                  </a:lnTo>
                  <a:lnTo>
                    <a:pt x="432" y="357"/>
                  </a:lnTo>
                  <a:lnTo>
                    <a:pt x="441" y="355"/>
                  </a:lnTo>
                  <a:lnTo>
                    <a:pt x="450" y="354"/>
                  </a:lnTo>
                  <a:lnTo>
                    <a:pt x="450" y="324"/>
                  </a:lnTo>
                  <a:lnTo>
                    <a:pt x="452" y="318"/>
                  </a:lnTo>
                  <a:lnTo>
                    <a:pt x="461" y="302"/>
                  </a:lnTo>
                  <a:lnTo>
                    <a:pt x="470" y="290"/>
                  </a:lnTo>
                  <a:lnTo>
                    <a:pt x="483" y="274"/>
                  </a:lnTo>
                  <a:lnTo>
                    <a:pt x="494" y="265"/>
                  </a:lnTo>
                  <a:lnTo>
                    <a:pt x="510" y="254"/>
                  </a:lnTo>
                  <a:lnTo>
                    <a:pt x="529" y="247"/>
                  </a:lnTo>
                  <a:lnTo>
                    <a:pt x="580" y="232"/>
                  </a:lnTo>
                  <a:lnTo>
                    <a:pt x="593" y="227"/>
                  </a:lnTo>
                  <a:lnTo>
                    <a:pt x="613" y="228"/>
                  </a:lnTo>
                  <a:lnTo>
                    <a:pt x="620" y="225"/>
                  </a:lnTo>
                  <a:lnTo>
                    <a:pt x="621" y="222"/>
                  </a:lnTo>
                  <a:lnTo>
                    <a:pt x="613" y="221"/>
                  </a:lnTo>
                  <a:lnTo>
                    <a:pt x="605" y="210"/>
                  </a:lnTo>
                  <a:lnTo>
                    <a:pt x="600" y="206"/>
                  </a:lnTo>
                  <a:lnTo>
                    <a:pt x="596" y="205"/>
                  </a:lnTo>
                  <a:lnTo>
                    <a:pt x="591" y="206"/>
                  </a:lnTo>
                  <a:lnTo>
                    <a:pt x="586" y="205"/>
                  </a:lnTo>
                  <a:lnTo>
                    <a:pt x="585" y="202"/>
                  </a:lnTo>
                  <a:lnTo>
                    <a:pt x="585" y="193"/>
                  </a:lnTo>
                  <a:lnTo>
                    <a:pt x="593" y="182"/>
                  </a:lnTo>
                  <a:lnTo>
                    <a:pt x="605" y="169"/>
                  </a:lnTo>
                  <a:lnTo>
                    <a:pt x="611" y="162"/>
                  </a:lnTo>
                  <a:lnTo>
                    <a:pt x="615" y="155"/>
                  </a:lnTo>
                  <a:lnTo>
                    <a:pt x="615" y="150"/>
                  </a:lnTo>
                  <a:lnTo>
                    <a:pt x="605" y="137"/>
                  </a:lnTo>
                  <a:lnTo>
                    <a:pt x="588" y="128"/>
                  </a:lnTo>
                  <a:lnTo>
                    <a:pt x="572" y="121"/>
                  </a:lnTo>
                  <a:lnTo>
                    <a:pt x="564" y="120"/>
                  </a:lnTo>
                  <a:lnTo>
                    <a:pt x="562" y="120"/>
                  </a:lnTo>
                  <a:lnTo>
                    <a:pt x="553" y="126"/>
                  </a:lnTo>
                  <a:lnTo>
                    <a:pt x="545" y="128"/>
                  </a:lnTo>
                  <a:lnTo>
                    <a:pt x="537" y="126"/>
                  </a:lnTo>
                  <a:lnTo>
                    <a:pt x="532" y="121"/>
                  </a:lnTo>
                  <a:lnTo>
                    <a:pt x="525" y="120"/>
                  </a:lnTo>
                  <a:lnTo>
                    <a:pt x="516" y="120"/>
                  </a:lnTo>
                  <a:lnTo>
                    <a:pt x="513" y="121"/>
                  </a:lnTo>
                  <a:lnTo>
                    <a:pt x="509" y="125"/>
                  </a:lnTo>
                  <a:lnTo>
                    <a:pt x="505" y="126"/>
                  </a:lnTo>
                  <a:lnTo>
                    <a:pt x="503" y="130"/>
                  </a:lnTo>
                  <a:lnTo>
                    <a:pt x="499" y="132"/>
                  </a:lnTo>
                  <a:lnTo>
                    <a:pt x="492" y="134"/>
                  </a:lnTo>
                  <a:lnTo>
                    <a:pt x="488" y="134"/>
                  </a:lnTo>
                  <a:lnTo>
                    <a:pt x="480" y="130"/>
                  </a:lnTo>
                  <a:lnTo>
                    <a:pt x="466" y="129"/>
                  </a:lnTo>
                  <a:lnTo>
                    <a:pt x="461" y="130"/>
                  </a:lnTo>
                  <a:lnTo>
                    <a:pt x="451" y="129"/>
                  </a:lnTo>
                  <a:lnTo>
                    <a:pt x="446" y="124"/>
                  </a:lnTo>
                  <a:lnTo>
                    <a:pt x="443" y="119"/>
                  </a:lnTo>
                  <a:lnTo>
                    <a:pt x="443" y="97"/>
                  </a:lnTo>
                  <a:lnTo>
                    <a:pt x="438" y="96"/>
                  </a:lnTo>
                  <a:lnTo>
                    <a:pt x="429" y="96"/>
                  </a:lnTo>
                  <a:lnTo>
                    <a:pt x="425" y="93"/>
                  </a:lnTo>
                  <a:lnTo>
                    <a:pt x="424" y="89"/>
                  </a:lnTo>
                  <a:lnTo>
                    <a:pt x="421" y="81"/>
                  </a:lnTo>
                  <a:lnTo>
                    <a:pt x="419" y="69"/>
                  </a:lnTo>
                  <a:lnTo>
                    <a:pt x="416" y="62"/>
                  </a:lnTo>
                  <a:lnTo>
                    <a:pt x="411" y="59"/>
                  </a:lnTo>
                  <a:lnTo>
                    <a:pt x="405" y="56"/>
                  </a:lnTo>
                  <a:lnTo>
                    <a:pt x="400" y="56"/>
                  </a:lnTo>
                  <a:lnTo>
                    <a:pt x="394" y="55"/>
                  </a:lnTo>
                  <a:lnTo>
                    <a:pt x="391" y="50"/>
                  </a:lnTo>
                  <a:lnTo>
                    <a:pt x="385" y="46"/>
                  </a:lnTo>
                  <a:lnTo>
                    <a:pt x="380" y="38"/>
                  </a:lnTo>
                  <a:lnTo>
                    <a:pt x="375" y="24"/>
                  </a:lnTo>
                  <a:lnTo>
                    <a:pt x="366" y="21"/>
                  </a:lnTo>
                  <a:lnTo>
                    <a:pt x="362" y="17"/>
                  </a:lnTo>
                  <a:lnTo>
                    <a:pt x="357" y="8"/>
                  </a:lnTo>
                  <a:lnTo>
                    <a:pt x="352" y="6"/>
                  </a:lnTo>
                  <a:lnTo>
                    <a:pt x="342" y="3"/>
                  </a:lnTo>
                  <a:lnTo>
                    <a:pt x="332" y="0"/>
                  </a:lnTo>
                  <a:lnTo>
                    <a:pt x="32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31" name="Argentina"/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 bwMode="gray">
            <a:xfrm>
              <a:off x="2569498" y="5198491"/>
              <a:ext cx="505570" cy="1004117"/>
            </a:xfrm>
            <a:custGeom>
              <a:avLst/>
              <a:gdLst/>
              <a:ahLst/>
              <a:cxnLst>
                <a:cxn ang="0">
                  <a:pos x="150" y="2125"/>
                </a:cxn>
                <a:cxn ang="0">
                  <a:pos x="60" y="2037"/>
                </a:cxn>
                <a:cxn ang="0">
                  <a:pos x="17" y="2007"/>
                </a:cxn>
                <a:cxn ang="0">
                  <a:pos x="1" y="1952"/>
                </a:cxn>
                <a:cxn ang="0">
                  <a:pos x="49" y="1834"/>
                </a:cxn>
                <a:cxn ang="0">
                  <a:pos x="52" y="1773"/>
                </a:cxn>
                <a:cxn ang="0">
                  <a:pos x="93" y="1669"/>
                </a:cxn>
                <a:cxn ang="0">
                  <a:pos x="104" y="1561"/>
                </a:cxn>
                <a:cxn ang="0">
                  <a:pos x="113" y="1513"/>
                </a:cxn>
                <a:cxn ang="0">
                  <a:pos x="79" y="1432"/>
                </a:cxn>
                <a:cxn ang="0">
                  <a:pos x="86" y="1317"/>
                </a:cxn>
                <a:cxn ang="0">
                  <a:pos x="89" y="1194"/>
                </a:cxn>
                <a:cxn ang="0">
                  <a:pos x="128" y="1068"/>
                </a:cxn>
                <a:cxn ang="0">
                  <a:pos x="138" y="915"/>
                </a:cxn>
                <a:cxn ang="0">
                  <a:pos x="156" y="871"/>
                </a:cxn>
                <a:cxn ang="0">
                  <a:pos x="192" y="751"/>
                </a:cxn>
                <a:cxn ang="0">
                  <a:pos x="165" y="617"/>
                </a:cxn>
                <a:cxn ang="0">
                  <a:pos x="179" y="530"/>
                </a:cxn>
                <a:cxn ang="0">
                  <a:pos x="192" y="450"/>
                </a:cxn>
                <a:cxn ang="0">
                  <a:pos x="260" y="312"/>
                </a:cxn>
                <a:cxn ang="0">
                  <a:pos x="263" y="221"/>
                </a:cxn>
                <a:cxn ang="0">
                  <a:pos x="317" y="139"/>
                </a:cxn>
                <a:cxn ang="0">
                  <a:pos x="340" y="62"/>
                </a:cxn>
                <a:cxn ang="0">
                  <a:pos x="396" y="0"/>
                </a:cxn>
                <a:cxn ang="0">
                  <a:pos x="477" y="30"/>
                </a:cxn>
                <a:cxn ang="0">
                  <a:pos x="507" y="16"/>
                </a:cxn>
                <a:cxn ang="0">
                  <a:pos x="577" y="27"/>
                </a:cxn>
                <a:cxn ang="0">
                  <a:pos x="671" y="105"/>
                </a:cxn>
                <a:cxn ang="0">
                  <a:pos x="752" y="143"/>
                </a:cxn>
                <a:cxn ang="0">
                  <a:pos x="850" y="209"/>
                </a:cxn>
                <a:cxn ang="0">
                  <a:pos x="821" y="302"/>
                </a:cxn>
                <a:cxn ang="0">
                  <a:pos x="908" y="342"/>
                </a:cxn>
                <a:cxn ang="0">
                  <a:pos x="972" y="332"/>
                </a:cxn>
                <a:cxn ang="0">
                  <a:pos x="1025" y="280"/>
                </a:cxn>
                <a:cxn ang="0">
                  <a:pos x="1080" y="270"/>
                </a:cxn>
                <a:cxn ang="0">
                  <a:pos x="1023" y="344"/>
                </a:cxn>
                <a:cxn ang="0">
                  <a:pos x="914" y="467"/>
                </a:cxn>
                <a:cxn ang="0">
                  <a:pos x="851" y="528"/>
                </a:cxn>
                <a:cxn ang="0">
                  <a:pos x="835" y="686"/>
                </a:cxn>
                <a:cxn ang="0">
                  <a:pos x="813" y="776"/>
                </a:cxn>
                <a:cxn ang="0">
                  <a:pos x="878" y="892"/>
                </a:cxn>
                <a:cxn ang="0">
                  <a:pos x="877" y="1004"/>
                </a:cxn>
                <a:cxn ang="0">
                  <a:pos x="765" y="1080"/>
                </a:cxn>
                <a:cxn ang="0">
                  <a:pos x="604" y="1088"/>
                </a:cxn>
                <a:cxn ang="0">
                  <a:pos x="604" y="1169"/>
                </a:cxn>
                <a:cxn ang="0">
                  <a:pos x="526" y="1251"/>
                </a:cxn>
                <a:cxn ang="0">
                  <a:pos x="457" y="1270"/>
                </a:cxn>
                <a:cxn ang="0">
                  <a:pos x="505" y="1332"/>
                </a:cxn>
                <a:cxn ang="0">
                  <a:pos x="518" y="1376"/>
                </a:cxn>
                <a:cxn ang="0">
                  <a:pos x="463" y="1361"/>
                </a:cxn>
                <a:cxn ang="0">
                  <a:pos x="466" y="1407"/>
                </a:cxn>
                <a:cxn ang="0">
                  <a:pos x="445" y="1501"/>
                </a:cxn>
                <a:cxn ang="0">
                  <a:pos x="386" y="1547"/>
                </a:cxn>
                <a:cxn ang="0">
                  <a:pos x="318" y="1633"/>
                </a:cxn>
                <a:cxn ang="0">
                  <a:pos x="414" y="1705"/>
                </a:cxn>
                <a:cxn ang="0">
                  <a:pos x="410" y="1780"/>
                </a:cxn>
                <a:cxn ang="0">
                  <a:pos x="321" y="1862"/>
                </a:cxn>
                <a:cxn ang="0">
                  <a:pos x="276" y="1953"/>
                </a:cxn>
                <a:cxn ang="0">
                  <a:pos x="238" y="1983"/>
                </a:cxn>
                <a:cxn ang="0">
                  <a:pos x="225" y="2080"/>
                </a:cxn>
              </a:cxnLst>
              <a:rect l="0" t="0" r="r" b="b"/>
              <a:pathLst>
                <a:path w="1080" h="2146">
                  <a:moveTo>
                    <a:pt x="275" y="2146"/>
                  </a:moveTo>
                  <a:lnTo>
                    <a:pt x="270" y="2145"/>
                  </a:lnTo>
                  <a:lnTo>
                    <a:pt x="256" y="2136"/>
                  </a:lnTo>
                  <a:lnTo>
                    <a:pt x="224" y="2131"/>
                  </a:lnTo>
                  <a:lnTo>
                    <a:pt x="198" y="2123"/>
                  </a:lnTo>
                  <a:lnTo>
                    <a:pt x="187" y="2121"/>
                  </a:lnTo>
                  <a:lnTo>
                    <a:pt x="170" y="2125"/>
                  </a:lnTo>
                  <a:lnTo>
                    <a:pt x="150" y="2125"/>
                  </a:lnTo>
                  <a:lnTo>
                    <a:pt x="145" y="2125"/>
                  </a:lnTo>
                  <a:lnTo>
                    <a:pt x="140" y="2124"/>
                  </a:lnTo>
                  <a:lnTo>
                    <a:pt x="85" y="2124"/>
                  </a:lnTo>
                  <a:lnTo>
                    <a:pt x="71" y="2118"/>
                  </a:lnTo>
                  <a:lnTo>
                    <a:pt x="66" y="2113"/>
                  </a:lnTo>
                  <a:lnTo>
                    <a:pt x="60" y="2099"/>
                  </a:lnTo>
                  <a:lnTo>
                    <a:pt x="59" y="2094"/>
                  </a:lnTo>
                  <a:lnTo>
                    <a:pt x="60" y="2037"/>
                  </a:lnTo>
                  <a:lnTo>
                    <a:pt x="59" y="2022"/>
                  </a:lnTo>
                  <a:lnTo>
                    <a:pt x="57" y="2003"/>
                  </a:lnTo>
                  <a:lnTo>
                    <a:pt x="55" y="2001"/>
                  </a:lnTo>
                  <a:lnTo>
                    <a:pt x="50" y="2000"/>
                  </a:lnTo>
                  <a:lnTo>
                    <a:pt x="49" y="2000"/>
                  </a:lnTo>
                  <a:lnTo>
                    <a:pt x="44" y="2006"/>
                  </a:lnTo>
                  <a:lnTo>
                    <a:pt x="26" y="2002"/>
                  </a:lnTo>
                  <a:lnTo>
                    <a:pt x="17" y="2007"/>
                  </a:lnTo>
                  <a:lnTo>
                    <a:pt x="14" y="2015"/>
                  </a:lnTo>
                  <a:lnTo>
                    <a:pt x="10" y="2018"/>
                  </a:lnTo>
                  <a:lnTo>
                    <a:pt x="6" y="2016"/>
                  </a:lnTo>
                  <a:lnTo>
                    <a:pt x="4" y="2010"/>
                  </a:lnTo>
                  <a:lnTo>
                    <a:pt x="1" y="1995"/>
                  </a:lnTo>
                  <a:lnTo>
                    <a:pt x="0" y="1992"/>
                  </a:lnTo>
                  <a:lnTo>
                    <a:pt x="0" y="1962"/>
                  </a:lnTo>
                  <a:lnTo>
                    <a:pt x="1" y="1952"/>
                  </a:lnTo>
                  <a:lnTo>
                    <a:pt x="1" y="1940"/>
                  </a:lnTo>
                  <a:lnTo>
                    <a:pt x="9" y="1908"/>
                  </a:lnTo>
                  <a:lnTo>
                    <a:pt x="14" y="1897"/>
                  </a:lnTo>
                  <a:lnTo>
                    <a:pt x="18" y="1893"/>
                  </a:lnTo>
                  <a:lnTo>
                    <a:pt x="32" y="1866"/>
                  </a:lnTo>
                  <a:lnTo>
                    <a:pt x="43" y="1852"/>
                  </a:lnTo>
                  <a:lnTo>
                    <a:pt x="46" y="1847"/>
                  </a:lnTo>
                  <a:lnTo>
                    <a:pt x="49" y="1834"/>
                  </a:lnTo>
                  <a:lnTo>
                    <a:pt x="52" y="1813"/>
                  </a:lnTo>
                  <a:lnTo>
                    <a:pt x="53" y="1809"/>
                  </a:lnTo>
                  <a:lnTo>
                    <a:pt x="57" y="1807"/>
                  </a:lnTo>
                  <a:lnTo>
                    <a:pt x="57" y="1798"/>
                  </a:lnTo>
                  <a:lnTo>
                    <a:pt x="55" y="1787"/>
                  </a:lnTo>
                  <a:lnTo>
                    <a:pt x="52" y="1781"/>
                  </a:lnTo>
                  <a:lnTo>
                    <a:pt x="52" y="1773"/>
                  </a:lnTo>
                  <a:lnTo>
                    <a:pt x="52" y="1773"/>
                  </a:lnTo>
                  <a:lnTo>
                    <a:pt x="52" y="1758"/>
                  </a:lnTo>
                  <a:lnTo>
                    <a:pt x="53" y="1752"/>
                  </a:lnTo>
                  <a:lnTo>
                    <a:pt x="57" y="1746"/>
                  </a:lnTo>
                  <a:lnTo>
                    <a:pt x="70" y="1727"/>
                  </a:lnTo>
                  <a:lnTo>
                    <a:pt x="80" y="1709"/>
                  </a:lnTo>
                  <a:lnTo>
                    <a:pt x="81" y="1699"/>
                  </a:lnTo>
                  <a:lnTo>
                    <a:pt x="89" y="1684"/>
                  </a:lnTo>
                  <a:lnTo>
                    <a:pt x="93" y="1669"/>
                  </a:lnTo>
                  <a:lnTo>
                    <a:pt x="95" y="1631"/>
                  </a:lnTo>
                  <a:lnTo>
                    <a:pt x="93" y="1624"/>
                  </a:lnTo>
                  <a:lnTo>
                    <a:pt x="93" y="1612"/>
                  </a:lnTo>
                  <a:lnTo>
                    <a:pt x="95" y="1607"/>
                  </a:lnTo>
                  <a:lnTo>
                    <a:pt x="95" y="1580"/>
                  </a:lnTo>
                  <a:lnTo>
                    <a:pt x="96" y="1571"/>
                  </a:lnTo>
                  <a:lnTo>
                    <a:pt x="100" y="1566"/>
                  </a:lnTo>
                  <a:lnTo>
                    <a:pt x="104" y="1561"/>
                  </a:lnTo>
                  <a:lnTo>
                    <a:pt x="104" y="1550"/>
                  </a:lnTo>
                  <a:lnTo>
                    <a:pt x="95" y="1539"/>
                  </a:lnTo>
                  <a:lnTo>
                    <a:pt x="81" y="1533"/>
                  </a:lnTo>
                  <a:lnTo>
                    <a:pt x="77" y="1523"/>
                  </a:lnTo>
                  <a:lnTo>
                    <a:pt x="81" y="1521"/>
                  </a:lnTo>
                  <a:lnTo>
                    <a:pt x="97" y="1523"/>
                  </a:lnTo>
                  <a:lnTo>
                    <a:pt x="111" y="1522"/>
                  </a:lnTo>
                  <a:lnTo>
                    <a:pt x="113" y="1513"/>
                  </a:lnTo>
                  <a:lnTo>
                    <a:pt x="112" y="1505"/>
                  </a:lnTo>
                  <a:lnTo>
                    <a:pt x="104" y="1496"/>
                  </a:lnTo>
                  <a:lnTo>
                    <a:pt x="90" y="1491"/>
                  </a:lnTo>
                  <a:lnTo>
                    <a:pt x="82" y="1491"/>
                  </a:lnTo>
                  <a:lnTo>
                    <a:pt x="82" y="1486"/>
                  </a:lnTo>
                  <a:lnTo>
                    <a:pt x="86" y="1457"/>
                  </a:lnTo>
                  <a:lnTo>
                    <a:pt x="85" y="1442"/>
                  </a:lnTo>
                  <a:lnTo>
                    <a:pt x="79" y="1432"/>
                  </a:lnTo>
                  <a:lnTo>
                    <a:pt x="77" y="1427"/>
                  </a:lnTo>
                  <a:lnTo>
                    <a:pt x="79" y="1400"/>
                  </a:lnTo>
                  <a:lnTo>
                    <a:pt x="77" y="1395"/>
                  </a:lnTo>
                  <a:lnTo>
                    <a:pt x="74" y="1392"/>
                  </a:lnTo>
                  <a:lnTo>
                    <a:pt x="71" y="1387"/>
                  </a:lnTo>
                  <a:lnTo>
                    <a:pt x="71" y="1351"/>
                  </a:lnTo>
                  <a:lnTo>
                    <a:pt x="77" y="1329"/>
                  </a:lnTo>
                  <a:lnTo>
                    <a:pt x="86" y="1317"/>
                  </a:lnTo>
                  <a:lnTo>
                    <a:pt x="90" y="1308"/>
                  </a:lnTo>
                  <a:lnTo>
                    <a:pt x="91" y="1303"/>
                  </a:lnTo>
                  <a:lnTo>
                    <a:pt x="91" y="1291"/>
                  </a:lnTo>
                  <a:lnTo>
                    <a:pt x="90" y="1287"/>
                  </a:lnTo>
                  <a:lnTo>
                    <a:pt x="81" y="1279"/>
                  </a:lnTo>
                  <a:lnTo>
                    <a:pt x="77" y="1264"/>
                  </a:lnTo>
                  <a:lnTo>
                    <a:pt x="80" y="1235"/>
                  </a:lnTo>
                  <a:lnTo>
                    <a:pt x="89" y="1194"/>
                  </a:lnTo>
                  <a:lnTo>
                    <a:pt x="89" y="1178"/>
                  </a:lnTo>
                  <a:lnTo>
                    <a:pt x="89" y="1173"/>
                  </a:lnTo>
                  <a:lnTo>
                    <a:pt x="106" y="1112"/>
                  </a:lnTo>
                  <a:lnTo>
                    <a:pt x="108" y="1097"/>
                  </a:lnTo>
                  <a:lnTo>
                    <a:pt x="111" y="1091"/>
                  </a:lnTo>
                  <a:lnTo>
                    <a:pt x="116" y="1086"/>
                  </a:lnTo>
                  <a:lnTo>
                    <a:pt x="124" y="1077"/>
                  </a:lnTo>
                  <a:lnTo>
                    <a:pt x="128" y="1068"/>
                  </a:lnTo>
                  <a:lnTo>
                    <a:pt x="128" y="1055"/>
                  </a:lnTo>
                  <a:lnTo>
                    <a:pt x="123" y="1043"/>
                  </a:lnTo>
                  <a:lnTo>
                    <a:pt x="119" y="1016"/>
                  </a:lnTo>
                  <a:lnTo>
                    <a:pt x="119" y="979"/>
                  </a:lnTo>
                  <a:lnTo>
                    <a:pt x="123" y="940"/>
                  </a:lnTo>
                  <a:lnTo>
                    <a:pt x="128" y="926"/>
                  </a:lnTo>
                  <a:lnTo>
                    <a:pt x="134" y="918"/>
                  </a:lnTo>
                  <a:lnTo>
                    <a:pt x="138" y="915"/>
                  </a:lnTo>
                  <a:lnTo>
                    <a:pt x="144" y="915"/>
                  </a:lnTo>
                  <a:lnTo>
                    <a:pt x="146" y="913"/>
                  </a:lnTo>
                  <a:lnTo>
                    <a:pt x="147" y="905"/>
                  </a:lnTo>
                  <a:lnTo>
                    <a:pt x="150" y="902"/>
                  </a:lnTo>
                  <a:lnTo>
                    <a:pt x="156" y="898"/>
                  </a:lnTo>
                  <a:lnTo>
                    <a:pt x="159" y="896"/>
                  </a:lnTo>
                  <a:lnTo>
                    <a:pt x="159" y="888"/>
                  </a:lnTo>
                  <a:lnTo>
                    <a:pt x="156" y="871"/>
                  </a:lnTo>
                  <a:lnTo>
                    <a:pt x="155" y="842"/>
                  </a:lnTo>
                  <a:lnTo>
                    <a:pt x="166" y="832"/>
                  </a:lnTo>
                  <a:lnTo>
                    <a:pt x="167" y="829"/>
                  </a:lnTo>
                  <a:lnTo>
                    <a:pt x="171" y="806"/>
                  </a:lnTo>
                  <a:lnTo>
                    <a:pt x="173" y="799"/>
                  </a:lnTo>
                  <a:lnTo>
                    <a:pt x="179" y="786"/>
                  </a:lnTo>
                  <a:lnTo>
                    <a:pt x="192" y="767"/>
                  </a:lnTo>
                  <a:lnTo>
                    <a:pt x="192" y="751"/>
                  </a:lnTo>
                  <a:lnTo>
                    <a:pt x="190" y="733"/>
                  </a:lnTo>
                  <a:lnTo>
                    <a:pt x="187" y="714"/>
                  </a:lnTo>
                  <a:lnTo>
                    <a:pt x="186" y="709"/>
                  </a:lnTo>
                  <a:lnTo>
                    <a:pt x="178" y="701"/>
                  </a:lnTo>
                  <a:lnTo>
                    <a:pt x="178" y="689"/>
                  </a:lnTo>
                  <a:lnTo>
                    <a:pt x="178" y="679"/>
                  </a:lnTo>
                  <a:lnTo>
                    <a:pt x="165" y="646"/>
                  </a:lnTo>
                  <a:lnTo>
                    <a:pt x="165" y="617"/>
                  </a:lnTo>
                  <a:lnTo>
                    <a:pt x="155" y="607"/>
                  </a:lnTo>
                  <a:lnTo>
                    <a:pt x="155" y="595"/>
                  </a:lnTo>
                  <a:lnTo>
                    <a:pt x="157" y="579"/>
                  </a:lnTo>
                  <a:lnTo>
                    <a:pt x="161" y="568"/>
                  </a:lnTo>
                  <a:lnTo>
                    <a:pt x="162" y="565"/>
                  </a:lnTo>
                  <a:lnTo>
                    <a:pt x="171" y="550"/>
                  </a:lnTo>
                  <a:lnTo>
                    <a:pt x="173" y="536"/>
                  </a:lnTo>
                  <a:lnTo>
                    <a:pt x="179" y="530"/>
                  </a:lnTo>
                  <a:lnTo>
                    <a:pt x="182" y="523"/>
                  </a:lnTo>
                  <a:lnTo>
                    <a:pt x="182" y="520"/>
                  </a:lnTo>
                  <a:lnTo>
                    <a:pt x="186" y="516"/>
                  </a:lnTo>
                  <a:lnTo>
                    <a:pt x="189" y="503"/>
                  </a:lnTo>
                  <a:lnTo>
                    <a:pt x="189" y="493"/>
                  </a:lnTo>
                  <a:lnTo>
                    <a:pt x="188" y="482"/>
                  </a:lnTo>
                  <a:lnTo>
                    <a:pt x="189" y="458"/>
                  </a:lnTo>
                  <a:lnTo>
                    <a:pt x="192" y="450"/>
                  </a:lnTo>
                  <a:lnTo>
                    <a:pt x="198" y="436"/>
                  </a:lnTo>
                  <a:lnTo>
                    <a:pt x="200" y="429"/>
                  </a:lnTo>
                  <a:lnTo>
                    <a:pt x="204" y="408"/>
                  </a:lnTo>
                  <a:lnTo>
                    <a:pt x="210" y="382"/>
                  </a:lnTo>
                  <a:lnTo>
                    <a:pt x="235" y="354"/>
                  </a:lnTo>
                  <a:lnTo>
                    <a:pt x="242" y="329"/>
                  </a:lnTo>
                  <a:lnTo>
                    <a:pt x="245" y="327"/>
                  </a:lnTo>
                  <a:lnTo>
                    <a:pt x="260" y="312"/>
                  </a:lnTo>
                  <a:lnTo>
                    <a:pt x="270" y="308"/>
                  </a:lnTo>
                  <a:lnTo>
                    <a:pt x="275" y="305"/>
                  </a:lnTo>
                  <a:lnTo>
                    <a:pt x="276" y="302"/>
                  </a:lnTo>
                  <a:lnTo>
                    <a:pt x="274" y="288"/>
                  </a:lnTo>
                  <a:lnTo>
                    <a:pt x="270" y="273"/>
                  </a:lnTo>
                  <a:lnTo>
                    <a:pt x="268" y="262"/>
                  </a:lnTo>
                  <a:lnTo>
                    <a:pt x="268" y="236"/>
                  </a:lnTo>
                  <a:lnTo>
                    <a:pt x="263" y="221"/>
                  </a:lnTo>
                  <a:lnTo>
                    <a:pt x="263" y="205"/>
                  </a:lnTo>
                  <a:lnTo>
                    <a:pt x="264" y="203"/>
                  </a:lnTo>
                  <a:lnTo>
                    <a:pt x="270" y="195"/>
                  </a:lnTo>
                  <a:lnTo>
                    <a:pt x="270" y="186"/>
                  </a:lnTo>
                  <a:lnTo>
                    <a:pt x="268" y="176"/>
                  </a:lnTo>
                  <a:lnTo>
                    <a:pt x="268" y="168"/>
                  </a:lnTo>
                  <a:lnTo>
                    <a:pt x="269" y="161"/>
                  </a:lnTo>
                  <a:lnTo>
                    <a:pt x="317" y="139"/>
                  </a:lnTo>
                  <a:lnTo>
                    <a:pt x="335" y="132"/>
                  </a:lnTo>
                  <a:lnTo>
                    <a:pt x="344" y="85"/>
                  </a:lnTo>
                  <a:lnTo>
                    <a:pt x="344" y="73"/>
                  </a:lnTo>
                  <a:lnTo>
                    <a:pt x="339" y="68"/>
                  </a:lnTo>
                  <a:lnTo>
                    <a:pt x="339" y="65"/>
                  </a:lnTo>
                  <a:lnTo>
                    <a:pt x="338" y="65"/>
                  </a:lnTo>
                  <a:lnTo>
                    <a:pt x="338" y="63"/>
                  </a:lnTo>
                  <a:lnTo>
                    <a:pt x="340" y="62"/>
                  </a:lnTo>
                  <a:lnTo>
                    <a:pt x="345" y="58"/>
                  </a:lnTo>
                  <a:lnTo>
                    <a:pt x="351" y="48"/>
                  </a:lnTo>
                  <a:lnTo>
                    <a:pt x="353" y="44"/>
                  </a:lnTo>
                  <a:lnTo>
                    <a:pt x="359" y="36"/>
                  </a:lnTo>
                  <a:lnTo>
                    <a:pt x="367" y="27"/>
                  </a:lnTo>
                  <a:lnTo>
                    <a:pt x="378" y="19"/>
                  </a:lnTo>
                  <a:lnTo>
                    <a:pt x="392" y="1"/>
                  </a:lnTo>
                  <a:lnTo>
                    <a:pt x="396" y="0"/>
                  </a:lnTo>
                  <a:lnTo>
                    <a:pt x="399" y="0"/>
                  </a:lnTo>
                  <a:lnTo>
                    <a:pt x="404" y="6"/>
                  </a:lnTo>
                  <a:lnTo>
                    <a:pt x="413" y="19"/>
                  </a:lnTo>
                  <a:lnTo>
                    <a:pt x="439" y="19"/>
                  </a:lnTo>
                  <a:lnTo>
                    <a:pt x="447" y="21"/>
                  </a:lnTo>
                  <a:lnTo>
                    <a:pt x="452" y="21"/>
                  </a:lnTo>
                  <a:lnTo>
                    <a:pt x="473" y="26"/>
                  </a:lnTo>
                  <a:lnTo>
                    <a:pt x="477" y="30"/>
                  </a:lnTo>
                  <a:lnTo>
                    <a:pt x="480" y="36"/>
                  </a:lnTo>
                  <a:lnTo>
                    <a:pt x="483" y="37"/>
                  </a:lnTo>
                  <a:lnTo>
                    <a:pt x="484" y="41"/>
                  </a:lnTo>
                  <a:lnTo>
                    <a:pt x="495" y="52"/>
                  </a:lnTo>
                  <a:lnTo>
                    <a:pt x="498" y="52"/>
                  </a:lnTo>
                  <a:lnTo>
                    <a:pt x="499" y="46"/>
                  </a:lnTo>
                  <a:lnTo>
                    <a:pt x="504" y="35"/>
                  </a:lnTo>
                  <a:lnTo>
                    <a:pt x="507" y="16"/>
                  </a:lnTo>
                  <a:lnTo>
                    <a:pt x="509" y="12"/>
                  </a:lnTo>
                  <a:lnTo>
                    <a:pt x="517" y="12"/>
                  </a:lnTo>
                  <a:lnTo>
                    <a:pt x="536" y="15"/>
                  </a:lnTo>
                  <a:lnTo>
                    <a:pt x="553" y="15"/>
                  </a:lnTo>
                  <a:lnTo>
                    <a:pt x="561" y="16"/>
                  </a:lnTo>
                  <a:lnTo>
                    <a:pt x="564" y="17"/>
                  </a:lnTo>
                  <a:lnTo>
                    <a:pt x="571" y="22"/>
                  </a:lnTo>
                  <a:lnTo>
                    <a:pt x="577" y="27"/>
                  </a:lnTo>
                  <a:lnTo>
                    <a:pt x="585" y="31"/>
                  </a:lnTo>
                  <a:lnTo>
                    <a:pt x="601" y="36"/>
                  </a:lnTo>
                  <a:lnTo>
                    <a:pt x="607" y="41"/>
                  </a:lnTo>
                  <a:lnTo>
                    <a:pt x="618" y="62"/>
                  </a:lnTo>
                  <a:lnTo>
                    <a:pt x="631" y="75"/>
                  </a:lnTo>
                  <a:lnTo>
                    <a:pt x="634" y="80"/>
                  </a:lnTo>
                  <a:lnTo>
                    <a:pt x="659" y="98"/>
                  </a:lnTo>
                  <a:lnTo>
                    <a:pt x="671" y="105"/>
                  </a:lnTo>
                  <a:lnTo>
                    <a:pt x="674" y="108"/>
                  </a:lnTo>
                  <a:lnTo>
                    <a:pt x="686" y="127"/>
                  </a:lnTo>
                  <a:lnTo>
                    <a:pt x="687" y="128"/>
                  </a:lnTo>
                  <a:lnTo>
                    <a:pt x="692" y="132"/>
                  </a:lnTo>
                  <a:lnTo>
                    <a:pt x="703" y="135"/>
                  </a:lnTo>
                  <a:lnTo>
                    <a:pt x="711" y="136"/>
                  </a:lnTo>
                  <a:lnTo>
                    <a:pt x="740" y="139"/>
                  </a:lnTo>
                  <a:lnTo>
                    <a:pt x="752" y="143"/>
                  </a:lnTo>
                  <a:lnTo>
                    <a:pt x="758" y="145"/>
                  </a:lnTo>
                  <a:lnTo>
                    <a:pt x="784" y="163"/>
                  </a:lnTo>
                  <a:lnTo>
                    <a:pt x="799" y="171"/>
                  </a:lnTo>
                  <a:lnTo>
                    <a:pt x="815" y="179"/>
                  </a:lnTo>
                  <a:lnTo>
                    <a:pt x="823" y="191"/>
                  </a:lnTo>
                  <a:lnTo>
                    <a:pt x="838" y="194"/>
                  </a:lnTo>
                  <a:lnTo>
                    <a:pt x="845" y="200"/>
                  </a:lnTo>
                  <a:lnTo>
                    <a:pt x="850" y="209"/>
                  </a:lnTo>
                  <a:lnTo>
                    <a:pt x="854" y="210"/>
                  </a:lnTo>
                  <a:lnTo>
                    <a:pt x="856" y="214"/>
                  </a:lnTo>
                  <a:lnTo>
                    <a:pt x="858" y="224"/>
                  </a:lnTo>
                  <a:lnTo>
                    <a:pt x="858" y="234"/>
                  </a:lnTo>
                  <a:lnTo>
                    <a:pt x="849" y="247"/>
                  </a:lnTo>
                  <a:lnTo>
                    <a:pt x="834" y="269"/>
                  </a:lnTo>
                  <a:lnTo>
                    <a:pt x="823" y="294"/>
                  </a:lnTo>
                  <a:lnTo>
                    <a:pt x="821" y="302"/>
                  </a:lnTo>
                  <a:lnTo>
                    <a:pt x="819" y="311"/>
                  </a:lnTo>
                  <a:lnTo>
                    <a:pt x="819" y="317"/>
                  </a:lnTo>
                  <a:lnTo>
                    <a:pt x="821" y="321"/>
                  </a:lnTo>
                  <a:lnTo>
                    <a:pt x="843" y="321"/>
                  </a:lnTo>
                  <a:lnTo>
                    <a:pt x="875" y="326"/>
                  </a:lnTo>
                  <a:lnTo>
                    <a:pt x="881" y="328"/>
                  </a:lnTo>
                  <a:lnTo>
                    <a:pt x="898" y="339"/>
                  </a:lnTo>
                  <a:lnTo>
                    <a:pt x="908" y="342"/>
                  </a:lnTo>
                  <a:lnTo>
                    <a:pt x="918" y="340"/>
                  </a:lnTo>
                  <a:lnTo>
                    <a:pt x="923" y="343"/>
                  </a:lnTo>
                  <a:lnTo>
                    <a:pt x="930" y="343"/>
                  </a:lnTo>
                  <a:lnTo>
                    <a:pt x="937" y="340"/>
                  </a:lnTo>
                  <a:lnTo>
                    <a:pt x="941" y="335"/>
                  </a:lnTo>
                  <a:lnTo>
                    <a:pt x="948" y="332"/>
                  </a:lnTo>
                  <a:lnTo>
                    <a:pt x="963" y="333"/>
                  </a:lnTo>
                  <a:lnTo>
                    <a:pt x="972" y="332"/>
                  </a:lnTo>
                  <a:lnTo>
                    <a:pt x="973" y="331"/>
                  </a:lnTo>
                  <a:lnTo>
                    <a:pt x="975" y="327"/>
                  </a:lnTo>
                  <a:lnTo>
                    <a:pt x="990" y="315"/>
                  </a:lnTo>
                  <a:lnTo>
                    <a:pt x="994" y="313"/>
                  </a:lnTo>
                  <a:lnTo>
                    <a:pt x="996" y="310"/>
                  </a:lnTo>
                  <a:lnTo>
                    <a:pt x="1010" y="299"/>
                  </a:lnTo>
                  <a:lnTo>
                    <a:pt x="1018" y="290"/>
                  </a:lnTo>
                  <a:lnTo>
                    <a:pt x="1025" y="280"/>
                  </a:lnTo>
                  <a:lnTo>
                    <a:pt x="1028" y="272"/>
                  </a:lnTo>
                  <a:lnTo>
                    <a:pt x="1031" y="256"/>
                  </a:lnTo>
                  <a:lnTo>
                    <a:pt x="1034" y="225"/>
                  </a:lnTo>
                  <a:lnTo>
                    <a:pt x="1043" y="225"/>
                  </a:lnTo>
                  <a:lnTo>
                    <a:pt x="1047" y="224"/>
                  </a:lnTo>
                  <a:lnTo>
                    <a:pt x="1061" y="224"/>
                  </a:lnTo>
                  <a:lnTo>
                    <a:pt x="1068" y="231"/>
                  </a:lnTo>
                  <a:lnTo>
                    <a:pt x="1080" y="270"/>
                  </a:lnTo>
                  <a:lnTo>
                    <a:pt x="1080" y="302"/>
                  </a:lnTo>
                  <a:lnTo>
                    <a:pt x="1079" y="313"/>
                  </a:lnTo>
                  <a:lnTo>
                    <a:pt x="1076" y="317"/>
                  </a:lnTo>
                  <a:lnTo>
                    <a:pt x="1074" y="321"/>
                  </a:lnTo>
                  <a:lnTo>
                    <a:pt x="1050" y="337"/>
                  </a:lnTo>
                  <a:lnTo>
                    <a:pt x="1043" y="339"/>
                  </a:lnTo>
                  <a:lnTo>
                    <a:pt x="1031" y="340"/>
                  </a:lnTo>
                  <a:lnTo>
                    <a:pt x="1023" y="344"/>
                  </a:lnTo>
                  <a:lnTo>
                    <a:pt x="1014" y="356"/>
                  </a:lnTo>
                  <a:lnTo>
                    <a:pt x="1005" y="366"/>
                  </a:lnTo>
                  <a:lnTo>
                    <a:pt x="961" y="404"/>
                  </a:lnTo>
                  <a:lnTo>
                    <a:pt x="959" y="408"/>
                  </a:lnTo>
                  <a:lnTo>
                    <a:pt x="955" y="415"/>
                  </a:lnTo>
                  <a:lnTo>
                    <a:pt x="935" y="440"/>
                  </a:lnTo>
                  <a:lnTo>
                    <a:pt x="932" y="446"/>
                  </a:lnTo>
                  <a:lnTo>
                    <a:pt x="914" y="467"/>
                  </a:lnTo>
                  <a:lnTo>
                    <a:pt x="899" y="479"/>
                  </a:lnTo>
                  <a:lnTo>
                    <a:pt x="892" y="488"/>
                  </a:lnTo>
                  <a:lnTo>
                    <a:pt x="883" y="494"/>
                  </a:lnTo>
                  <a:lnTo>
                    <a:pt x="881" y="499"/>
                  </a:lnTo>
                  <a:lnTo>
                    <a:pt x="872" y="509"/>
                  </a:lnTo>
                  <a:lnTo>
                    <a:pt x="862" y="514"/>
                  </a:lnTo>
                  <a:lnTo>
                    <a:pt x="861" y="520"/>
                  </a:lnTo>
                  <a:lnTo>
                    <a:pt x="851" y="528"/>
                  </a:lnTo>
                  <a:lnTo>
                    <a:pt x="850" y="531"/>
                  </a:lnTo>
                  <a:lnTo>
                    <a:pt x="853" y="554"/>
                  </a:lnTo>
                  <a:lnTo>
                    <a:pt x="848" y="576"/>
                  </a:lnTo>
                  <a:lnTo>
                    <a:pt x="848" y="591"/>
                  </a:lnTo>
                  <a:lnTo>
                    <a:pt x="846" y="601"/>
                  </a:lnTo>
                  <a:lnTo>
                    <a:pt x="838" y="625"/>
                  </a:lnTo>
                  <a:lnTo>
                    <a:pt x="838" y="676"/>
                  </a:lnTo>
                  <a:lnTo>
                    <a:pt x="835" y="686"/>
                  </a:lnTo>
                  <a:lnTo>
                    <a:pt x="834" y="692"/>
                  </a:lnTo>
                  <a:lnTo>
                    <a:pt x="826" y="705"/>
                  </a:lnTo>
                  <a:lnTo>
                    <a:pt x="823" y="714"/>
                  </a:lnTo>
                  <a:lnTo>
                    <a:pt x="818" y="740"/>
                  </a:lnTo>
                  <a:lnTo>
                    <a:pt x="817" y="756"/>
                  </a:lnTo>
                  <a:lnTo>
                    <a:pt x="818" y="765"/>
                  </a:lnTo>
                  <a:lnTo>
                    <a:pt x="817" y="774"/>
                  </a:lnTo>
                  <a:lnTo>
                    <a:pt x="813" y="776"/>
                  </a:lnTo>
                  <a:lnTo>
                    <a:pt x="822" y="796"/>
                  </a:lnTo>
                  <a:lnTo>
                    <a:pt x="846" y="810"/>
                  </a:lnTo>
                  <a:lnTo>
                    <a:pt x="856" y="817"/>
                  </a:lnTo>
                  <a:lnTo>
                    <a:pt x="869" y="828"/>
                  </a:lnTo>
                  <a:lnTo>
                    <a:pt x="885" y="845"/>
                  </a:lnTo>
                  <a:lnTo>
                    <a:pt x="886" y="855"/>
                  </a:lnTo>
                  <a:lnTo>
                    <a:pt x="875" y="880"/>
                  </a:lnTo>
                  <a:lnTo>
                    <a:pt x="878" y="892"/>
                  </a:lnTo>
                  <a:lnTo>
                    <a:pt x="889" y="907"/>
                  </a:lnTo>
                  <a:lnTo>
                    <a:pt x="903" y="913"/>
                  </a:lnTo>
                  <a:lnTo>
                    <a:pt x="913" y="912"/>
                  </a:lnTo>
                  <a:lnTo>
                    <a:pt x="914" y="921"/>
                  </a:lnTo>
                  <a:lnTo>
                    <a:pt x="914" y="950"/>
                  </a:lnTo>
                  <a:lnTo>
                    <a:pt x="908" y="963"/>
                  </a:lnTo>
                  <a:lnTo>
                    <a:pt x="889" y="991"/>
                  </a:lnTo>
                  <a:lnTo>
                    <a:pt x="877" y="1004"/>
                  </a:lnTo>
                  <a:lnTo>
                    <a:pt x="870" y="1015"/>
                  </a:lnTo>
                  <a:lnTo>
                    <a:pt x="865" y="1039"/>
                  </a:lnTo>
                  <a:lnTo>
                    <a:pt x="854" y="1049"/>
                  </a:lnTo>
                  <a:lnTo>
                    <a:pt x="840" y="1056"/>
                  </a:lnTo>
                  <a:lnTo>
                    <a:pt x="815" y="1065"/>
                  </a:lnTo>
                  <a:lnTo>
                    <a:pt x="805" y="1065"/>
                  </a:lnTo>
                  <a:lnTo>
                    <a:pt x="790" y="1072"/>
                  </a:lnTo>
                  <a:lnTo>
                    <a:pt x="765" y="1080"/>
                  </a:lnTo>
                  <a:lnTo>
                    <a:pt x="753" y="1082"/>
                  </a:lnTo>
                  <a:lnTo>
                    <a:pt x="733" y="1083"/>
                  </a:lnTo>
                  <a:lnTo>
                    <a:pt x="711" y="1091"/>
                  </a:lnTo>
                  <a:lnTo>
                    <a:pt x="677" y="1096"/>
                  </a:lnTo>
                  <a:lnTo>
                    <a:pt x="650" y="1096"/>
                  </a:lnTo>
                  <a:lnTo>
                    <a:pt x="620" y="1091"/>
                  </a:lnTo>
                  <a:lnTo>
                    <a:pt x="607" y="1079"/>
                  </a:lnTo>
                  <a:lnTo>
                    <a:pt x="604" y="1088"/>
                  </a:lnTo>
                  <a:lnTo>
                    <a:pt x="607" y="1113"/>
                  </a:lnTo>
                  <a:lnTo>
                    <a:pt x="616" y="1122"/>
                  </a:lnTo>
                  <a:lnTo>
                    <a:pt x="619" y="1130"/>
                  </a:lnTo>
                  <a:lnTo>
                    <a:pt x="617" y="1147"/>
                  </a:lnTo>
                  <a:lnTo>
                    <a:pt x="614" y="1155"/>
                  </a:lnTo>
                  <a:lnTo>
                    <a:pt x="611" y="1157"/>
                  </a:lnTo>
                  <a:lnTo>
                    <a:pt x="609" y="1156"/>
                  </a:lnTo>
                  <a:lnTo>
                    <a:pt x="604" y="1169"/>
                  </a:lnTo>
                  <a:lnTo>
                    <a:pt x="602" y="1184"/>
                  </a:lnTo>
                  <a:lnTo>
                    <a:pt x="607" y="1214"/>
                  </a:lnTo>
                  <a:lnTo>
                    <a:pt x="607" y="1221"/>
                  </a:lnTo>
                  <a:lnTo>
                    <a:pt x="603" y="1230"/>
                  </a:lnTo>
                  <a:lnTo>
                    <a:pt x="597" y="1237"/>
                  </a:lnTo>
                  <a:lnTo>
                    <a:pt x="580" y="1241"/>
                  </a:lnTo>
                  <a:lnTo>
                    <a:pt x="564" y="1252"/>
                  </a:lnTo>
                  <a:lnTo>
                    <a:pt x="526" y="1251"/>
                  </a:lnTo>
                  <a:lnTo>
                    <a:pt x="517" y="1247"/>
                  </a:lnTo>
                  <a:lnTo>
                    <a:pt x="507" y="1241"/>
                  </a:lnTo>
                  <a:lnTo>
                    <a:pt x="487" y="1232"/>
                  </a:lnTo>
                  <a:lnTo>
                    <a:pt x="472" y="1227"/>
                  </a:lnTo>
                  <a:lnTo>
                    <a:pt x="462" y="1216"/>
                  </a:lnTo>
                  <a:lnTo>
                    <a:pt x="451" y="1230"/>
                  </a:lnTo>
                  <a:lnTo>
                    <a:pt x="451" y="1251"/>
                  </a:lnTo>
                  <a:lnTo>
                    <a:pt x="457" y="1270"/>
                  </a:lnTo>
                  <a:lnTo>
                    <a:pt x="458" y="1302"/>
                  </a:lnTo>
                  <a:lnTo>
                    <a:pt x="459" y="1317"/>
                  </a:lnTo>
                  <a:lnTo>
                    <a:pt x="473" y="1329"/>
                  </a:lnTo>
                  <a:lnTo>
                    <a:pt x="487" y="1333"/>
                  </a:lnTo>
                  <a:lnTo>
                    <a:pt x="482" y="1340"/>
                  </a:lnTo>
                  <a:lnTo>
                    <a:pt x="489" y="1345"/>
                  </a:lnTo>
                  <a:lnTo>
                    <a:pt x="509" y="1340"/>
                  </a:lnTo>
                  <a:lnTo>
                    <a:pt x="505" y="1332"/>
                  </a:lnTo>
                  <a:lnTo>
                    <a:pt x="499" y="1328"/>
                  </a:lnTo>
                  <a:lnTo>
                    <a:pt x="515" y="1325"/>
                  </a:lnTo>
                  <a:lnTo>
                    <a:pt x="527" y="1317"/>
                  </a:lnTo>
                  <a:lnTo>
                    <a:pt x="534" y="1329"/>
                  </a:lnTo>
                  <a:lnTo>
                    <a:pt x="538" y="1355"/>
                  </a:lnTo>
                  <a:lnTo>
                    <a:pt x="536" y="1367"/>
                  </a:lnTo>
                  <a:lnTo>
                    <a:pt x="528" y="1372"/>
                  </a:lnTo>
                  <a:lnTo>
                    <a:pt x="518" y="1376"/>
                  </a:lnTo>
                  <a:lnTo>
                    <a:pt x="509" y="1376"/>
                  </a:lnTo>
                  <a:lnTo>
                    <a:pt x="501" y="1372"/>
                  </a:lnTo>
                  <a:lnTo>
                    <a:pt x="500" y="1360"/>
                  </a:lnTo>
                  <a:lnTo>
                    <a:pt x="495" y="1354"/>
                  </a:lnTo>
                  <a:lnTo>
                    <a:pt x="484" y="1351"/>
                  </a:lnTo>
                  <a:lnTo>
                    <a:pt x="475" y="1354"/>
                  </a:lnTo>
                  <a:lnTo>
                    <a:pt x="469" y="1360"/>
                  </a:lnTo>
                  <a:lnTo>
                    <a:pt x="463" y="1361"/>
                  </a:lnTo>
                  <a:lnTo>
                    <a:pt x="458" y="1366"/>
                  </a:lnTo>
                  <a:lnTo>
                    <a:pt x="458" y="1372"/>
                  </a:lnTo>
                  <a:lnTo>
                    <a:pt x="475" y="1381"/>
                  </a:lnTo>
                  <a:lnTo>
                    <a:pt x="487" y="1382"/>
                  </a:lnTo>
                  <a:lnTo>
                    <a:pt x="494" y="1384"/>
                  </a:lnTo>
                  <a:lnTo>
                    <a:pt x="500" y="1387"/>
                  </a:lnTo>
                  <a:lnTo>
                    <a:pt x="499" y="1389"/>
                  </a:lnTo>
                  <a:lnTo>
                    <a:pt x="466" y="1407"/>
                  </a:lnTo>
                  <a:lnTo>
                    <a:pt x="461" y="1414"/>
                  </a:lnTo>
                  <a:lnTo>
                    <a:pt x="457" y="1423"/>
                  </a:lnTo>
                  <a:lnTo>
                    <a:pt x="448" y="1432"/>
                  </a:lnTo>
                  <a:lnTo>
                    <a:pt x="446" y="1445"/>
                  </a:lnTo>
                  <a:lnTo>
                    <a:pt x="450" y="1461"/>
                  </a:lnTo>
                  <a:lnTo>
                    <a:pt x="448" y="1474"/>
                  </a:lnTo>
                  <a:lnTo>
                    <a:pt x="448" y="1490"/>
                  </a:lnTo>
                  <a:lnTo>
                    <a:pt x="445" y="1501"/>
                  </a:lnTo>
                  <a:lnTo>
                    <a:pt x="440" y="1506"/>
                  </a:lnTo>
                  <a:lnTo>
                    <a:pt x="432" y="1508"/>
                  </a:lnTo>
                  <a:lnTo>
                    <a:pt x="426" y="1520"/>
                  </a:lnTo>
                  <a:lnTo>
                    <a:pt x="431" y="1533"/>
                  </a:lnTo>
                  <a:lnTo>
                    <a:pt x="432" y="1538"/>
                  </a:lnTo>
                  <a:lnTo>
                    <a:pt x="429" y="1544"/>
                  </a:lnTo>
                  <a:lnTo>
                    <a:pt x="396" y="1542"/>
                  </a:lnTo>
                  <a:lnTo>
                    <a:pt x="386" y="1547"/>
                  </a:lnTo>
                  <a:lnTo>
                    <a:pt x="378" y="1556"/>
                  </a:lnTo>
                  <a:lnTo>
                    <a:pt x="369" y="1556"/>
                  </a:lnTo>
                  <a:lnTo>
                    <a:pt x="359" y="1561"/>
                  </a:lnTo>
                  <a:lnTo>
                    <a:pt x="342" y="1580"/>
                  </a:lnTo>
                  <a:lnTo>
                    <a:pt x="335" y="1588"/>
                  </a:lnTo>
                  <a:lnTo>
                    <a:pt x="333" y="1597"/>
                  </a:lnTo>
                  <a:lnTo>
                    <a:pt x="322" y="1615"/>
                  </a:lnTo>
                  <a:lnTo>
                    <a:pt x="318" y="1633"/>
                  </a:lnTo>
                  <a:lnTo>
                    <a:pt x="321" y="1640"/>
                  </a:lnTo>
                  <a:lnTo>
                    <a:pt x="327" y="1653"/>
                  </a:lnTo>
                  <a:lnTo>
                    <a:pt x="333" y="1664"/>
                  </a:lnTo>
                  <a:lnTo>
                    <a:pt x="343" y="1672"/>
                  </a:lnTo>
                  <a:lnTo>
                    <a:pt x="365" y="1696"/>
                  </a:lnTo>
                  <a:lnTo>
                    <a:pt x="389" y="1706"/>
                  </a:lnTo>
                  <a:lnTo>
                    <a:pt x="402" y="1707"/>
                  </a:lnTo>
                  <a:lnTo>
                    <a:pt x="414" y="1705"/>
                  </a:lnTo>
                  <a:lnTo>
                    <a:pt x="421" y="1712"/>
                  </a:lnTo>
                  <a:lnTo>
                    <a:pt x="424" y="1723"/>
                  </a:lnTo>
                  <a:lnTo>
                    <a:pt x="424" y="1739"/>
                  </a:lnTo>
                  <a:lnTo>
                    <a:pt x="417" y="1752"/>
                  </a:lnTo>
                  <a:lnTo>
                    <a:pt x="413" y="1754"/>
                  </a:lnTo>
                  <a:lnTo>
                    <a:pt x="417" y="1766"/>
                  </a:lnTo>
                  <a:lnTo>
                    <a:pt x="418" y="1776"/>
                  </a:lnTo>
                  <a:lnTo>
                    <a:pt x="410" y="1780"/>
                  </a:lnTo>
                  <a:lnTo>
                    <a:pt x="409" y="1791"/>
                  </a:lnTo>
                  <a:lnTo>
                    <a:pt x="402" y="1791"/>
                  </a:lnTo>
                  <a:lnTo>
                    <a:pt x="393" y="1796"/>
                  </a:lnTo>
                  <a:lnTo>
                    <a:pt x="376" y="1813"/>
                  </a:lnTo>
                  <a:lnTo>
                    <a:pt x="358" y="1829"/>
                  </a:lnTo>
                  <a:lnTo>
                    <a:pt x="350" y="1833"/>
                  </a:lnTo>
                  <a:lnTo>
                    <a:pt x="335" y="1849"/>
                  </a:lnTo>
                  <a:lnTo>
                    <a:pt x="321" y="1862"/>
                  </a:lnTo>
                  <a:lnTo>
                    <a:pt x="312" y="1882"/>
                  </a:lnTo>
                  <a:lnTo>
                    <a:pt x="310" y="1894"/>
                  </a:lnTo>
                  <a:lnTo>
                    <a:pt x="318" y="1887"/>
                  </a:lnTo>
                  <a:lnTo>
                    <a:pt x="310" y="1924"/>
                  </a:lnTo>
                  <a:lnTo>
                    <a:pt x="305" y="1940"/>
                  </a:lnTo>
                  <a:lnTo>
                    <a:pt x="296" y="1948"/>
                  </a:lnTo>
                  <a:lnTo>
                    <a:pt x="286" y="1953"/>
                  </a:lnTo>
                  <a:lnTo>
                    <a:pt x="276" y="1953"/>
                  </a:lnTo>
                  <a:lnTo>
                    <a:pt x="269" y="1946"/>
                  </a:lnTo>
                  <a:lnTo>
                    <a:pt x="258" y="1925"/>
                  </a:lnTo>
                  <a:lnTo>
                    <a:pt x="260" y="1945"/>
                  </a:lnTo>
                  <a:lnTo>
                    <a:pt x="268" y="1948"/>
                  </a:lnTo>
                  <a:lnTo>
                    <a:pt x="270" y="1954"/>
                  </a:lnTo>
                  <a:lnTo>
                    <a:pt x="270" y="1959"/>
                  </a:lnTo>
                  <a:lnTo>
                    <a:pt x="248" y="1974"/>
                  </a:lnTo>
                  <a:lnTo>
                    <a:pt x="238" y="1983"/>
                  </a:lnTo>
                  <a:lnTo>
                    <a:pt x="226" y="2026"/>
                  </a:lnTo>
                  <a:lnTo>
                    <a:pt x="219" y="2037"/>
                  </a:lnTo>
                  <a:lnTo>
                    <a:pt x="225" y="2037"/>
                  </a:lnTo>
                  <a:lnTo>
                    <a:pt x="230" y="2033"/>
                  </a:lnTo>
                  <a:lnTo>
                    <a:pt x="237" y="2058"/>
                  </a:lnTo>
                  <a:lnTo>
                    <a:pt x="241" y="2074"/>
                  </a:lnTo>
                  <a:lnTo>
                    <a:pt x="237" y="2081"/>
                  </a:lnTo>
                  <a:lnTo>
                    <a:pt x="225" y="2080"/>
                  </a:lnTo>
                  <a:lnTo>
                    <a:pt x="220" y="2082"/>
                  </a:lnTo>
                  <a:lnTo>
                    <a:pt x="229" y="2089"/>
                  </a:lnTo>
                  <a:lnTo>
                    <a:pt x="233" y="2088"/>
                  </a:lnTo>
                  <a:lnTo>
                    <a:pt x="240" y="2089"/>
                  </a:lnTo>
                  <a:lnTo>
                    <a:pt x="256" y="2120"/>
                  </a:lnTo>
                  <a:lnTo>
                    <a:pt x="275" y="2145"/>
                  </a:lnTo>
                  <a:lnTo>
                    <a:pt x="275" y="21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32" name="Argentina"/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 bwMode="gray">
            <a:xfrm>
              <a:off x="2691210" y="6216652"/>
              <a:ext cx="88943" cy="105327"/>
            </a:xfrm>
            <a:custGeom>
              <a:avLst/>
              <a:gdLst/>
              <a:ahLst/>
              <a:cxnLst>
                <a:cxn ang="0">
                  <a:pos x="4" y="208"/>
                </a:cxn>
                <a:cxn ang="0">
                  <a:pos x="4" y="196"/>
                </a:cxn>
                <a:cxn ang="0">
                  <a:pos x="3" y="191"/>
                </a:cxn>
                <a:cxn ang="0">
                  <a:pos x="0" y="0"/>
                </a:cxn>
                <a:cxn ang="0">
                  <a:pos x="6" y="5"/>
                </a:cxn>
                <a:cxn ang="0">
                  <a:pos x="11" y="14"/>
                </a:cxn>
                <a:cxn ang="0">
                  <a:pos x="29" y="43"/>
                </a:cxn>
                <a:cxn ang="0">
                  <a:pos x="29" y="48"/>
                </a:cxn>
                <a:cxn ang="0">
                  <a:pos x="25" y="42"/>
                </a:cxn>
                <a:cxn ang="0">
                  <a:pos x="17" y="40"/>
                </a:cxn>
                <a:cxn ang="0">
                  <a:pos x="11" y="42"/>
                </a:cxn>
                <a:cxn ang="0">
                  <a:pos x="10" y="50"/>
                </a:cxn>
                <a:cxn ang="0">
                  <a:pos x="14" y="58"/>
                </a:cxn>
                <a:cxn ang="0">
                  <a:pos x="20" y="61"/>
                </a:cxn>
                <a:cxn ang="0">
                  <a:pos x="26" y="67"/>
                </a:cxn>
                <a:cxn ang="0">
                  <a:pos x="31" y="74"/>
                </a:cxn>
                <a:cxn ang="0">
                  <a:pos x="37" y="94"/>
                </a:cxn>
                <a:cxn ang="0">
                  <a:pos x="42" y="99"/>
                </a:cxn>
                <a:cxn ang="0">
                  <a:pos x="59" y="111"/>
                </a:cxn>
                <a:cxn ang="0">
                  <a:pos x="74" y="129"/>
                </a:cxn>
                <a:cxn ang="0">
                  <a:pos x="81" y="132"/>
                </a:cxn>
                <a:cxn ang="0">
                  <a:pos x="86" y="136"/>
                </a:cxn>
                <a:cxn ang="0">
                  <a:pos x="94" y="138"/>
                </a:cxn>
                <a:cxn ang="0">
                  <a:pos x="97" y="144"/>
                </a:cxn>
                <a:cxn ang="0">
                  <a:pos x="108" y="148"/>
                </a:cxn>
                <a:cxn ang="0">
                  <a:pos x="119" y="161"/>
                </a:cxn>
                <a:cxn ang="0">
                  <a:pos x="142" y="179"/>
                </a:cxn>
                <a:cxn ang="0">
                  <a:pos x="156" y="187"/>
                </a:cxn>
                <a:cxn ang="0">
                  <a:pos x="182" y="190"/>
                </a:cxn>
                <a:cxn ang="0">
                  <a:pos x="192" y="187"/>
                </a:cxn>
                <a:cxn ang="0">
                  <a:pos x="193" y="193"/>
                </a:cxn>
                <a:cxn ang="0">
                  <a:pos x="191" y="206"/>
                </a:cxn>
                <a:cxn ang="0">
                  <a:pos x="187" y="210"/>
                </a:cxn>
                <a:cxn ang="0">
                  <a:pos x="175" y="215"/>
                </a:cxn>
                <a:cxn ang="0">
                  <a:pos x="155" y="212"/>
                </a:cxn>
                <a:cxn ang="0">
                  <a:pos x="129" y="220"/>
                </a:cxn>
                <a:cxn ang="0">
                  <a:pos x="127" y="224"/>
                </a:cxn>
                <a:cxn ang="0">
                  <a:pos x="118" y="222"/>
                </a:cxn>
                <a:cxn ang="0">
                  <a:pos x="102" y="212"/>
                </a:cxn>
                <a:cxn ang="0">
                  <a:pos x="74" y="206"/>
                </a:cxn>
                <a:cxn ang="0">
                  <a:pos x="48" y="206"/>
                </a:cxn>
                <a:cxn ang="0">
                  <a:pos x="40" y="202"/>
                </a:cxn>
                <a:cxn ang="0">
                  <a:pos x="33" y="201"/>
                </a:cxn>
                <a:cxn ang="0">
                  <a:pos x="25" y="199"/>
                </a:cxn>
                <a:cxn ang="0">
                  <a:pos x="9" y="208"/>
                </a:cxn>
                <a:cxn ang="0">
                  <a:pos x="4" y="208"/>
                </a:cxn>
              </a:cxnLst>
              <a:rect l="0" t="0" r="r" b="b"/>
              <a:pathLst>
                <a:path w="193" h="224">
                  <a:moveTo>
                    <a:pt x="4" y="208"/>
                  </a:moveTo>
                  <a:lnTo>
                    <a:pt x="4" y="196"/>
                  </a:lnTo>
                  <a:lnTo>
                    <a:pt x="3" y="191"/>
                  </a:lnTo>
                  <a:lnTo>
                    <a:pt x="0" y="0"/>
                  </a:lnTo>
                  <a:lnTo>
                    <a:pt x="6" y="5"/>
                  </a:lnTo>
                  <a:lnTo>
                    <a:pt x="11" y="14"/>
                  </a:lnTo>
                  <a:lnTo>
                    <a:pt x="29" y="43"/>
                  </a:lnTo>
                  <a:lnTo>
                    <a:pt x="29" y="48"/>
                  </a:lnTo>
                  <a:lnTo>
                    <a:pt x="25" y="42"/>
                  </a:lnTo>
                  <a:lnTo>
                    <a:pt x="17" y="40"/>
                  </a:lnTo>
                  <a:lnTo>
                    <a:pt x="11" y="42"/>
                  </a:lnTo>
                  <a:lnTo>
                    <a:pt x="10" y="50"/>
                  </a:lnTo>
                  <a:lnTo>
                    <a:pt x="14" y="58"/>
                  </a:lnTo>
                  <a:lnTo>
                    <a:pt x="20" y="61"/>
                  </a:lnTo>
                  <a:lnTo>
                    <a:pt x="26" y="67"/>
                  </a:lnTo>
                  <a:lnTo>
                    <a:pt x="31" y="74"/>
                  </a:lnTo>
                  <a:lnTo>
                    <a:pt x="37" y="94"/>
                  </a:lnTo>
                  <a:lnTo>
                    <a:pt x="42" y="99"/>
                  </a:lnTo>
                  <a:lnTo>
                    <a:pt x="59" y="111"/>
                  </a:lnTo>
                  <a:lnTo>
                    <a:pt x="74" y="129"/>
                  </a:lnTo>
                  <a:lnTo>
                    <a:pt x="81" y="132"/>
                  </a:lnTo>
                  <a:lnTo>
                    <a:pt x="86" y="136"/>
                  </a:lnTo>
                  <a:lnTo>
                    <a:pt x="94" y="138"/>
                  </a:lnTo>
                  <a:lnTo>
                    <a:pt x="97" y="144"/>
                  </a:lnTo>
                  <a:lnTo>
                    <a:pt x="108" y="148"/>
                  </a:lnTo>
                  <a:lnTo>
                    <a:pt x="119" y="161"/>
                  </a:lnTo>
                  <a:lnTo>
                    <a:pt x="142" y="179"/>
                  </a:lnTo>
                  <a:lnTo>
                    <a:pt x="156" y="187"/>
                  </a:lnTo>
                  <a:lnTo>
                    <a:pt x="182" y="190"/>
                  </a:lnTo>
                  <a:lnTo>
                    <a:pt x="192" y="187"/>
                  </a:lnTo>
                  <a:lnTo>
                    <a:pt x="193" y="193"/>
                  </a:lnTo>
                  <a:lnTo>
                    <a:pt x="191" y="206"/>
                  </a:lnTo>
                  <a:lnTo>
                    <a:pt x="187" y="210"/>
                  </a:lnTo>
                  <a:lnTo>
                    <a:pt x="175" y="215"/>
                  </a:lnTo>
                  <a:lnTo>
                    <a:pt x="155" y="212"/>
                  </a:lnTo>
                  <a:lnTo>
                    <a:pt x="129" y="220"/>
                  </a:lnTo>
                  <a:lnTo>
                    <a:pt x="127" y="224"/>
                  </a:lnTo>
                  <a:lnTo>
                    <a:pt x="118" y="222"/>
                  </a:lnTo>
                  <a:lnTo>
                    <a:pt x="102" y="212"/>
                  </a:lnTo>
                  <a:lnTo>
                    <a:pt x="74" y="206"/>
                  </a:lnTo>
                  <a:lnTo>
                    <a:pt x="48" y="206"/>
                  </a:lnTo>
                  <a:lnTo>
                    <a:pt x="40" y="202"/>
                  </a:lnTo>
                  <a:lnTo>
                    <a:pt x="33" y="201"/>
                  </a:lnTo>
                  <a:lnTo>
                    <a:pt x="25" y="199"/>
                  </a:lnTo>
                  <a:lnTo>
                    <a:pt x="9" y="208"/>
                  </a:lnTo>
                  <a:lnTo>
                    <a:pt x="4" y="20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33" name="Suriname"/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 bwMode="gray">
            <a:xfrm>
              <a:off x="2962719" y="4477586"/>
              <a:ext cx="105327" cy="105327"/>
            </a:xfrm>
            <a:custGeom>
              <a:avLst/>
              <a:gdLst/>
              <a:ahLst/>
              <a:cxnLst>
                <a:cxn ang="0">
                  <a:pos x="197" y="195"/>
                </a:cxn>
                <a:cxn ang="0">
                  <a:pos x="172" y="187"/>
                </a:cxn>
                <a:cxn ang="0">
                  <a:pos x="146" y="193"/>
                </a:cxn>
                <a:cxn ang="0">
                  <a:pos x="129" y="190"/>
                </a:cxn>
                <a:cxn ang="0">
                  <a:pos x="124" y="217"/>
                </a:cxn>
                <a:cxn ang="0">
                  <a:pos x="103" y="221"/>
                </a:cxn>
                <a:cxn ang="0">
                  <a:pos x="91" y="214"/>
                </a:cxn>
                <a:cxn ang="0">
                  <a:pos x="79" y="205"/>
                </a:cxn>
                <a:cxn ang="0">
                  <a:pos x="59" y="178"/>
                </a:cxn>
                <a:cxn ang="0">
                  <a:pos x="52" y="166"/>
                </a:cxn>
                <a:cxn ang="0">
                  <a:pos x="47" y="151"/>
                </a:cxn>
                <a:cxn ang="0">
                  <a:pos x="43" y="140"/>
                </a:cxn>
                <a:cxn ang="0">
                  <a:pos x="30" y="139"/>
                </a:cxn>
                <a:cxn ang="0">
                  <a:pos x="26" y="130"/>
                </a:cxn>
                <a:cxn ang="0">
                  <a:pos x="15" y="122"/>
                </a:cxn>
                <a:cxn ang="0">
                  <a:pos x="0" y="101"/>
                </a:cxn>
                <a:cxn ang="0">
                  <a:pos x="4" y="84"/>
                </a:cxn>
                <a:cxn ang="0">
                  <a:pos x="9" y="60"/>
                </a:cxn>
                <a:cxn ang="0">
                  <a:pos x="11" y="55"/>
                </a:cxn>
                <a:cxn ang="0">
                  <a:pos x="22" y="50"/>
                </a:cxn>
                <a:cxn ang="0">
                  <a:pos x="38" y="49"/>
                </a:cxn>
                <a:cxn ang="0">
                  <a:pos x="46" y="39"/>
                </a:cxn>
                <a:cxn ang="0">
                  <a:pos x="44" y="32"/>
                </a:cxn>
                <a:cxn ang="0">
                  <a:pos x="43" y="26"/>
                </a:cxn>
                <a:cxn ang="0">
                  <a:pos x="57" y="9"/>
                </a:cxn>
                <a:cxn ang="0">
                  <a:pos x="62" y="5"/>
                </a:cxn>
                <a:cxn ang="0">
                  <a:pos x="71" y="0"/>
                </a:cxn>
                <a:cxn ang="0">
                  <a:pos x="114" y="6"/>
                </a:cxn>
                <a:cxn ang="0">
                  <a:pos x="154" y="3"/>
                </a:cxn>
                <a:cxn ang="0">
                  <a:pos x="168" y="0"/>
                </a:cxn>
                <a:cxn ang="0">
                  <a:pos x="200" y="3"/>
                </a:cxn>
                <a:cxn ang="0">
                  <a:pos x="225" y="11"/>
                </a:cxn>
                <a:cxn ang="0">
                  <a:pos x="222" y="25"/>
                </a:cxn>
                <a:cxn ang="0">
                  <a:pos x="218" y="33"/>
                </a:cxn>
                <a:cxn ang="0">
                  <a:pos x="206" y="49"/>
                </a:cxn>
                <a:cxn ang="0">
                  <a:pos x="208" y="90"/>
                </a:cxn>
                <a:cxn ang="0">
                  <a:pos x="220" y="114"/>
                </a:cxn>
                <a:cxn ang="0">
                  <a:pos x="221" y="117"/>
                </a:cxn>
                <a:cxn ang="0">
                  <a:pos x="225" y="140"/>
                </a:cxn>
                <a:cxn ang="0">
                  <a:pos x="218" y="181"/>
                </a:cxn>
                <a:cxn ang="0">
                  <a:pos x="203" y="197"/>
                </a:cxn>
              </a:cxnLst>
              <a:rect l="0" t="0" r="r" b="b"/>
              <a:pathLst>
                <a:path w="226" h="221">
                  <a:moveTo>
                    <a:pt x="203" y="197"/>
                  </a:moveTo>
                  <a:lnTo>
                    <a:pt x="197" y="195"/>
                  </a:lnTo>
                  <a:lnTo>
                    <a:pt x="193" y="193"/>
                  </a:lnTo>
                  <a:lnTo>
                    <a:pt x="172" y="187"/>
                  </a:lnTo>
                  <a:lnTo>
                    <a:pt x="150" y="193"/>
                  </a:lnTo>
                  <a:lnTo>
                    <a:pt x="146" y="193"/>
                  </a:lnTo>
                  <a:lnTo>
                    <a:pt x="136" y="190"/>
                  </a:lnTo>
                  <a:lnTo>
                    <a:pt x="129" y="190"/>
                  </a:lnTo>
                  <a:lnTo>
                    <a:pt x="123" y="193"/>
                  </a:lnTo>
                  <a:lnTo>
                    <a:pt x="124" y="217"/>
                  </a:lnTo>
                  <a:lnTo>
                    <a:pt x="120" y="221"/>
                  </a:lnTo>
                  <a:lnTo>
                    <a:pt x="103" y="221"/>
                  </a:lnTo>
                  <a:lnTo>
                    <a:pt x="91" y="216"/>
                  </a:lnTo>
                  <a:lnTo>
                    <a:pt x="91" y="214"/>
                  </a:lnTo>
                  <a:lnTo>
                    <a:pt x="89" y="214"/>
                  </a:lnTo>
                  <a:lnTo>
                    <a:pt x="79" y="205"/>
                  </a:lnTo>
                  <a:lnTo>
                    <a:pt x="65" y="188"/>
                  </a:lnTo>
                  <a:lnTo>
                    <a:pt x="59" y="178"/>
                  </a:lnTo>
                  <a:lnTo>
                    <a:pt x="58" y="172"/>
                  </a:lnTo>
                  <a:lnTo>
                    <a:pt x="52" y="166"/>
                  </a:lnTo>
                  <a:lnTo>
                    <a:pt x="52" y="156"/>
                  </a:lnTo>
                  <a:lnTo>
                    <a:pt x="47" y="151"/>
                  </a:lnTo>
                  <a:lnTo>
                    <a:pt x="46" y="143"/>
                  </a:lnTo>
                  <a:lnTo>
                    <a:pt x="43" y="140"/>
                  </a:lnTo>
                  <a:lnTo>
                    <a:pt x="32" y="140"/>
                  </a:lnTo>
                  <a:lnTo>
                    <a:pt x="30" y="139"/>
                  </a:lnTo>
                  <a:lnTo>
                    <a:pt x="26" y="135"/>
                  </a:lnTo>
                  <a:lnTo>
                    <a:pt x="26" y="130"/>
                  </a:lnTo>
                  <a:lnTo>
                    <a:pt x="17" y="123"/>
                  </a:lnTo>
                  <a:lnTo>
                    <a:pt x="15" y="122"/>
                  </a:lnTo>
                  <a:lnTo>
                    <a:pt x="6" y="107"/>
                  </a:lnTo>
                  <a:lnTo>
                    <a:pt x="0" y="101"/>
                  </a:lnTo>
                  <a:lnTo>
                    <a:pt x="0" y="95"/>
                  </a:lnTo>
                  <a:lnTo>
                    <a:pt x="4" y="84"/>
                  </a:lnTo>
                  <a:lnTo>
                    <a:pt x="9" y="75"/>
                  </a:lnTo>
                  <a:lnTo>
                    <a:pt x="9" y="60"/>
                  </a:lnTo>
                  <a:lnTo>
                    <a:pt x="10" y="58"/>
                  </a:lnTo>
                  <a:lnTo>
                    <a:pt x="11" y="55"/>
                  </a:lnTo>
                  <a:lnTo>
                    <a:pt x="15" y="53"/>
                  </a:lnTo>
                  <a:lnTo>
                    <a:pt x="22" y="50"/>
                  </a:lnTo>
                  <a:lnTo>
                    <a:pt x="32" y="50"/>
                  </a:lnTo>
                  <a:lnTo>
                    <a:pt x="38" y="49"/>
                  </a:lnTo>
                  <a:lnTo>
                    <a:pt x="39" y="46"/>
                  </a:lnTo>
                  <a:lnTo>
                    <a:pt x="46" y="39"/>
                  </a:lnTo>
                  <a:lnTo>
                    <a:pt x="46" y="32"/>
                  </a:lnTo>
                  <a:lnTo>
                    <a:pt x="44" y="32"/>
                  </a:lnTo>
                  <a:lnTo>
                    <a:pt x="42" y="30"/>
                  </a:lnTo>
                  <a:lnTo>
                    <a:pt x="43" y="26"/>
                  </a:lnTo>
                  <a:lnTo>
                    <a:pt x="50" y="15"/>
                  </a:lnTo>
                  <a:lnTo>
                    <a:pt x="57" y="9"/>
                  </a:lnTo>
                  <a:lnTo>
                    <a:pt x="58" y="6"/>
                  </a:lnTo>
                  <a:lnTo>
                    <a:pt x="62" y="5"/>
                  </a:lnTo>
                  <a:lnTo>
                    <a:pt x="66" y="0"/>
                  </a:lnTo>
                  <a:lnTo>
                    <a:pt x="71" y="0"/>
                  </a:lnTo>
                  <a:lnTo>
                    <a:pt x="95" y="6"/>
                  </a:lnTo>
                  <a:lnTo>
                    <a:pt x="114" y="6"/>
                  </a:lnTo>
                  <a:lnTo>
                    <a:pt x="139" y="1"/>
                  </a:lnTo>
                  <a:lnTo>
                    <a:pt x="154" y="3"/>
                  </a:lnTo>
                  <a:lnTo>
                    <a:pt x="166" y="1"/>
                  </a:lnTo>
                  <a:lnTo>
                    <a:pt x="168" y="0"/>
                  </a:lnTo>
                  <a:lnTo>
                    <a:pt x="175" y="0"/>
                  </a:lnTo>
                  <a:lnTo>
                    <a:pt x="200" y="3"/>
                  </a:lnTo>
                  <a:lnTo>
                    <a:pt x="225" y="10"/>
                  </a:lnTo>
                  <a:lnTo>
                    <a:pt x="225" y="11"/>
                  </a:lnTo>
                  <a:lnTo>
                    <a:pt x="225" y="22"/>
                  </a:lnTo>
                  <a:lnTo>
                    <a:pt x="222" y="25"/>
                  </a:lnTo>
                  <a:lnTo>
                    <a:pt x="222" y="27"/>
                  </a:lnTo>
                  <a:lnTo>
                    <a:pt x="218" y="33"/>
                  </a:lnTo>
                  <a:lnTo>
                    <a:pt x="210" y="39"/>
                  </a:lnTo>
                  <a:lnTo>
                    <a:pt x="206" y="49"/>
                  </a:lnTo>
                  <a:lnTo>
                    <a:pt x="206" y="71"/>
                  </a:lnTo>
                  <a:lnTo>
                    <a:pt x="208" y="90"/>
                  </a:lnTo>
                  <a:lnTo>
                    <a:pt x="211" y="101"/>
                  </a:lnTo>
                  <a:lnTo>
                    <a:pt x="220" y="114"/>
                  </a:lnTo>
                  <a:lnTo>
                    <a:pt x="220" y="116"/>
                  </a:lnTo>
                  <a:lnTo>
                    <a:pt x="221" y="117"/>
                  </a:lnTo>
                  <a:lnTo>
                    <a:pt x="226" y="125"/>
                  </a:lnTo>
                  <a:lnTo>
                    <a:pt x="225" y="140"/>
                  </a:lnTo>
                  <a:lnTo>
                    <a:pt x="220" y="162"/>
                  </a:lnTo>
                  <a:lnTo>
                    <a:pt x="218" y="181"/>
                  </a:lnTo>
                  <a:lnTo>
                    <a:pt x="216" y="184"/>
                  </a:lnTo>
                  <a:lnTo>
                    <a:pt x="203" y="19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34" name="Venezuela"/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 bwMode="gray">
            <a:xfrm rot="20552049">
              <a:off x="2754406" y="4325447"/>
              <a:ext cx="9362" cy="9362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69" y="17"/>
                </a:cxn>
                <a:cxn ang="0">
                  <a:pos x="183" y="54"/>
                </a:cxn>
                <a:cxn ang="0">
                  <a:pos x="114" y="93"/>
                </a:cxn>
                <a:cxn ang="0">
                  <a:pos x="86" y="86"/>
                </a:cxn>
                <a:cxn ang="0">
                  <a:pos x="66" y="72"/>
                </a:cxn>
                <a:cxn ang="0">
                  <a:pos x="14" y="72"/>
                </a:cxn>
                <a:cxn ang="0">
                  <a:pos x="0" y="41"/>
                </a:cxn>
                <a:cxn ang="0">
                  <a:pos x="24" y="24"/>
                </a:cxn>
                <a:cxn ang="0">
                  <a:pos x="54" y="24"/>
                </a:cxn>
                <a:cxn ang="0">
                  <a:pos x="83" y="44"/>
                </a:cxn>
                <a:cxn ang="0">
                  <a:pos x="148" y="0"/>
                </a:cxn>
              </a:cxnLst>
              <a:rect l="0" t="0" r="r" b="b"/>
              <a:pathLst>
                <a:path w="183" h="93">
                  <a:moveTo>
                    <a:pt x="148" y="0"/>
                  </a:moveTo>
                  <a:lnTo>
                    <a:pt x="169" y="17"/>
                  </a:lnTo>
                  <a:lnTo>
                    <a:pt x="183" y="54"/>
                  </a:lnTo>
                  <a:lnTo>
                    <a:pt x="114" y="93"/>
                  </a:lnTo>
                  <a:lnTo>
                    <a:pt x="86" y="86"/>
                  </a:lnTo>
                  <a:lnTo>
                    <a:pt x="66" y="72"/>
                  </a:lnTo>
                  <a:lnTo>
                    <a:pt x="14" y="72"/>
                  </a:lnTo>
                  <a:lnTo>
                    <a:pt x="0" y="41"/>
                  </a:lnTo>
                  <a:lnTo>
                    <a:pt x="24" y="24"/>
                  </a:lnTo>
                  <a:lnTo>
                    <a:pt x="54" y="24"/>
                  </a:lnTo>
                  <a:lnTo>
                    <a:pt x="83" y="44"/>
                  </a:lnTo>
                  <a:lnTo>
                    <a:pt x="14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35" name="Venezuela"/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 bwMode="gray">
            <a:xfrm rot="20552049">
              <a:off x="2667804" y="4313744"/>
              <a:ext cx="7022" cy="9362"/>
            </a:xfrm>
            <a:custGeom>
              <a:avLst/>
              <a:gdLst/>
              <a:ahLst/>
              <a:cxnLst>
                <a:cxn ang="0">
                  <a:pos x="24" y="37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5" y="41"/>
                </a:cxn>
                <a:cxn ang="0">
                  <a:pos x="24" y="72"/>
                </a:cxn>
                <a:cxn ang="0">
                  <a:pos x="101" y="102"/>
                </a:cxn>
                <a:cxn ang="0">
                  <a:pos x="101" y="85"/>
                </a:cxn>
                <a:cxn ang="0">
                  <a:pos x="59" y="68"/>
                </a:cxn>
                <a:cxn ang="0">
                  <a:pos x="24" y="37"/>
                </a:cxn>
              </a:cxnLst>
              <a:rect l="0" t="0" r="r" b="b"/>
              <a:pathLst>
                <a:path w="101" h="102">
                  <a:moveTo>
                    <a:pt x="24" y="37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5" y="41"/>
                  </a:lnTo>
                  <a:lnTo>
                    <a:pt x="24" y="72"/>
                  </a:lnTo>
                  <a:lnTo>
                    <a:pt x="101" y="102"/>
                  </a:lnTo>
                  <a:lnTo>
                    <a:pt x="101" y="85"/>
                  </a:lnTo>
                  <a:lnTo>
                    <a:pt x="59" y="68"/>
                  </a:lnTo>
                  <a:lnTo>
                    <a:pt x="24" y="3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36" name="Venezuela"/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 bwMode="gray">
            <a:xfrm rot="20552049">
              <a:off x="2679507" y="4311404"/>
              <a:ext cx="4681" cy="9362"/>
            </a:xfrm>
            <a:custGeom>
              <a:avLst/>
              <a:gdLst/>
              <a:ahLst/>
              <a:cxnLst>
                <a:cxn ang="0">
                  <a:pos x="20" y="17"/>
                </a:cxn>
                <a:cxn ang="0">
                  <a:pos x="0" y="0"/>
                </a:cxn>
                <a:cxn ang="0">
                  <a:pos x="13" y="26"/>
                </a:cxn>
                <a:cxn ang="0">
                  <a:pos x="38" y="51"/>
                </a:cxn>
                <a:cxn ang="0">
                  <a:pos x="52" y="82"/>
                </a:cxn>
                <a:cxn ang="0">
                  <a:pos x="62" y="85"/>
                </a:cxn>
                <a:cxn ang="0">
                  <a:pos x="69" y="38"/>
                </a:cxn>
                <a:cxn ang="0">
                  <a:pos x="52" y="23"/>
                </a:cxn>
                <a:cxn ang="0">
                  <a:pos x="20" y="17"/>
                </a:cxn>
              </a:cxnLst>
              <a:rect l="0" t="0" r="r" b="b"/>
              <a:pathLst>
                <a:path w="69" h="85">
                  <a:moveTo>
                    <a:pt x="20" y="17"/>
                  </a:moveTo>
                  <a:lnTo>
                    <a:pt x="0" y="0"/>
                  </a:lnTo>
                  <a:lnTo>
                    <a:pt x="13" y="26"/>
                  </a:lnTo>
                  <a:lnTo>
                    <a:pt x="38" y="51"/>
                  </a:lnTo>
                  <a:lnTo>
                    <a:pt x="52" y="82"/>
                  </a:lnTo>
                  <a:lnTo>
                    <a:pt x="62" y="85"/>
                  </a:lnTo>
                  <a:lnTo>
                    <a:pt x="69" y="38"/>
                  </a:lnTo>
                  <a:lnTo>
                    <a:pt x="52" y="23"/>
                  </a:lnTo>
                  <a:lnTo>
                    <a:pt x="20" y="1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37" name="Nicaragua"/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 bwMode="gray">
            <a:xfrm>
              <a:off x="2204364" y="4241186"/>
              <a:ext cx="110008" cy="110008"/>
            </a:xfrm>
            <a:custGeom>
              <a:avLst/>
              <a:gdLst/>
              <a:ahLst/>
              <a:cxnLst>
                <a:cxn ang="0">
                  <a:pos x="223" y="0"/>
                </a:cxn>
                <a:cxn ang="0">
                  <a:pos x="206" y="11"/>
                </a:cxn>
                <a:cxn ang="0">
                  <a:pos x="187" y="16"/>
                </a:cxn>
                <a:cxn ang="0">
                  <a:pos x="163" y="21"/>
                </a:cxn>
                <a:cxn ang="0">
                  <a:pos x="156" y="14"/>
                </a:cxn>
                <a:cxn ang="0">
                  <a:pos x="149" y="16"/>
                </a:cxn>
                <a:cxn ang="0">
                  <a:pos x="143" y="18"/>
                </a:cxn>
                <a:cxn ang="0">
                  <a:pos x="136" y="38"/>
                </a:cxn>
                <a:cxn ang="0">
                  <a:pos x="123" y="43"/>
                </a:cxn>
                <a:cxn ang="0">
                  <a:pos x="117" y="50"/>
                </a:cxn>
                <a:cxn ang="0">
                  <a:pos x="110" y="58"/>
                </a:cxn>
                <a:cxn ang="0">
                  <a:pos x="101" y="61"/>
                </a:cxn>
                <a:cxn ang="0">
                  <a:pos x="93" y="63"/>
                </a:cxn>
                <a:cxn ang="0">
                  <a:pos x="78" y="54"/>
                </a:cxn>
                <a:cxn ang="0">
                  <a:pos x="68" y="72"/>
                </a:cxn>
                <a:cxn ang="0">
                  <a:pos x="46" y="72"/>
                </a:cxn>
                <a:cxn ang="0">
                  <a:pos x="43" y="95"/>
                </a:cxn>
                <a:cxn ang="0">
                  <a:pos x="35" y="101"/>
                </a:cxn>
                <a:cxn ang="0">
                  <a:pos x="29" y="111"/>
                </a:cxn>
                <a:cxn ang="0">
                  <a:pos x="2" y="112"/>
                </a:cxn>
                <a:cxn ang="0">
                  <a:pos x="2" y="120"/>
                </a:cxn>
                <a:cxn ang="0">
                  <a:pos x="20" y="141"/>
                </a:cxn>
                <a:cxn ang="0">
                  <a:pos x="57" y="181"/>
                </a:cxn>
                <a:cxn ang="0">
                  <a:pos x="70" y="194"/>
                </a:cxn>
                <a:cxn ang="0">
                  <a:pos x="95" y="211"/>
                </a:cxn>
                <a:cxn ang="0">
                  <a:pos x="98" y="221"/>
                </a:cxn>
                <a:cxn ang="0">
                  <a:pos x="105" y="215"/>
                </a:cxn>
                <a:cxn ang="0">
                  <a:pos x="120" y="220"/>
                </a:cxn>
                <a:cxn ang="0">
                  <a:pos x="152" y="226"/>
                </a:cxn>
                <a:cxn ang="0">
                  <a:pos x="165" y="224"/>
                </a:cxn>
                <a:cxn ang="0">
                  <a:pos x="182" y="235"/>
                </a:cxn>
                <a:cxn ang="0">
                  <a:pos x="197" y="236"/>
                </a:cxn>
                <a:cxn ang="0">
                  <a:pos x="214" y="231"/>
                </a:cxn>
                <a:cxn ang="0">
                  <a:pos x="212" y="224"/>
                </a:cxn>
                <a:cxn ang="0">
                  <a:pos x="204" y="200"/>
                </a:cxn>
                <a:cxn ang="0">
                  <a:pos x="212" y="181"/>
                </a:cxn>
                <a:cxn ang="0">
                  <a:pos x="219" y="117"/>
                </a:cxn>
                <a:cxn ang="0">
                  <a:pos x="231" y="43"/>
                </a:cxn>
                <a:cxn ang="0">
                  <a:pos x="234" y="0"/>
                </a:cxn>
              </a:cxnLst>
              <a:rect l="0" t="0" r="r" b="b"/>
              <a:pathLst>
                <a:path w="234" h="236">
                  <a:moveTo>
                    <a:pt x="234" y="0"/>
                  </a:moveTo>
                  <a:lnTo>
                    <a:pt x="223" y="0"/>
                  </a:lnTo>
                  <a:lnTo>
                    <a:pt x="209" y="6"/>
                  </a:lnTo>
                  <a:lnTo>
                    <a:pt x="206" y="11"/>
                  </a:lnTo>
                  <a:lnTo>
                    <a:pt x="197" y="16"/>
                  </a:lnTo>
                  <a:lnTo>
                    <a:pt x="187" y="16"/>
                  </a:lnTo>
                  <a:lnTo>
                    <a:pt x="180" y="21"/>
                  </a:lnTo>
                  <a:lnTo>
                    <a:pt x="163" y="21"/>
                  </a:lnTo>
                  <a:lnTo>
                    <a:pt x="160" y="18"/>
                  </a:lnTo>
                  <a:lnTo>
                    <a:pt x="156" y="14"/>
                  </a:lnTo>
                  <a:lnTo>
                    <a:pt x="150" y="12"/>
                  </a:lnTo>
                  <a:lnTo>
                    <a:pt x="149" y="16"/>
                  </a:lnTo>
                  <a:lnTo>
                    <a:pt x="147" y="17"/>
                  </a:lnTo>
                  <a:lnTo>
                    <a:pt x="143" y="18"/>
                  </a:lnTo>
                  <a:lnTo>
                    <a:pt x="139" y="25"/>
                  </a:lnTo>
                  <a:lnTo>
                    <a:pt x="136" y="38"/>
                  </a:lnTo>
                  <a:lnTo>
                    <a:pt x="133" y="41"/>
                  </a:lnTo>
                  <a:lnTo>
                    <a:pt x="123" y="43"/>
                  </a:lnTo>
                  <a:lnTo>
                    <a:pt x="118" y="48"/>
                  </a:lnTo>
                  <a:lnTo>
                    <a:pt x="117" y="50"/>
                  </a:lnTo>
                  <a:lnTo>
                    <a:pt x="113" y="52"/>
                  </a:lnTo>
                  <a:lnTo>
                    <a:pt x="110" y="58"/>
                  </a:lnTo>
                  <a:lnTo>
                    <a:pt x="101" y="59"/>
                  </a:lnTo>
                  <a:lnTo>
                    <a:pt x="101" y="61"/>
                  </a:lnTo>
                  <a:lnTo>
                    <a:pt x="99" y="63"/>
                  </a:lnTo>
                  <a:lnTo>
                    <a:pt x="93" y="63"/>
                  </a:lnTo>
                  <a:lnTo>
                    <a:pt x="85" y="57"/>
                  </a:lnTo>
                  <a:lnTo>
                    <a:pt x="78" y="54"/>
                  </a:lnTo>
                  <a:lnTo>
                    <a:pt x="72" y="64"/>
                  </a:lnTo>
                  <a:lnTo>
                    <a:pt x="68" y="72"/>
                  </a:lnTo>
                  <a:lnTo>
                    <a:pt x="51" y="74"/>
                  </a:lnTo>
                  <a:lnTo>
                    <a:pt x="46" y="72"/>
                  </a:lnTo>
                  <a:lnTo>
                    <a:pt x="43" y="80"/>
                  </a:lnTo>
                  <a:lnTo>
                    <a:pt x="43" y="95"/>
                  </a:lnTo>
                  <a:lnTo>
                    <a:pt x="41" y="96"/>
                  </a:lnTo>
                  <a:lnTo>
                    <a:pt x="35" y="101"/>
                  </a:lnTo>
                  <a:lnTo>
                    <a:pt x="32" y="108"/>
                  </a:lnTo>
                  <a:lnTo>
                    <a:pt x="29" y="111"/>
                  </a:lnTo>
                  <a:lnTo>
                    <a:pt x="12" y="112"/>
                  </a:lnTo>
                  <a:lnTo>
                    <a:pt x="2" y="112"/>
                  </a:lnTo>
                  <a:lnTo>
                    <a:pt x="0" y="118"/>
                  </a:lnTo>
                  <a:lnTo>
                    <a:pt x="2" y="120"/>
                  </a:lnTo>
                  <a:lnTo>
                    <a:pt x="16" y="136"/>
                  </a:lnTo>
                  <a:lnTo>
                    <a:pt x="20" y="141"/>
                  </a:lnTo>
                  <a:lnTo>
                    <a:pt x="42" y="162"/>
                  </a:lnTo>
                  <a:lnTo>
                    <a:pt x="57" y="181"/>
                  </a:lnTo>
                  <a:lnTo>
                    <a:pt x="66" y="189"/>
                  </a:lnTo>
                  <a:lnTo>
                    <a:pt x="70" y="194"/>
                  </a:lnTo>
                  <a:lnTo>
                    <a:pt x="77" y="197"/>
                  </a:lnTo>
                  <a:lnTo>
                    <a:pt x="95" y="211"/>
                  </a:lnTo>
                  <a:lnTo>
                    <a:pt x="98" y="217"/>
                  </a:lnTo>
                  <a:lnTo>
                    <a:pt x="98" y="221"/>
                  </a:lnTo>
                  <a:lnTo>
                    <a:pt x="99" y="221"/>
                  </a:lnTo>
                  <a:lnTo>
                    <a:pt x="105" y="215"/>
                  </a:lnTo>
                  <a:lnTo>
                    <a:pt x="110" y="215"/>
                  </a:lnTo>
                  <a:lnTo>
                    <a:pt x="120" y="220"/>
                  </a:lnTo>
                  <a:lnTo>
                    <a:pt x="143" y="226"/>
                  </a:lnTo>
                  <a:lnTo>
                    <a:pt x="152" y="226"/>
                  </a:lnTo>
                  <a:lnTo>
                    <a:pt x="160" y="224"/>
                  </a:lnTo>
                  <a:lnTo>
                    <a:pt x="165" y="224"/>
                  </a:lnTo>
                  <a:lnTo>
                    <a:pt x="174" y="227"/>
                  </a:lnTo>
                  <a:lnTo>
                    <a:pt x="182" y="235"/>
                  </a:lnTo>
                  <a:lnTo>
                    <a:pt x="187" y="236"/>
                  </a:lnTo>
                  <a:lnTo>
                    <a:pt x="197" y="236"/>
                  </a:lnTo>
                  <a:lnTo>
                    <a:pt x="209" y="233"/>
                  </a:lnTo>
                  <a:lnTo>
                    <a:pt x="214" y="231"/>
                  </a:lnTo>
                  <a:lnTo>
                    <a:pt x="214" y="230"/>
                  </a:lnTo>
                  <a:lnTo>
                    <a:pt x="212" y="224"/>
                  </a:lnTo>
                  <a:lnTo>
                    <a:pt x="204" y="211"/>
                  </a:lnTo>
                  <a:lnTo>
                    <a:pt x="204" y="200"/>
                  </a:lnTo>
                  <a:lnTo>
                    <a:pt x="209" y="190"/>
                  </a:lnTo>
                  <a:lnTo>
                    <a:pt x="212" y="181"/>
                  </a:lnTo>
                  <a:lnTo>
                    <a:pt x="213" y="156"/>
                  </a:lnTo>
                  <a:lnTo>
                    <a:pt x="219" y="117"/>
                  </a:lnTo>
                  <a:lnTo>
                    <a:pt x="219" y="82"/>
                  </a:lnTo>
                  <a:lnTo>
                    <a:pt x="231" y="43"/>
                  </a:lnTo>
                  <a:lnTo>
                    <a:pt x="234" y="23"/>
                  </a:lnTo>
                  <a:lnTo>
                    <a:pt x="234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38" name="Panama"/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 bwMode="gray">
            <a:xfrm>
              <a:off x="2321394" y="4381622"/>
              <a:ext cx="149798" cy="63196"/>
            </a:xfrm>
            <a:custGeom>
              <a:avLst/>
              <a:gdLst/>
              <a:ahLst/>
              <a:cxnLst>
                <a:cxn ang="0">
                  <a:pos x="19" y="1"/>
                </a:cxn>
                <a:cxn ang="0">
                  <a:pos x="6" y="9"/>
                </a:cxn>
                <a:cxn ang="0">
                  <a:pos x="16" y="32"/>
                </a:cxn>
                <a:cxn ang="0">
                  <a:pos x="10" y="44"/>
                </a:cxn>
                <a:cxn ang="0">
                  <a:pos x="1" y="71"/>
                </a:cxn>
                <a:cxn ang="0">
                  <a:pos x="7" y="82"/>
                </a:cxn>
                <a:cxn ang="0">
                  <a:pos x="22" y="72"/>
                </a:cxn>
                <a:cxn ang="0">
                  <a:pos x="58" y="80"/>
                </a:cxn>
                <a:cxn ang="0">
                  <a:pos x="75" y="87"/>
                </a:cxn>
                <a:cxn ang="0">
                  <a:pos x="92" y="112"/>
                </a:cxn>
                <a:cxn ang="0">
                  <a:pos x="109" y="103"/>
                </a:cxn>
                <a:cxn ang="0">
                  <a:pos x="117" y="131"/>
                </a:cxn>
                <a:cxn ang="0">
                  <a:pos x="135" y="134"/>
                </a:cxn>
                <a:cxn ang="0">
                  <a:pos x="157" y="110"/>
                </a:cxn>
                <a:cxn ang="0">
                  <a:pos x="139" y="95"/>
                </a:cxn>
                <a:cxn ang="0">
                  <a:pos x="140" y="81"/>
                </a:cxn>
                <a:cxn ang="0">
                  <a:pos x="160" y="72"/>
                </a:cxn>
                <a:cxn ang="0">
                  <a:pos x="187" y="43"/>
                </a:cxn>
                <a:cxn ang="0">
                  <a:pos x="201" y="34"/>
                </a:cxn>
                <a:cxn ang="0">
                  <a:pos x="222" y="45"/>
                </a:cxn>
                <a:cxn ang="0">
                  <a:pos x="260" y="63"/>
                </a:cxn>
                <a:cxn ang="0">
                  <a:pos x="273" y="71"/>
                </a:cxn>
                <a:cxn ang="0">
                  <a:pos x="258" y="85"/>
                </a:cxn>
                <a:cxn ang="0">
                  <a:pos x="261" y="110"/>
                </a:cxn>
                <a:cxn ang="0">
                  <a:pos x="281" y="128"/>
                </a:cxn>
                <a:cxn ang="0">
                  <a:pos x="290" y="109"/>
                </a:cxn>
                <a:cxn ang="0">
                  <a:pos x="302" y="109"/>
                </a:cxn>
                <a:cxn ang="0">
                  <a:pos x="318" y="87"/>
                </a:cxn>
                <a:cxn ang="0">
                  <a:pos x="313" y="77"/>
                </a:cxn>
                <a:cxn ang="0">
                  <a:pos x="304" y="66"/>
                </a:cxn>
                <a:cxn ang="0">
                  <a:pos x="297" y="48"/>
                </a:cxn>
                <a:cxn ang="0">
                  <a:pos x="266" y="18"/>
                </a:cxn>
                <a:cxn ang="0">
                  <a:pos x="231" y="11"/>
                </a:cxn>
                <a:cxn ang="0">
                  <a:pos x="189" y="1"/>
                </a:cxn>
                <a:cxn ang="0">
                  <a:pos x="176" y="11"/>
                </a:cxn>
                <a:cxn ang="0">
                  <a:pos x="164" y="31"/>
                </a:cxn>
                <a:cxn ang="0">
                  <a:pos x="156" y="20"/>
                </a:cxn>
                <a:cxn ang="0">
                  <a:pos x="118" y="36"/>
                </a:cxn>
                <a:cxn ang="0">
                  <a:pos x="101" y="44"/>
                </a:cxn>
                <a:cxn ang="0">
                  <a:pos x="71" y="34"/>
                </a:cxn>
                <a:cxn ang="0">
                  <a:pos x="45" y="23"/>
                </a:cxn>
                <a:cxn ang="0">
                  <a:pos x="35" y="7"/>
                </a:cxn>
              </a:cxnLst>
              <a:rect l="0" t="0" r="r" b="b"/>
              <a:pathLst>
                <a:path w="318" h="135">
                  <a:moveTo>
                    <a:pt x="23" y="0"/>
                  </a:moveTo>
                  <a:lnTo>
                    <a:pt x="22" y="1"/>
                  </a:lnTo>
                  <a:lnTo>
                    <a:pt x="19" y="1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6" y="9"/>
                  </a:lnTo>
                  <a:lnTo>
                    <a:pt x="5" y="23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15" y="37"/>
                  </a:lnTo>
                  <a:lnTo>
                    <a:pt x="11" y="40"/>
                  </a:lnTo>
                  <a:lnTo>
                    <a:pt x="10" y="44"/>
                  </a:lnTo>
                  <a:lnTo>
                    <a:pt x="10" y="56"/>
                  </a:lnTo>
                  <a:lnTo>
                    <a:pt x="8" y="61"/>
                  </a:lnTo>
                  <a:lnTo>
                    <a:pt x="1" y="71"/>
                  </a:lnTo>
                  <a:lnTo>
                    <a:pt x="0" y="71"/>
                  </a:lnTo>
                  <a:lnTo>
                    <a:pt x="6" y="82"/>
                  </a:lnTo>
                  <a:lnTo>
                    <a:pt x="7" y="82"/>
                  </a:lnTo>
                  <a:lnTo>
                    <a:pt x="10" y="75"/>
                  </a:lnTo>
                  <a:lnTo>
                    <a:pt x="12" y="72"/>
                  </a:lnTo>
                  <a:lnTo>
                    <a:pt x="22" y="72"/>
                  </a:lnTo>
                  <a:lnTo>
                    <a:pt x="40" y="75"/>
                  </a:lnTo>
                  <a:lnTo>
                    <a:pt x="48" y="76"/>
                  </a:lnTo>
                  <a:lnTo>
                    <a:pt x="58" y="80"/>
                  </a:lnTo>
                  <a:lnTo>
                    <a:pt x="67" y="81"/>
                  </a:lnTo>
                  <a:lnTo>
                    <a:pt x="70" y="82"/>
                  </a:lnTo>
                  <a:lnTo>
                    <a:pt x="75" y="87"/>
                  </a:lnTo>
                  <a:lnTo>
                    <a:pt x="78" y="96"/>
                  </a:lnTo>
                  <a:lnTo>
                    <a:pt x="85" y="103"/>
                  </a:lnTo>
                  <a:lnTo>
                    <a:pt x="92" y="112"/>
                  </a:lnTo>
                  <a:lnTo>
                    <a:pt x="98" y="112"/>
                  </a:lnTo>
                  <a:lnTo>
                    <a:pt x="103" y="106"/>
                  </a:lnTo>
                  <a:lnTo>
                    <a:pt x="109" y="103"/>
                  </a:lnTo>
                  <a:lnTo>
                    <a:pt x="113" y="112"/>
                  </a:lnTo>
                  <a:lnTo>
                    <a:pt x="113" y="122"/>
                  </a:lnTo>
                  <a:lnTo>
                    <a:pt x="117" y="131"/>
                  </a:lnTo>
                  <a:lnTo>
                    <a:pt x="118" y="134"/>
                  </a:lnTo>
                  <a:lnTo>
                    <a:pt x="130" y="135"/>
                  </a:lnTo>
                  <a:lnTo>
                    <a:pt x="135" y="134"/>
                  </a:lnTo>
                  <a:lnTo>
                    <a:pt x="152" y="124"/>
                  </a:lnTo>
                  <a:lnTo>
                    <a:pt x="160" y="117"/>
                  </a:lnTo>
                  <a:lnTo>
                    <a:pt x="157" y="110"/>
                  </a:lnTo>
                  <a:lnTo>
                    <a:pt x="152" y="107"/>
                  </a:lnTo>
                  <a:lnTo>
                    <a:pt x="148" y="102"/>
                  </a:lnTo>
                  <a:lnTo>
                    <a:pt x="139" y="95"/>
                  </a:lnTo>
                  <a:lnTo>
                    <a:pt x="137" y="91"/>
                  </a:lnTo>
                  <a:lnTo>
                    <a:pt x="137" y="87"/>
                  </a:lnTo>
                  <a:lnTo>
                    <a:pt x="140" y="81"/>
                  </a:lnTo>
                  <a:lnTo>
                    <a:pt x="148" y="75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8" y="68"/>
                  </a:lnTo>
                  <a:lnTo>
                    <a:pt x="177" y="58"/>
                  </a:lnTo>
                  <a:lnTo>
                    <a:pt x="187" y="43"/>
                  </a:lnTo>
                  <a:lnTo>
                    <a:pt x="189" y="39"/>
                  </a:lnTo>
                  <a:lnTo>
                    <a:pt x="190" y="38"/>
                  </a:lnTo>
                  <a:lnTo>
                    <a:pt x="201" y="34"/>
                  </a:lnTo>
                  <a:lnTo>
                    <a:pt x="205" y="34"/>
                  </a:lnTo>
                  <a:lnTo>
                    <a:pt x="209" y="36"/>
                  </a:lnTo>
                  <a:lnTo>
                    <a:pt x="222" y="45"/>
                  </a:lnTo>
                  <a:lnTo>
                    <a:pt x="241" y="54"/>
                  </a:lnTo>
                  <a:lnTo>
                    <a:pt x="252" y="66"/>
                  </a:lnTo>
                  <a:lnTo>
                    <a:pt x="260" y="63"/>
                  </a:lnTo>
                  <a:lnTo>
                    <a:pt x="266" y="63"/>
                  </a:lnTo>
                  <a:lnTo>
                    <a:pt x="273" y="68"/>
                  </a:lnTo>
                  <a:lnTo>
                    <a:pt x="273" y="71"/>
                  </a:lnTo>
                  <a:lnTo>
                    <a:pt x="269" y="71"/>
                  </a:lnTo>
                  <a:lnTo>
                    <a:pt x="259" y="80"/>
                  </a:lnTo>
                  <a:lnTo>
                    <a:pt x="258" y="85"/>
                  </a:lnTo>
                  <a:lnTo>
                    <a:pt x="257" y="93"/>
                  </a:lnTo>
                  <a:lnTo>
                    <a:pt x="258" y="104"/>
                  </a:lnTo>
                  <a:lnTo>
                    <a:pt x="261" y="110"/>
                  </a:lnTo>
                  <a:lnTo>
                    <a:pt x="273" y="123"/>
                  </a:lnTo>
                  <a:lnTo>
                    <a:pt x="280" y="128"/>
                  </a:lnTo>
                  <a:lnTo>
                    <a:pt x="281" y="128"/>
                  </a:lnTo>
                  <a:lnTo>
                    <a:pt x="281" y="123"/>
                  </a:lnTo>
                  <a:lnTo>
                    <a:pt x="290" y="117"/>
                  </a:lnTo>
                  <a:lnTo>
                    <a:pt x="290" y="109"/>
                  </a:lnTo>
                  <a:lnTo>
                    <a:pt x="293" y="108"/>
                  </a:lnTo>
                  <a:lnTo>
                    <a:pt x="298" y="112"/>
                  </a:lnTo>
                  <a:lnTo>
                    <a:pt x="302" y="109"/>
                  </a:lnTo>
                  <a:lnTo>
                    <a:pt x="312" y="96"/>
                  </a:lnTo>
                  <a:lnTo>
                    <a:pt x="318" y="91"/>
                  </a:lnTo>
                  <a:lnTo>
                    <a:pt x="318" y="87"/>
                  </a:lnTo>
                  <a:lnTo>
                    <a:pt x="314" y="85"/>
                  </a:lnTo>
                  <a:lnTo>
                    <a:pt x="313" y="83"/>
                  </a:lnTo>
                  <a:lnTo>
                    <a:pt x="313" y="77"/>
                  </a:lnTo>
                  <a:lnTo>
                    <a:pt x="309" y="71"/>
                  </a:lnTo>
                  <a:lnTo>
                    <a:pt x="304" y="68"/>
                  </a:lnTo>
                  <a:lnTo>
                    <a:pt x="304" y="66"/>
                  </a:lnTo>
                  <a:lnTo>
                    <a:pt x="306" y="58"/>
                  </a:lnTo>
                  <a:lnTo>
                    <a:pt x="307" y="54"/>
                  </a:lnTo>
                  <a:lnTo>
                    <a:pt x="297" y="48"/>
                  </a:lnTo>
                  <a:lnTo>
                    <a:pt x="287" y="37"/>
                  </a:lnTo>
                  <a:lnTo>
                    <a:pt x="284" y="33"/>
                  </a:lnTo>
                  <a:lnTo>
                    <a:pt x="266" y="18"/>
                  </a:lnTo>
                  <a:lnTo>
                    <a:pt x="257" y="15"/>
                  </a:lnTo>
                  <a:lnTo>
                    <a:pt x="244" y="11"/>
                  </a:lnTo>
                  <a:lnTo>
                    <a:pt x="231" y="11"/>
                  </a:lnTo>
                  <a:lnTo>
                    <a:pt x="218" y="7"/>
                  </a:lnTo>
                  <a:lnTo>
                    <a:pt x="209" y="1"/>
                  </a:lnTo>
                  <a:lnTo>
                    <a:pt x="189" y="1"/>
                  </a:lnTo>
                  <a:lnTo>
                    <a:pt x="184" y="2"/>
                  </a:lnTo>
                  <a:lnTo>
                    <a:pt x="182" y="4"/>
                  </a:lnTo>
                  <a:lnTo>
                    <a:pt x="176" y="11"/>
                  </a:lnTo>
                  <a:lnTo>
                    <a:pt x="174" y="27"/>
                  </a:lnTo>
                  <a:lnTo>
                    <a:pt x="167" y="31"/>
                  </a:lnTo>
                  <a:lnTo>
                    <a:pt x="164" y="31"/>
                  </a:lnTo>
                  <a:lnTo>
                    <a:pt x="164" y="21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37" y="31"/>
                  </a:lnTo>
                  <a:lnTo>
                    <a:pt x="121" y="33"/>
                  </a:lnTo>
                  <a:lnTo>
                    <a:pt x="118" y="36"/>
                  </a:lnTo>
                  <a:lnTo>
                    <a:pt x="110" y="43"/>
                  </a:lnTo>
                  <a:lnTo>
                    <a:pt x="105" y="44"/>
                  </a:lnTo>
                  <a:lnTo>
                    <a:pt x="101" y="44"/>
                  </a:lnTo>
                  <a:lnTo>
                    <a:pt x="92" y="43"/>
                  </a:lnTo>
                  <a:lnTo>
                    <a:pt x="75" y="36"/>
                  </a:lnTo>
                  <a:lnTo>
                    <a:pt x="71" y="34"/>
                  </a:lnTo>
                  <a:lnTo>
                    <a:pt x="48" y="34"/>
                  </a:lnTo>
                  <a:lnTo>
                    <a:pt x="45" y="28"/>
                  </a:lnTo>
                  <a:lnTo>
                    <a:pt x="45" y="23"/>
                  </a:lnTo>
                  <a:lnTo>
                    <a:pt x="39" y="20"/>
                  </a:lnTo>
                  <a:lnTo>
                    <a:pt x="37" y="9"/>
                  </a:lnTo>
                  <a:lnTo>
                    <a:pt x="35" y="7"/>
                  </a:lnTo>
                  <a:lnTo>
                    <a:pt x="27" y="5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39" name="Guatemala"/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 bwMode="gray">
            <a:xfrm>
              <a:off x="2084993" y="4166286"/>
              <a:ext cx="100646" cy="110008"/>
            </a:xfrm>
            <a:custGeom>
              <a:avLst/>
              <a:gdLst/>
              <a:ahLst/>
              <a:cxnLst>
                <a:cxn ang="0">
                  <a:pos x="71" y="1"/>
                </a:cxn>
                <a:cxn ang="0">
                  <a:pos x="39" y="28"/>
                </a:cxn>
                <a:cxn ang="0">
                  <a:pos x="63" y="52"/>
                </a:cxn>
                <a:cxn ang="0">
                  <a:pos x="82" y="71"/>
                </a:cxn>
                <a:cxn ang="0">
                  <a:pos x="95" y="84"/>
                </a:cxn>
                <a:cxn ang="0">
                  <a:pos x="93" y="100"/>
                </a:cxn>
                <a:cxn ang="0">
                  <a:pos x="69" y="99"/>
                </a:cxn>
                <a:cxn ang="0">
                  <a:pos x="16" y="138"/>
                </a:cxn>
                <a:cxn ang="0">
                  <a:pos x="9" y="152"/>
                </a:cxn>
                <a:cxn ang="0">
                  <a:pos x="5" y="158"/>
                </a:cxn>
                <a:cxn ang="0">
                  <a:pos x="6" y="168"/>
                </a:cxn>
                <a:cxn ang="0">
                  <a:pos x="2" y="186"/>
                </a:cxn>
                <a:cxn ang="0">
                  <a:pos x="2" y="191"/>
                </a:cxn>
                <a:cxn ang="0">
                  <a:pos x="9" y="196"/>
                </a:cxn>
                <a:cxn ang="0">
                  <a:pos x="17" y="204"/>
                </a:cxn>
                <a:cxn ang="0">
                  <a:pos x="37" y="217"/>
                </a:cxn>
                <a:cxn ang="0">
                  <a:pos x="55" y="226"/>
                </a:cxn>
                <a:cxn ang="0">
                  <a:pos x="86" y="227"/>
                </a:cxn>
                <a:cxn ang="0">
                  <a:pos x="112" y="232"/>
                </a:cxn>
                <a:cxn ang="0">
                  <a:pos x="119" y="232"/>
                </a:cxn>
                <a:cxn ang="0">
                  <a:pos x="134" y="220"/>
                </a:cxn>
                <a:cxn ang="0">
                  <a:pos x="145" y="211"/>
                </a:cxn>
                <a:cxn ang="0">
                  <a:pos x="149" y="199"/>
                </a:cxn>
                <a:cxn ang="0">
                  <a:pos x="155" y="194"/>
                </a:cxn>
                <a:cxn ang="0">
                  <a:pos x="165" y="184"/>
                </a:cxn>
                <a:cxn ang="0">
                  <a:pos x="163" y="175"/>
                </a:cxn>
                <a:cxn ang="0">
                  <a:pos x="162" y="169"/>
                </a:cxn>
                <a:cxn ang="0">
                  <a:pos x="172" y="159"/>
                </a:cxn>
                <a:cxn ang="0">
                  <a:pos x="177" y="157"/>
                </a:cxn>
                <a:cxn ang="0">
                  <a:pos x="208" y="134"/>
                </a:cxn>
                <a:cxn ang="0">
                  <a:pos x="212" y="124"/>
                </a:cxn>
                <a:cxn ang="0">
                  <a:pos x="211" y="121"/>
                </a:cxn>
                <a:cxn ang="0">
                  <a:pos x="209" y="118"/>
                </a:cxn>
                <a:cxn ang="0">
                  <a:pos x="195" y="121"/>
                </a:cxn>
                <a:cxn ang="0">
                  <a:pos x="187" y="116"/>
                </a:cxn>
                <a:cxn ang="0">
                  <a:pos x="184" y="111"/>
                </a:cxn>
                <a:cxn ang="0">
                  <a:pos x="163" y="108"/>
                </a:cxn>
                <a:cxn ang="0">
                  <a:pos x="166" y="72"/>
                </a:cxn>
              </a:cxnLst>
              <a:rect l="0" t="0" r="r" b="b"/>
              <a:pathLst>
                <a:path w="212" h="235">
                  <a:moveTo>
                    <a:pt x="166" y="0"/>
                  </a:moveTo>
                  <a:lnTo>
                    <a:pt x="71" y="1"/>
                  </a:lnTo>
                  <a:lnTo>
                    <a:pt x="71" y="28"/>
                  </a:lnTo>
                  <a:lnTo>
                    <a:pt x="39" y="28"/>
                  </a:lnTo>
                  <a:lnTo>
                    <a:pt x="37" y="27"/>
                  </a:lnTo>
                  <a:lnTo>
                    <a:pt x="63" y="52"/>
                  </a:lnTo>
                  <a:lnTo>
                    <a:pt x="79" y="62"/>
                  </a:lnTo>
                  <a:lnTo>
                    <a:pt x="82" y="71"/>
                  </a:lnTo>
                  <a:lnTo>
                    <a:pt x="92" y="79"/>
                  </a:lnTo>
                  <a:lnTo>
                    <a:pt x="95" y="84"/>
                  </a:lnTo>
                  <a:lnTo>
                    <a:pt x="93" y="99"/>
                  </a:lnTo>
                  <a:lnTo>
                    <a:pt x="93" y="100"/>
                  </a:lnTo>
                  <a:lnTo>
                    <a:pt x="92" y="99"/>
                  </a:lnTo>
                  <a:lnTo>
                    <a:pt x="69" y="99"/>
                  </a:lnTo>
                  <a:lnTo>
                    <a:pt x="39" y="102"/>
                  </a:lnTo>
                  <a:lnTo>
                    <a:pt x="16" y="138"/>
                  </a:lnTo>
                  <a:lnTo>
                    <a:pt x="15" y="142"/>
                  </a:lnTo>
                  <a:lnTo>
                    <a:pt x="9" y="152"/>
                  </a:lnTo>
                  <a:lnTo>
                    <a:pt x="6" y="157"/>
                  </a:lnTo>
                  <a:lnTo>
                    <a:pt x="5" y="158"/>
                  </a:lnTo>
                  <a:lnTo>
                    <a:pt x="7" y="165"/>
                  </a:lnTo>
                  <a:lnTo>
                    <a:pt x="6" y="168"/>
                  </a:lnTo>
                  <a:lnTo>
                    <a:pt x="4" y="170"/>
                  </a:lnTo>
                  <a:lnTo>
                    <a:pt x="2" y="186"/>
                  </a:lnTo>
                  <a:lnTo>
                    <a:pt x="0" y="188"/>
                  </a:lnTo>
                  <a:lnTo>
                    <a:pt x="2" y="191"/>
                  </a:lnTo>
                  <a:lnTo>
                    <a:pt x="7" y="195"/>
                  </a:lnTo>
                  <a:lnTo>
                    <a:pt x="9" y="196"/>
                  </a:lnTo>
                  <a:lnTo>
                    <a:pt x="16" y="201"/>
                  </a:lnTo>
                  <a:lnTo>
                    <a:pt x="17" y="204"/>
                  </a:lnTo>
                  <a:lnTo>
                    <a:pt x="31" y="213"/>
                  </a:lnTo>
                  <a:lnTo>
                    <a:pt x="37" y="217"/>
                  </a:lnTo>
                  <a:lnTo>
                    <a:pt x="47" y="222"/>
                  </a:lnTo>
                  <a:lnTo>
                    <a:pt x="55" y="226"/>
                  </a:lnTo>
                  <a:lnTo>
                    <a:pt x="66" y="227"/>
                  </a:lnTo>
                  <a:lnTo>
                    <a:pt x="86" y="227"/>
                  </a:lnTo>
                  <a:lnTo>
                    <a:pt x="96" y="228"/>
                  </a:lnTo>
                  <a:lnTo>
                    <a:pt x="112" y="232"/>
                  </a:lnTo>
                  <a:lnTo>
                    <a:pt x="119" y="235"/>
                  </a:lnTo>
                  <a:lnTo>
                    <a:pt x="119" y="232"/>
                  </a:lnTo>
                  <a:lnTo>
                    <a:pt x="125" y="222"/>
                  </a:lnTo>
                  <a:lnTo>
                    <a:pt x="134" y="220"/>
                  </a:lnTo>
                  <a:lnTo>
                    <a:pt x="138" y="213"/>
                  </a:lnTo>
                  <a:lnTo>
                    <a:pt x="145" y="211"/>
                  </a:lnTo>
                  <a:lnTo>
                    <a:pt x="147" y="206"/>
                  </a:lnTo>
                  <a:lnTo>
                    <a:pt x="149" y="199"/>
                  </a:lnTo>
                  <a:lnTo>
                    <a:pt x="152" y="195"/>
                  </a:lnTo>
                  <a:lnTo>
                    <a:pt x="155" y="194"/>
                  </a:lnTo>
                  <a:lnTo>
                    <a:pt x="156" y="189"/>
                  </a:lnTo>
                  <a:lnTo>
                    <a:pt x="165" y="184"/>
                  </a:lnTo>
                  <a:lnTo>
                    <a:pt x="165" y="180"/>
                  </a:lnTo>
                  <a:lnTo>
                    <a:pt x="163" y="175"/>
                  </a:lnTo>
                  <a:lnTo>
                    <a:pt x="162" y="174"/>
                  </a:lnTo>
                  <a:lnTo>
                    <a:pt x="162" y="169"/>
                  </a:lnTo>
                  <a:lnTo>
                    <a:pt x="163" y="165"/>
                  </a:lnTo>
                  <a:lnTo>
                    <a:pt x="172" y="159"/>
                  </a:lnTo>
                  <a:lnTo>
                    <a:pt x="173" y="158"/>
                  </a:lnTo>
                  <a:lnTo>
                    <a:pt x="177" y="157"/>
                  </a:lnTo>
                  <a:lnTo>
                    <a:pt x="189" y="146"/>
                  </a:lnTo>
                  <a:lnTo>
                    <a:pt x="208" y="134"/>
                  </a:lnTo>
                  <a:lnTo>
                    <a:pt x="211" y="127"/>
                  </a:lnTo>
                  <a:lnTo>
                    <a:pt x="212" y="124"/>
                  </a:lnTo>
                  <a:lnTo>
                    <a:pt x="212" y="121"/>
                  </a:lnTo>
                  <a:lnTo>
                    <a:pt x="211" y="121"/>
                  </a:lnTo>
                  <a:lnTo>
                    <a:pt x="210" y="121"/>
                  </a:lnTo>
                  <a:lnTo>
                    <a:pt x="209" y="118"/>
                  </a:lnTo>
                  <a:lnTo>
                    <a:pt x="203" y="116"/>
                  </a:lnTo>
                  <a:lnTo>
                    <a:pt x="195" y="121"/>
                  </a:lnTo>
                  <a:lnTo>
                    <a:pt x="193" y="121"/>
                  </a:lnTo>
                  <a:lnTo>
                    <a:pt x="187" y="116"/>
                  </a:lnTo>
                  <a:lnTo>
                    <a:pt x="183" y="110"/>
                  </a:lnTo>
                  <a:lnTo>
                    <a:pt x="184" y="111"/>
                  </a:lnTo>
                  <a:lnTo>
                    <a:pt x="172" y="110"/>
                  </a:lnTo>
                  <a:lnTo>
                    <a:pt x="163" y="108"/>
                  </a:lnTo>
                  <a:lnTo>
                    <a:pt x="163" y="107"/>
                  </a:lnTo>
                  <a:lnTo>
                    <a:pt x="166" y="72"/>
                  </a:lnTo>
                  <a:lnTo>
                    <a:pt x="16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40" name="Belize"/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 bwMode="gray">
            <a:xfrm>
              <a:off x="2162233" y="4149902"/>
              <a:ext cx="28087" cy="67877"/>
            </a:xfrm>
            <a:custGeom>
              <a:avLst/>
              <a:gdLst/>
              <a:ahLst/>
              <a:cxnLst>
                <a:cxn ang="0">
                  <a:pos x="46" y="2"/>
                </a:cxn>
                <a:cxn ang="0">
                  <a:pos x="41" y="0"/>
                </a:cxn>
                <a:cxn ang="0">
                  <a:pos x="36" y="3"/>
                </a:cxn>
                <a:cxn ang="0">
                  <a:pos x="21" y="31"/>
                </a:cxn>
                <a:cxn ang="0">
                  <a:pos x="16" y="31"/>
                </a:cxn>
                <a:cxn ang="0">
                  <a:pos x="3" y="34"/>
                </a:cxn>
                <a:cxn ang="0">
                  <a:pos x="3" y="106"/>
                </a:cxn>
                <a:cxn ang="0">
                  <a:pos x="2" y="141"/>
                </a:cxn>
                <a:cxn ang="0">
                  <a:pos x="0" y="142"/>
                </a:cxn>
                <a:cxn ang="0">
                  <a:pos x="9" y="144"/>
                </a:cxn>
                <a:cxn ang="0">
                  <a:pos x="21" y="145"/>
                </a:cxn>
                <a:cxn ang="0">
                  <a:pos x="20" y="144"/>
                </a:cxn>
                <a:cxn ang="0">
                  <a:pos x="20" y="136"/>
                </a:cxn>
                <a:cxn ang="0">
                  <a:pos x="21" y="132"/>
                </a:cxn>
                <a:cxn ang="0">
                  <a:pos x="27" y="126"/>
                </a:cxn>
                <a:cxn ang="0">
                  <a:pos x="38" y="118"/>
                </a:cxn>
                <a:cxn ang="0">
                  <a:pos x="45" y="110"/>
                </a:cxn>
                <a:cxn ang="0">
                  <a:pos x="47" y="102"/>
                </a:cxn>
                <a:cxn ang="0">
                  <a:pos x="48" y="102"/>
                </a:cxn>
                <a:cxn ang="0">
                  <a:pos x="51" y="89"/>
                </a:cxn>
                <a:cxn ang="0">
                  <a:pos x="52" y="77"/>
                </a:cxn>
                <a:cxn ang="0">
                  <a:pos x="51" y="56"/>
                </a:cxn>
                <a:cxn ang="0">
                  <a:pos x="53" y="41"/>
                </a:cxn>
                <a:cxn ang="0">
                  <a:pos x="57" y="28"/>
                </a:cxn>
                <a:cxn ang="0">
                  <a:pos x="62" y="18"/>
                </a:cxn>
                <a:cxn ang="0">
                  <a:pos x="62" y="13"/>
                </a:cxn>
                <a:cxn ang="0">
                  <a:pos x="58" y="8"/>
                </a:cxn>
                <a:cxn ang="0">
                  <a:pos x="47" y="3"/>
                </a:cxn>
                <a:cxn ang="0">
                  <a:pos x="46" y="2"/>
                </a:cxn>
              </a:cxnLst>
              <a:rect l="0" t="0" r="r" b="b"/>
              <a:pathLst>
                <a:path w="62" h="145">
                  <a:moveTo>
                    <a:pt x="46" y="2"/>
                  </a:moveTo>
                  <a:lnTo>
                    <a:pt x="41" y="0"/>
                  </a:lnTo>
                  <a:lnTo>
                    <a:pt x="36" y="3"/>
                  </a:lnTo>
                  <a:lnTo>
                    <a:pt x="21" y="31"/>
                  </a:lnTo>
                  <a:lnTo>
                    <a:pt x="16" y="31"/>
                  </a:lnTo>
                  <a:lnTo>
                    <a:pt x="3" y="34"/>
                  </a:lnTo>
                  <a:lnTo>
                    <a:pt x="3" y="106"/>
                  </a:lnTo>
                  <a:lnTo>
                    <a:pt x="2" y="141"/>
                  </a:lnTo>
                  <a:lnTo>
                    <a:pt x="0" y="142"/>
                  </a:lnTo>
                  <a:lnTo>
                    <a:pt x="9" y="144"/>
                  </a:lnTo>
                  <a:lnTo>
                    <a:pt x="21" y="145"/>
                  </a:lnTo>
                  <a:lnTo>
                    <a:pt x="20" y="144"/>
                  </a:lnTo>
                  <a:lnTo>
                    <a:pt x="20" y="136"/>
                  </a:lnTo>
                  <a:lnTo>
                    <a:pt x="21" y="132"/>
                  </a:lnTo>
                  <a:lnTo>
                    <a:pt x="27" y="126"/>
                  </a:lnTo>
                  <a:lnTo>
                    <a:pt x="38" y="118"/>
                  </a:lnTo>
                  <a:lnTo>
                    <a:pt x="45" y="110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51" y="89"/>
                  </a:lnTo>
                  <a:lnTo>
                    <a:pt x="52" y="77"/>
                  </a:lnTo>
                  <a:lnTo>
                    <a:pt x="51" y="56"/>
                  </a:lnTo>
                  <a:lnTo>
                    <a:pt x="53" y="41"/>
                  </a:lnTo>
                  <a:lnTo>
                    <a:pt x="57" y="28"/>
                  </a:lnTo>
                  <a:lnTo>
                    <a:pt x="62" y="18"/>
                  </a:lnTo>
                  <a:lnTo>
                    <a:pt x="62" y="13"/>
                  </a:lnTo>
                  <a:lnTo>
                    <a:pt x="58" y="8"/>
                  </a:lnTo>
                  <a:lnTo>
                    <a:pt x="47" y="3"/>
                  </a:lnTo>
                  <a:lnTo>
                    <a:pt x="46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41" name="El Salvador"/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 bwMode="gray">
            <a:xfrm>
              <a:off x="2141168" y="4257570"/>
              <a:ext cx="58515" cy="32768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31" y="4"/>
                </a:cxn>
                <a:cxn ang="0">
                  <a:pos x="28" y="11"/>
                </a:cxn>
                <a:cxn ang="0">
                  <a:pos x="26" y="16"/>
                </a:cxn>
                <a:cxn ang="0">
                  <a:pos x="19" y="18"/>
                </a:cxn>
                <a:cxn ang="0">
                  <a:pos x="15" y="25"/>
                </a:cxn>
                <a:cxn ang="0">
                  <a:pos x="6" y="27"/>
                </a:cxn>
                <a:cxn ang="0">
                  <a:pos x="0" y="37"/>
                </a:cxn>
                <a:cxn ang="0">
                  <a:pos x="0" y="40"/>
                </a:cxn>
                <a:cxn ang="0">
                  <a:pos x="9" y="48"/>
                </a:cxn>
                <a:cxn ang="0">
                  <a:pos x="21" y="53"/>
                </a:cxn>
                <a:cxn ang="0">
                  <a:pos x="36" y="55"/>
                </a:cxn>
                <a:cxn ang="0">
                  <a:pos x="46" y="56"/>
                </a:cxn>
                <a:cxn ang="0">
                  <a:pos x="58" y="65"/>
                </a:cxn>
                <a:cxn ang="0">
                  <a:pos x="76" y="70"/>
                </a:cxn>
                <a:cxn ang="0">
                  <a:pos x="103" y="71"/>
                </a:cxn>
                <a:cxn ang="0">
                  <a:pos x="120" y="64"/>
                </a:cxn>
                <a:cxn ang="0">
                  <a:pos x="125" y="59"/>
                </a:cxn>
                <a:cxn ang="0">
                  <a:pos x="123" y="56"/>
                </a:cxn>
                <a:cxn ang="0">
                  <a:pos x="123" y="38"/>
                </a:cxn>
                <a:cxn ang="0">
                  <a:pos x="123" y="37"/>
                </a:cxn>
                <a:cxn ang="0">
                  <a:pos x="118" y="32"/>
                </a:cxn>
                <a:cxn ang="0">
                  <a:pos x="109" y="29"/>
                </a:cxn>
                <a:cxn ang="0">
                  <a:pos x="107" y="27"/>
                </a:cxn>
                <a:cxn ang="0">
                  <a:pos x="100" y="28"/>
                </a:cxn>
                <a:cxn ang="0">
                  <a:pos x="95" y="33"/>
                </a:cxn>
                <a:cxn ang="0">
                  <a:pos x="90" y="33"/>
                </a:cxn>
                <a:cxn ang="0">
                  <a:pos x="85" y="31"/>
                </a:cxn>
                <a:cxn ang="0">
                  <a:pos x="82" y="28"/>
                </a:cxn>
                <a:cxn ang="0">
                  <a:pos x="82" y="26"/>
                </a:cxn>
                <a:cxn ang="0">
                  <a:pos x="75" y="26"/>
                </a:cxn>
                <a:cxn ang="0">
                  <a:pos x="73" y="23"/>
                </a:cxn>
                <a:cxn ang="0">
                  <a:pos x="71" y="20"/>
                </a:cxn>
                <a:cxn ang="0">
                  <a:pos x="66" y="20"/>
                </a:cxn>
                <a:cxn ang="0">
                  <a:pos x="59" y="15"/>
                </a:cxn>
                <a:cxn ang="0">
                  <a:pos x="57" y="10"/>
                </a:cxn>
                <a:cxn ang="0">
                  <a:pos x="52" y="4"/>
                </a:cxn>
                <a:cxn ang="0">
                  <a:pos x="39" y="4"/>
                </a:cxn>
                <a:cxn ang="0">
                  <a:pos x="33" y="0"/>
                </a:cxn>
              </a:cxnLst>
              <a:rect l="0" t="0" r="r" b="b"/>
              <a:pathLst>
                <a:path w="125" h="71">
                  <a:moveTo>
                    <a:pt x="33" y="0"/>
                  </a:moveTo>
                  <a:lnTo>
                    <a:pt x="31" y="4"/>
                  </a:lnTo>
                  <a:lnTo>
                    <a:pt x="28" y="11"/>
                  </a:lnTo>
                  <a:lnTo>
                    <a:pt x="26" y="16"/>
                  </a:lnTo>
                  <a:lnTo>
                    <a:pt x="19" y="18"/>
                  </a:lnTo>
                  <a:lnTo>
                    <a:pt x="15" y="25"/>
                  </a:lnTo>
                  <a:lnTo>
                    <a:pt x="6" y="27"/>
                  </a:lnTo>
                  <a:lnTo>
                    <a:pt x="0" y="37"/>
                  </a:lnTo>
                  <a:lnTo>
                    <a:pt x="0" y="40"/>
                  </a:lnTo>
                  <a:lnTo>
                    <a:pt x="9" y="48"/>
                  </a:lnTo>
                  <a:lnTo>
                    <a:pt x="21" y="53"/>
                  </a:lnTo>
                  <a:lnTo>
                    <a:pt x="36" y="55"/>
                  </a:lnTo>
                  <a:lnTo>
                    <a:pt x="46" y="56"/>
                  </a:lnTo>
                  <a:lnTo>
                    <a:pt x="58" y="65"/>
                  </a:lnTo>
                  <a:lnTo>
                    <a:pt x="76" y="70"/>
                  </a:lnTo>
                  <a:lnTo>
                    <a:pt x="103" y="71"/>
                  </a:lnTo>
                  <a:lnTo>
                    <a:pt x="120" y="64"/>
                  </a:lnTo>
                  <a:lnTo>
                    <a:pt x="125" y="59"/>
                  </a:lnTo>
                  <a:lnTo>
                    <a:pt x="123" y="56"/>
                  </a:lnTo>
                  <a:lnTo>
                    <a:pt x="123" y="38"/>
                  </a:lnTo>
                  <a:lnTo>
                    <a:pt x="123" y="37"/>
                  </a:lnTo>
                  <a:lnTo>
                    <a:pt x="118" y="32"/>
                  </a:lnTo>
                  <a:lnTo>
                    <a:pt x="109" y="29"/>
                  </a:lnTo>
                  <a:lnTo>
                    <a:pt x="107" y="27"/>
                  </a:lnTo>
                  <a:lnTo>
                    <a:pt x="100" y="28"/>
                  </a:lnTo>
                  <a:lnTo>
                    <a:pt x="95" y="33"/>
                  </a:lnTo>
                  <a:lnTo>
                    <a:pt x="90" y="33"/>
                  </a:lnTo>
                  <a:lnTo>
                    <a:pt x="85" y="31"/>
                  </a:lnTo>
                  <a:lnTo>
                    <a:pt x="82" y="28"/>
                  </a:lnTo>
                  <a:lnTo>
                    <a:pt x="82" y="26"/>
                  </a:lnTo>
                  <a:lnTo>
                    <a:pt x="75" y="26"/>
                  </a:lnTo>
                  <a:lnTo>
                    <a:pt x="73" y="23"/>
                  </a:lnTo>
                  <a:lnTo>
                    <a:pt x="71" y="20"/>
                  </a:lnTo>
                  <a:lnTo>
                    <a:pt x="66" y="20"/>
                  </a:lnTo>
                  <a:lnTo>
                    <a:pt x="59" y="15"/>
                  </a:lnTo>
                  <a:lnTo>
                    <a:pt x="57" y="10"/>
                  </a:lnTo>
                  <a:lnTo>
                    <a:pt x="52" y="4"/>
                  </a:lnTo>
                  <a:lnTo>
                    <a:pt x="39" y="4"/>
                  </a:lnTo>
                  <a:lnTo>
                    <a:pt x="33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42" name="Costa Rica"/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 bwMode="gray">
            <a:xfrm>
              <a:off x="2248836" y="4341831"/>
              <a:ext cx="84262" cy="74899"/>
            </a:xfrm>
            <a:custGeom>
              <a:avLst/>
              <a:gdLst/>
              <a:ahLst/>
              <a:cxnLst>
                <a:cxn ang="0">
                  <a:pos x="118" y="18"/>
                </a:cxn>
                <a:cxn ang="0">
                  <a:pos x="94" y="21"/>
                </a:cxn>
                <a:cxn ang="0">
                  <a:pos x="81" y="12"/>
                </a:cxn>
                <a:cxn ang="0">
                  <a:pos x="67" y="9"/>
                </a:cxn>
                <a:cxn ang="0">
                  <a:pos x="50" y="11"/>
                </a:cxn>
                <a:cxn ang="0">
                  <a:pos x="17" y="0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6" y="21"/>
                </a:cxn>
                <a:cxn ang="0">
                  <a:pos x="2" y="36"/>
                </a:cxn>
                <a:cxn ang="0">
                  <a:pos x="3" y="53"/>
                </a:cxn>
                <a:cxn ang="0">
                  <a:pos x="11" y="66"/>
                </a:cxn>
                <a:cxn ang="0">
                  <a:pos x="23" y="71"/>
                </a:cxn>
                <a:cxn ang="0">
                  <a:pos x="39" y="82"/>
                </a:cxn>
                <a:cxn ang="0">
                  <a:pos x="45" y="85"/>
                </a:cxn>
                <a:cxn ang="0">
                  <a:pos x="49" y="69"/>
                </a:cxn>
                <a:cxn ang="0">
                  <a:pos x="39" y="61"/>
                </a:cxn>
                <a:cxn ang="0">
                  <a:pos x="51" y="60"/>
                </a:cxn>
                <a:cxn ang="0">
                  <a:pos x="65" y="77"/>
                </a:cxn>
                <a:cxn ang="0">
                  <a:pos x="76" y="92"/>
                </a:cxn>
                <a:cxn ang="0">
                  <a:pos x="106" y="104"/>
                </a:cxn>
                <a:cxn ang="0">
                  <a:pos x="121" y="142"/>
                </a:cxn>
                <a:cxn ang="0">
                  <a:pos x="130" y="149"/>
                </a:cxn>
                <a:cxn ang="0">
                  <a:pos x="141" y="150"/>
                </a:cxn>
                <a:cxn ang="0">
                  <a:pos x="140" y="136"/>
                </a:cxn>
                <a:cxn ang="0">
                  <a:pos x="145" y="139"/>
                </a:cxn>
                <a:cxn ang="0">
                  <a:pos x="154" y="156"/>
                </a:cxn>
                <a:cxn ang="0">
                  <a:pos x="158" y="157"/>
                </a:cxn>
                <a:cxn ang="0">
                  <a:pos x="168" y="142"/>
                </a:cxn>
                <a:cxn ang="0">
                  <a:pos x="168" y="126"/>
                </a:cxn>
                <a:cxn ang="0">
                  <a:pos x="173" y="118"/>
                </a:cxn>
                <a:cxn ang="0">
                  <a:pos x="162" y="109"/>
                </a:cxn>
                <a:cxn ang="0">
                  <a:pos x="170" y="86"/>
                </a:cxn>
                <a:cxn ang="0">
                  <a:pos x="176" y="87"/>
                </a:cxn>
                <a:cxn ang="0">
                  <a:pos x="180" y="86"/>
                </a:cxn>
                <a:cxn ang="0">
                  <a:pos x="161" y="72"/>
                </a:cxn>
                <a:cxn ang="0">
                  <a:pos x="133" y="43"/>
                </a:cxn>
                <a:cxn ang="0">
                  <a:pos x="125" y="25"/>
                </a:cxn>
                <a:cxn ang="0">
                  <a:pos x="121" y="16"/>
                </a:cxn>
              </a:cxnLst>
              <a:rect l="0" t="0" r="r" b="b"/>
              <a:pathLst>
                <a:path w="180" h="157">
                  <a:moveTo>
                    <a:pt x="121" y="16"/>
                  </a:moveTo>
                  <a:lnTo>
                    <a:pt x="118" y="18"/>
                  </a:lnTo>
                  <a:lnTo>
                    <a:pt x="104" y="21"/>
                  </a:lnTo>
                  <a:lnTo>
                    <a:pt x="94" y="21"/>
                  </a:lnTo>
                  <a:lnTo>
                    <a:pt x="89" y="20"/>
                  </a:lnTo>
                  <a:lnTo>
                    <a:pt x="81" y="12"/>
                  </a:lnTo>
                  <a:lnTo>
                    <a:pt x="72" y="9"/>
                  </a:lnTo>
                  <a:lnTo>
                    <a:pt x="67" y="9"/>
                  </a:lnTo>
                  <a:lnTo>
                    <a:pt x="59" y="11"/>
                  </a:lnTo>
                  <a:lnTo>
                    <a:pt x="50" y="11"/>
                  </a:lnTo>
                  <a:lnTo>
                    <a:pt x="27" y="5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6" y="6"/>
                  </a:lnTo>
                  <a:lnTo>
                    <a:pt x="5" y="7"/>
                  </a:lnTo>
                  <a:lnTo>
                    <a:pt x="2" y="12"/>
                  </a:lnTo>
                  <a:lnTo>
                    <a:pt x="2" y="15"/>
                  </a:lnTo>
                  <a:lnTo>
                    <a:pt x="6" y="21"/>
                  </a:lnTo>
                  <a:lnTo>
                    <a:pt x="6" y="33"/>
                  </a:lnTo>
                  <a:lnTo>
                    <a:pt x="2" y="36"/>
                  </a:lnTo>
                  <a:lnTo>
                    <a:pt x="0" y="42"/>
                  </a:lnTo>
                  <a:lnTo>
                    <a:pt x="3" y="53"/>
                  </a:lnTo>
                  <a:lnTo>
                    <a:pt x="7" y="60"/>
                  </a:lnTo>
                  <a:lnTo>
                    <a:pt x="11" y="66"/>
                  </a:lnTo>
                  <a:lnTo>
                    <a:pt x="18" y="71"/>
                  </a:lnTo>
                  <a:lnTo>
                    <a:pt x="23" y="71"/>
                  </a:lnTo>
                  <a:lnTo>
                    <a:pt x="33" y="76"/>
                  </a:lnTo>
                  <a:lnTo>
                    <a:pt x="39" y="82"/>
                  </a:lnTo>
                  <a:lnTo>
                    <a:pt x="44" y="85"/>
                  </a:lnTo>
                  <a:lnTo>
                    <a:pt x="45" y="85"/>
                  </a:lnTo>
                  <a:lnTo>
                    <a:pt x="50" y="74"/>
                  </a:lnTo>
                  <a:lnTo>
                    <a:pt x="49" y="69"/>
                  </a:lnTo>
                  <a:lnTo>
                    <a:pt x="40" y="65"/>
                  </a:lnTo>
                  <a:lnTo>
                    <a:pt x="39" y="61"/>
                  </a:lnTo>
                  <a:lnTo>
                    <a:pt x="45" y="59"/>
                  </a:lnTo>
                  <a:lnTo>
                    <a:pt x="51" y="60"/>
                  </a:lnTo>
                  <a:lnTo>
                    <a:pt x="59" y="68"/>
                  </a:lnTo>
                  <a:lnTo>
                    <a:pt x="65" y="77"/>
                  </a:lnTo>
                  <a:lnTo>
                    <a:pt x="68" y="83"/>
                  </a:lnTo>
                  <a:lnTo>
                    <a:pt x="76" y="92"/>
                  </a:lnTo>
                  <a:lnTo>
                    <a:pt x="78" y="92"/>
                  </a:lnTo>
                  <a:lnTo>
                    <a:pt x="106" y="104"/>
                  </a:lnTo>
                  <a:lnTo>
                    <a:pt x="119" y="115"/>
                  </a:lnTo>
                  <a:lnTo>
                    <a:pt x="121" y="142"/>
                  </a:lnTo>
                  <a:lnTo>
                    <a:pt x="122" y="144"/>
                  </a:lnTo>
                  <a:lnTo>
                    <a:pt x="130" y="149"/>
                  </a:lnTo>
                  <a:lnTo>
                    <a:pt x="138" y="151"/>
                  </a:lnTo>
                  <a:lnTo>
                    <a:pt x="141" y="150"/>
                  </a:lnTo>
                  <a:lnTo>
                    <a:pt x="136" y="139"/>
                  </a:lnTo>
                  <a:lnTo>
                    <a:pt x="140" y="136"/>
                  </a:lnTo>
                  <a:lnTo>
                    <a:pt x="141" y="136"/>
                  </a:lnTo>
                  <a:lnTo>
                    <a:pt x="145" y="139"/>
                  </a:lnTo>
                  <a:lnTo>
                    <a:pt x="151" y="145"/>
                  </a:lnTo>
                  <a:lnTo>
                    <a:pt x="154" y="156"/>
                  </a:lnTo>
                  <a:lnTo>
                    <a:pt x="157" y="157"/>
                  </a:lnTo>
                  <a:lnTo>
                    <a:pt x="158" y="157"/>
                  </a:lnTo>
                  <a:lnTo>
                    <a:pt x="165" y="147"/>
                  </a:lnTo>
                  <a:lnTo>
                    <a:pt x="168" y="142"/>
                  </a:lnTo>
                  <a:lnTo>
                    <a:pt x="167" y="130"/>
                  </a:lnTo>
                  <a:lnTo>
                    <a:pt x="168" y="126"/>
                  </a:lnTo>
                  <a:lnTo>
                    <a:pt x="172" y="123"/>
                  </a:lnTo>
                  <a:lnTo>
                    <a:pt x="173" y="118"/>
                  </a:lnTo>
                  <a:lnTo>
                    <a:pt x="169" y="114"/>
                  </a:lnTo>
                  <a:lnTo>
                    <a:pt x="162" y="109"/>
                  </a:lnTo>
                  <a:lnTo>
                    <a:pt x="164" y="95"/>
                  </a:lnTo>
                  <a:lnTo>
                    <a:pt x="170" y="86"/>
                  </a:lnTo>
                  <a:lnTo>
                    <a:pt x="174" y="86"/>
                  </a:lnTo>
                  <a:lnTo>
                    <a:pt x="176" y="87"/>
                  </a:lnTo>
                  <a:lnTo>
                    <a:pt x="179" y="87"/>
                  </a:lnTo>
                  <a:lnTo>
                    <a:pt x="180" y="86"/>
                  </a:lnTo>
                  <a:lnTo>
                    <a:pt x="174" y="81"/>
                  </a:lnTo>
                  <a:lnTo>
                    <a:pt x="161" y="72"/>
                  </a:lnTo>
                  <a:lnTo>
                    <a:pt x="141" y="54"/>
                  </a:lnTo>
                  <a:lnTo>
                    <a:pt x="133" y="43"/>
                  </a:lnTo>
                  <a:lnTo>
                    <a:pt x="127" y="27"/>
                  </a:lnTo>
                  <a:lnTo>
                    <a:pt x="125" y="25"/>
                  </a:lnTo>
                  <a:lnTo>
                    <a:pt x="122" y="16"/>
                  </a:lnTo>
                  <a:lnTo>
                    <a:pt x="121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43" name="Honduras"/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 bwMode="gray">
            <a:xfrm>
              <a:off x="2157552" y="4215439"/>
              <a:ext cx="156820" cy="79580"/>
            </a:xfrm>
            <a:custGeom>
              <a:avLst/>
              <a:gdLst/>
              <a:ahLst/>
              <a:cxnLst>
                <a:cxn ang="0">
                  <a:pos x="326" y="54"/>
                </a:cxn>
                <a:cxn ang="0">
                  <a:pos x="309" y="65"/>
                </a:cxn>
                <a:cxn ang="0">
                  <a:pos x="290" y="70"/>
                </a:cxn>
                <a:cxn ang="0">
                  <a:pos x="266" y="75"/>
                </a:cxn>
                <a:cxn ang="0">
                  <a:pos x="259" y="68"/>
                </a:cxn>
                <a:cxn ang="0">
                  <a:pos x="252" y="70"/>
                </a:cxn>
                <a:cxn ang="0">
                  <a:pos x="246" y="72"/>
                </a:cxn>
                <a:cxn ang="0">
                  <a:pos x="239" y="92"/>
                </a:cxn>
                <a:cxn ang="0">
                  <a:pos x="226" y="97"/>
                </a:cxn>
                <a:cxn ang="0">
                  <a:pos x="220" y="104"/>
                </a:cxn>
                <a:cxn ang="0">
                  <a:pos x="213" y="112"/>
                </a:cxn>
                <a:cxn ang="0">
                  <a:pos x="205" y="115"/>
                </a:cxn>
                <a:cxn ang="0">
                  <a:pos x="196" y="117"/>
                </a:cxn>
                <a:cxn ang="0">
                  <a:pos x="181" y="108"/>
                </a:cxn>
                <a:cxn ang="0">
                  <a:pos x="171" y="126"/>
                </a:cxn>
                <a:cxn ang="0">
                  <a:pos x="149" y="126"/>
                </a:cxn>
                <a:cxn ang="0">
                  <a:pos x="148" y="149"/>
                </a:cxn>
                <a:cxn ang="0">
                  <a:pos x="139" y="155"/>
                </a:cxn>
                <a:cxn ang="0">
                  <a:pos x="132" y="165"/>
                </a:cxn>
                <a:cxn ang="0">
                  <a:pos x="115" y="163"/>
                </a:cxn>
                <a:cxn ang="0">
                  <a:pos x="107" y="152"/>
                </a:cxn>
                <a:cxn ang="0">
                  <a:pos x="99" y="144"/>
                </a:cxn>
                <a:cxn ang="0">
                  <a:pos x="90" y="142"/>
                </a:cxn>
                <a:cxn ang="0">
                  <a:pos x="90" y="123"/>
                </a:cxn>
                <a:cxn ang="0">
                  <a:pos x="76" y="115"/>
                </a:cxn>
                <a:cxn ang="0">
                  <a:pos x="67" y="114"/>
                </a:cxn>
                <a:cxn ang="0">
                  <a:pos x="57" y="119"/>
                </a:cxn>
                <a:cxn ang="0">
                  <a:pos x="49" y="114"/>
                </a:cxn>
                <a:cxn ang="0">
                  <a:pos x="42" y="112"/>
                </a:cxn>
                <a:cxn ang="0">
                  <a:pos x="38" y="106"/>
                </a:cxn>
                <a:cxn ang="0">
                  <a:pos x="26" y="101"/>
                </a:cxn>
                <a:cxn ang="0">
                  <a:pos x="19" y="90"/>
                </a:cxn>
                <a:cxn ang="0">
                  <a:pos x="0" y="86"/>
                </a:cxn>
                <a:cxn ang="0">
                  <a:pos x="5" y="80"/>
                </a:cxn>
                <a:cxn ang="0">
                  <a:pos x="13" y="71"/>
                </a:cxn>
                <a:cxn ang="0">
                  <a:pos x="10" y="65"/>
                </a:cxn>
                <a:cxn ang="0">
                  <a:pos x="11" y="56"/>
                </a:cxn>
                <a:cxn ang="0">
                  <a:pos x="21" y="49"/>
                </a:cxn>
                <a:cxn ang="0">
                  <a:pos x="38" y="37"/>
                </a:cxn>
                <a:cxn ang="0">
                  <a:pos x="59" y="18"/>
                </a:cxn>
                <a:cxn ang="0">
                  <a:pos x="74" y="13"/>
                </a:cxn>
                <a:cxn ang="0">
                  <a:pos x="92" y="7"/>
                </a:cxn>
                <a:cxn ang="0">
                  <a:pos x="124" y="11"/>
                </a:cxn>
                <a:cxn ang="0">
                  <a:pos x="166" y="7"/>
                </a:cxn>
                <a:cxn ang="0">
                  <a:pos x="183" y="5"/>
                </a:cxn>
                <a:cxn ang="0">
                  <a:pos x="199" y="0"/>
                </a:cxn>
                <a:cxn ang="0">
                  <a:pos x="209" y="5"/>
                </a:cxn>
                <a:cxn ang="0">
                  <a:pos x="231" y="1"/>
                </a:cxn>
                <a:cxn ang="0">
                  <a:pos x="245" y="2"/>
                </a:cxn>
                <a:cxn ang="0">
                  <a:pos x="271" y="9"/>
                </a:cxn>
                <a:cxn ang="0">
                  <a:pos x="293" y="16"/>
                </a:cxn>
                <a:cxn ang="0">
                  <a:pos x="327" y="38"/>
                </a:cxn>
                <a:cxn ang="0">
                  <a:pos x="337" y="52"/>
                </a:cxn>
              </a:cxnLst>
              <a:rect l="0" t="0" r="r" b="b"/>
              <a:pathLst>
                <a:path w="337" h="166">
                  <a:moveTo>
                    <a:pt x="337" y="54"/>
                  </a:moveTo>
                  <a:lnTo>
                    <a:pt x="326" y="54"/>
                  </a:lnTo>
                  <a:lnTo>
                    <a:pt x="312" y="60"/>
                  </a:lnTo>
                  <a:lnTo>
                    <a:pt x="309" y="65"/>
                  </a:lnTo>
                  <a:lnTo>
                    <a:pt x="300" y="70"/>
                  </a:lnTo>
                  <a:lnTo>
                    <a:pt x="290" y="70"/>
                  </a:lnTo>
                  <a:lnTo>
                    <a:pt x="283" y="75"/>
                  </a:lnTo>
                  <a:lnTo>
                    <a:pt x="266" y="75"/>
                  </a:lnTo>
                  <a:lnTo>
                    <a:pt x="263" y="72"/>
                  </a:lnTo>
                  <a:lnTo>
                    <a:pt x="259" y="68"/>
                  </a:lnTo>
                  <a:lnTo>
                    <a:pt x="253" y="66"/>
                  </a:lnTo>
                  <a:lnTo>
                    <a:pt x="252" y="70"/>
                  </a:lnTo>
                  <a:lnTo>
                    <a:pt x="250" y="71"/>
                  </a:lnTo>
                  <a:lnTo>
                    <a:pt x="246" y="72"/>
                  </a:lnTo>
                  <a:lnTo>
                    <a:pt x="242" y="79"/>
                  </a:lnTo>
                  <a:lnTo>
                    <a:pt x="239" y="92"/>
                  </a:lnTo>
                  <a:lnTo>
                    <a:pt x="236" y="95"/>
                  </a:lnTo>
                  <a:lnTo>
                    <a:pt x="226" y="97"/>
                  </a:lnTo>
                  <a:lnTo>
                    <a:pt x="221" y="102"/>
                  </a:lnTo>
                  <a:lnTo>
                    <a:pt x="220" y="104"/>
                  </a:lnTo>
                  <a:lnTo>
                    <a:pt x="216" y="106"/>
                  </a:lnTo>
                  <a:lnTo>
                    <a:pt x="213" y="112"/>
                  </a:lnTo>
                  <a:lnTo>
                    <a:pt x="205" y="113"/>
                  </a:lnTo>
                  <a:lnTo>
                    <a:pt x="205" y="115"/>
                  </a:lnTo>
                  <a:lnTo>
                    <a:pt x="202" y="117"/>
                  </a:lnTo>
                  <a:lnTo>
                    <a:pt x="196" y="117"/>
                  </a:lnTo>
                  <a:lnTo>
                    <a:pt x="188" y="111"/>
                  </a:lnTo>
                  <a:lnTo>
                    <a:pt x="181" y="108"/>
                  </a:lnTo>
                  <a:lnTo>
                    <a:pt x="175" y="118"/>
                  </a:lnTo>
                  <a:lnTo>
                    <a:pt x="171" y="126"/>
                  </a:lnTo>
                  <a:lnTo>
                    <a:pt x="154" y="128"/>
                  </a:lnTo>
                  <a:lnTo>
                    <a:pt x="149" y="126"/>
                  </a:lnTo>
                  <a:lnTo>
                    <a:pt x="146" y="134"/>
                  </a:lnTo>
                  <a:lnTo>
                    <a:pt x="148" y="149"/>
                  </a:lnTo>
                  <a:lnTo>
                    <a:pt x="144" y="150"/>
                  </a:lnTo>
                  <a:lnTo>
                    <a:pt x="139" y="155"/>
                  </a:lnTo>
                  <a:lnTo>
                    <a:pt x="135" y="162"/>
                  </a:lnTo>
                  <a:lnTo>
                    <a:pt x="132" y="165"/>
                  </a:lnTo>
                  <a:lnTo>
                    <a:pt x="115" y="166"/>
                  </a:lnTo>
                  <a:lnTo>
                    <a:pt x="115" y="163"/>
                  </a:lnTo>
                  <a:lnTo>
                    <a:pt x="107" y="156"/>
                  </a:lnTo>
                  <a:lnTo>
                    <a:pt x="107" y="152"/>
                  </a:lnTo>
                  <a:lnTo>
                    <a:pt x="106" y="147"/>
                  </a:lnTo>
                  <a:lnTo>
                    <a:pt x="99" y="144"/>
                  </a:lnTo>
                  <a:lnTo>
                    <a:pt x="92" y="145"/>
                  </a:lnTo>
                  <a:lnTo>
                    <a:pt x="90" y="142"/>
                  </a:lnTo>
                  <a:lnTo>
                    <a:pt x="90" y="124"/>
                  </a:lnTo>
                  <a:lnTo>
                    <a:pt x="90" y="123"/>
                  </a:lnTo>
                  <a:lnTo>
                    <a:pt x="85" y="118"/>
                  </a:lnTo>
                  <a:lnTo>
                    <a:pt x="76" y="115"/>
                  </a:lnTo>
                  <a:lnTo>
                    <a:pt x="74" y="113"/>
                  </a:lnTo>
                  <a:lnTo>
                    <a:pt x="67" y="114"/>
                  </a:lnTo>
                  <a:lnTo>
                    <a:pt x="62" y="119"/>
                  </a:lnTo>
                  <a:lnTo>
                    <a:pt x="57" y="119"/>
                  </a:lnTo>
                  <a:lnTo>
                    <a:pt x="52" y="117"/>
                  </a:lnTo>
                  <a:lnTo>
                    <a:pt x="49" y="114"/>
                  </a:lnTo>
                  <a:lnTo>
                    <a:pt x="49" y="112"/>
                  </a:lnTo>
                  <a:lnTo>
                    <a:pt x="42" y="112"/>
                  </a:lnTo>
                  <a:lnTo>
                    <a:pt x="40" y="109"/>
                  </a:lnTo>
                  <a:lnTo>
                    <a:pt x="38" y="106"/>
                  </a:lnTo>
                  <a:lnTo>
                    <a:pt x="33" y="106"/>
                  </a:lnTo>
                  <a:lnTo>
                    <a:pt x="26" y="101"/>
                  </a:lnTo>
                  <a:lnTo>
                    <a:pt x="24" y="96"/>
                  </a:lnTo>
                  <a:lnTo>
                    <a:pt x="19" y="90"/>
                  </a:lnTo>
                  <a:lnTo>
                    <a:pt x="6" y="90"/>
                  </a:lnTo>
                  <a:lnTo>
                    <a:pt x="0" y="86"/>
                  </a:lnTo>
                  <a:lnTo>
                    <a:pt x="3" y="85"/>
                  </a:lnTo>
                  <a:lnTo>
                    <a:pt x="5" y="80"/>
                  </a:lnTo>
                  <a:lnTo>
                    <a:pt x="13" y="75"/>
                  </a:lnTo>
                  <a:lnTo>
                    <a:pt x="13" y="71"/>
                  </a:lnTo>
                  <a:lnTo>
                    <a:pt x="11" y="66"/>
                  </a:lnTo>
                  <a:lnTo>
                    <a:pt x="10" y="65"/>
                  </a:lnTo>
                  <a:lnTo>
                    <a:pt x="10" y="60"/>
                  </a:lnTo>
                  <a:lnTo>
                    <a:pt x="11" y="56"/>
                  </a:lnTo>
                  <a:lnTo>
                    <a:pt x="20" y="50"/>
                  </a:lnTo>
                  <a:lnTo>
                    <a:pt x="21" y="49"/>
                  </a:lnTo>
                  <a:lnTo>
                    <a:pt x="25" y="48"/>
                  </a:lnTo>
                  <a:lnTo>
                    <a:pt x="38" y="37"/>
                  </a:lnTo>
                  <a:lnTo>
                    <a:pt x="56" y="25"/>
                  </a:lnTo>
                  <a:lnTo>
                    <a:pt x="59" y="18"/>
                  </a:lnTo>
                  <a:lnTo>
                    <a:pt x="60" y="15"/>
                  </a:lnTo>
                  <a:lnTo>
                    <a:pt x="74" y="13"/>
                  </a:lnTo>
                  <a:lnTo>
                    <a:pt x="85" y="9"/>
                  </a:lnTo>
                  <a:lnTo>
                    <a:pt x="92" y="7"/>
                  </a:lnTo>
                  <a:lnTo>
                    <a:pt x="110" y="9"/>
                  </a:lnTo>
                  <a:lnTo>
                    <a:pt x="124" y="11"/>
                  </a:lnTo>
                  <a:lnTo>
                    <a:pt x="148" y="11"/>
                  </a:lnTo>
                  <a:lnTo>
                    <a:pt x="166" y="7"/>
                  </a:lnTo>
                  <a:lnTo>
                    <a:pt x="178" y="6"/>
                  </a:lnTo>
                  <a:lnTo>
                    <a:pt x="183" y="5"/>
                  </a:lnTo>
                  <a:lnTo>
                    <a:pt x="188" y="1"/>
                  </a:lnTo>
                  <a:lnTo>
                    <a:pt x="199" y="0"/>
                  </a:lnTo>
                  <a:lnTo>
                    <a:pt x="207" y="2"/>
                  </a:lnTo>
                  <a:lnTo>
                    <a:pt x="209" y="5"/>
                  </a:lnTo>
                  <a:lnTo>
                    <a:pt x="223" y="5"/>
                  </a:lnTo>
                  <a:lnTo>
                    <a:pt x="231" y="1"/>
                  </a:lnTo>
                  <a:lnTo>
                    <a:pt x="240" y="1"/>
                  </a:lnTo>
                  <a:lnTo>
                    <a:pt x="245" y="2"/>
                  </a:lnTo>
                  <a:lnTo>
                    <a:pt x="257" y="9"/>
                  </a:lnTo>
                  <a:lnTo>
                    <a:pt x="271" y="9"/>
                  </a:lnTo>
                  <a:lnTo>
                    <a:pt x="283" y="11"/>
                  </a:lnTo>
                  <a:lnTo>
                    <a:pt x="293" y="16"/>
                  </a:lnTo>
                  <a:lnTo>
                    <a:pt x="304" y="27"/>
                  </a:lnTo>
                  <a:lnTo>
                    <a:pt x="327" y="38"/>
                  </a:lnTo>
                  <a:lnTo>
                    <a:pt x="332" y="43"/>
                  </a:lnTo>
                  <a:lnTo>
                    <a:pt x="337" y="52"/>
                  </a:lnTo>
                  <a:lnTo>
                    <a:pt x="337" y="5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44" name="Mexico"/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 bwMode="gray">
            <a:xfrm>
              <a:off x="1448350" y="3747319"/>
              <a:ext cx="774739" cy="505570"/>
            </a:xfrm>
            <a:custGeom>
              <a:avLst/>
              <a:gdLst/>
              <a:ahLst/>
              <a:cxnLst>
                <a:cxn ang="0">
                  <a:pos x="183" y="77"/>
                </a:cxn>
                <a:cxn ang="0">
                  <a:pos x="233" y="144"/>
                </a:cxn>
                <a:cxn ang="0">
                  <a:pos x="260" y="212"/>
                </a:cxn>
                <a:cxn ang="0">
                  <a:pos x="324" y="292"/>
                </a:cxn>
                <a:cxn ang="0">
                  <a:pos x="367" y="342"/>
                </a:cxn>
                <a:cxn ang="0">
                  <a:pos x="433" y="395"/>
                </a:cxn>
                <a:cxn ang="0">
                  <a:pos x="432" y="445"/>
                </a:cxn>
                <a:cxn ang="0">
                  <a:pos x="501" y="481"/>
                </a:cxn>
                <a:cxn ang="0">
                  <a:pos x="567" y="558"/>
                </a:cxn>
                <a:cxn ang="0">
                  <a:pos x="630" y="627"/>
                </a:cxn>
                <a:cxn ang="0">
                  <a:pos x="658" y="703"/>
                </a:cxn>
                <a:cxn ang="0">
                  <a:pos x="635" y="752"/>
                </a:cxn>
                <a:cxn ang="0">
                  <a:pos x="683" y="821"/>
                </a:cxn>
                <a:cxn ang="0">
                  <a:pos x="740" y="858"/>
                </a:cxn>
                <a:cxn ang="0">
                  <a:pos x="782" y="884"/>
                </a:cxn>
                <a:cxn ang="0">
                  <a:pos x="860" y="913"/>
                </a:cxn>
                <a:cxn ang="0">
                  <a:pos x="905" y="941"/>
                </a:cxn>
                <a:cxn ang="0">
                  <a:pos x="1019" y="983"/>
                </a:cxn>
                <a:cxn ang="0">
                  <a:pos x="1120" y="1020"/>
                </a:cxn>
                <a:cxn ang="0">
                  <a:pos x="1202" y="995"/>
                </a:cxn>
                <a:cxn ang="0">
                  <a:pos x="1336" y="1060"/>
                </a:cxn>
                <a:cxn ang="0">
                  <a:pos x="1371" y="1047"/>
                </a:cxn>
                <a:cxn ang="0">
                  <a:pos x="1454" y="974"/>
                </a:cxn>
                <a:cxn ang="0">
                  <a:pos x="1541" y="892"/>
                </a:cxn>
                <a:cxn ang="0">
                  <a:pos x="1593" y="859"/>
                </a:cxn>
                <a:cxn ang="0">
                  <a:pos x="1616" y="810"/>
                </a:cxn>
                <a:cxn ang="0">
                  <a:pos x="1641" y="736"/>
                </a:cxn>
                <a:cxn ang="0">
                  <a:pos x="1588" y="675"/>
                </a:cxn>
                <a:cxn ang="0">
                  <a:pos x="1464" y="708"/>
                </a:cxn>
                <a:cxn ang="0">
                  <a:pos x="1411" y="830"/>
                </a:cxn>
                <a:cxn ang="0">
                  <a:pos x="1345" y="848"/>
                </a:cxn>
                <a:cxn ang="0">
                  <a:pos x="1215" y="853"/>
                </a:cxn>
                <a:cxn ang="0">
                  <a:pos x="1154" y="822"/>
                </a:cxn>
                <a:cxn ang="0">
                  <a:pos x="1103" y="741"/>
                </a:cxn>
                <a:cxn ang="0">
                  <a:pos x="1063" y="634"/>
                </a:cxn>
                <a:cxn ang="0">
                  <a:pos x="1057" y="498"/>
                </a:cxn>
                <a:cxn ang="0">
                  <a:pos x="1098" y="444"/>
                </a:cxn>
                <a:cxn ang="0">
                  <a:pos x="1078" y="424"/>
                </a:cxn>
                <a:cxn ang="0">
                  <a:pos x="930" y="288"/>
                </a:cxn>
                <a:cxn ang="0">
                  <a:pos x="785" y="185"/>
                </a:cxn>
                <a:cxn ang="0">
                  <a:pos x="615" y="93"/>
                </a:cxn>
                <a:cxn ang="0">
                  <a:pos x="334" y="84"/>
                </a:cxn>
                <a:cxn ang="0">
                  <a:pos x="22" y="52"/>
                </a:cxn>
                <a:cxn ang="0">
                  <a:pos x="57" y="120"/>
                </a:cxn>
                <a:cxn ang="0">
                  <a:pos x="84" y="191"/>
                </a:cxn>
                <a:cxn ang="0">
                  <a:pos x="147" y="241"/>
                </a:cxn>
                <a:cxn ang="0">
                  <a:pos x="164" y="300"/>
                </a:cxn>
                <a:cxn ang="0">
                  <a:pos x="126" y="315"/>
                </a:cxn>
                <a:cxn ang="0">
                  <a:pos x="179" y="358"/>
                </a:cxn>
                <a:cxn ang="0">
                  <a:pos x="239" y="397"/>
                </a:cxn>
                <a:cxn ang="0">
                  <a:pos x="272" y="491"/>
                </a:cxn>
                <a:cxn ang="0">
                  <a:pos x="305" y="509"/>
                </a:cxn>
                <a:cxn ang="0">
                  <a:pos x="394" y="606"/>
                </a:cxn>
                <a:cxn ang="0">
                  <a:pos x="412" y="557"/>
                </a:cxn>
                <a:cxn ang="0">
                  <a:pos x="353" y="507"/>
                </a:cxn>
                <a:cxn ang="0">
                  <a:pos x="323" y="424"/>
                </a:cxn>
                <a:cxn ang="0">
                  <a:pos x="298" y="387"/>
                </a:cxn>
                <a:cxn ang="0">
                  <a:pos x="266" y="330"/>
                </a:cxn>
                <a:cxn ang="0">
                  <a:pos x="231" y="271"/>
                </a:cxn>
                <a:cxn ang="0">
                  <a:pos x="195" y="218"/>
                </a:cxn>
                <a:cxn ang="0">
                  <a:pos x="143" y="164"/>
                </a:cxn>
                <a:cxn ang="0">
                  <a:pos x="127" y="56"/>
                </a:cxn>
              </a:cxnLst>
              <a:rect l="0" t="0" r="r" b="b"/>
              <a:pathLst>
                <a:path w="1657" h="1083">
                  <a:moveTo>
                    <a:pt x="127" y="56"/>
                  </a:moveTo>
                  <a:lnTo>
                    <a:pt x="136" y="59"/>
                  </a:lnTo>
                  <a:lnTo>
                    <a:pt x="140" y="61"/>
                  </a:lnTo>
                  <a:lnTo>
                    <a:pt x="148" y="68"/>
                  </a:lnTo>
                  <a:lnTo>
                    <a:pt x="151" y="67"/>
                  </a:lnTo>
                  <a:lnTo>
                    <a:pt x="152" y="72"/>
                  </a:lnTo>
                  <a:lnTo>
                    <a:pt x="162" y="77"/>
                  </a:lnTo>
                  <a:lnTo>
                    <a:pt x="168" y="79"/>
                  </a:lnTo>
                  <a:lnTo>
                    <a:pt x="183" y="77"/>
                  </a:lnTo>
                  <a:lnTo>
                    <a:pt x="191" y="82"/>
                  </a:lnTo>
                  <a:lnTo>
                    <a:pt x="191" y="88"/>
                  </a:lnTo>
                  <a:lnTo>
                    <a:pt x="196" y="90"/>
                  </a:lnTo>
                  <a:lnTo>
                    <a:pt x="215" y="95"/>
                  </a:lnTo>
                  <a:lnTo>
                    <a:pt x="219" y="99"/>
                  </a:lnTo>
                  <a:lnTo>
                    <a:pt x="223" y="105"/>
                  </a:lnTo>
                  <a:lnTo>
                    <a:pt x="223" y="125"/>
                  </a:lnTo>
                  <a:lnTo>
                    <a:pt x="226" y="131"/>
                  </a:lnTo>
                  <a:lnTo>
                    <a:pt x="233" y="144"/>
                  </a:lnTo>
                  <a:lnTo>
                    <a:pt x="234" y="152"/>
                  </a:lnTo>
                  <a:lnTo>
                    <a:pt x="237" y="154"/>
                  </a:lnTo>
                  <a:lnTo>
                    <a:pt x="240" y="161"/>
                  </a:lnTo>
                  <a:lnTo>
                    <a:pt x="243" y="177"/>
                  </a:lnTo>
                  <a:lnTo>
                    <a:pt x="248" y="183"/>
                  </a:lnTo>
                  <a:lnTo>
                    <a:pt x="251" y="185"/>
                  </a:lnTo>
                  <a:lnTo>
                    <a:pt x="254" y="188"/>
                  </a:lnTo>
                  <a:lnTo>
                    <a:pt x="258" y="207"/>
                  </a:lnTo>
                  <a:lnTo>
                    <a:pt x="260" y="212"/>
                  </a:lnTo>
                  <a:lnTo>
                    <a:pt x="262" y="215"/>
                  </a:lnTo>
                  <a:lnTo>
                    <a:pt x="269" y="219"/>
                  </a:lnTo>
                  <a:lnTo>
                    <a:pt x="272" y="224"/>
                  </a:lnTo>
                  <a:lnTo>
                    <a:pt x="277" y="239"/>
                  </a:lnTo>
                  <a:lnTo>
                    <a:pt x="286" y="245"/>
                  </a:lnTo>
                  <a:lnTo>
                    <a:pt x="290" y="257"/>
                  </a:lnTo>
                  <a:lnTo>
                    <a:pt x="299" y="268"/>
                  </a:lnTo>
                  <a:lnTo>
                    <a:pt x="310" y="272"/>
                  </a:lnTo>
                  <a:lnTo>
                    <a:pt x="324" y="292"/>
                  </a:lnTo>
                  <a:lnTo>
                    <a:pt x="334" y="299"/>
                  </a:lnTo>
                  <a:lnTo>
                    <a:pt x="351" y="303"/>
                  </a:lnTo>
                  <a:lnTo>
                    <a:pt x="357" y="304"/>
                  </a:lnTo>
                  <a:lnTo>
                    <a:pt x="360" y="306"/>
                  </a:lnTo>
                  <a:lnTo>
                    <a:pt x="361" y="320"/>
                  </a:lnTo>
                  <a:lnTo>
                    <a:pt x="358" y="325"/>
                  </a:lnTo>
                  <a:lnTo>
                    <a:pt x="361" y="330"/>
                  </a:lnTo>
                  <a:lnTo>
                    <a:pt x="361" y="335"/>
                  </a:lnTo>
                  <a:lnTo>
                    <a:pt x="367" y="342"/>
                  </a:lnTo>
                  <a:lnTo>
                    <a:pt x="374" y="348"/>
                  </a:lnTo>
                  <a:lnTo>
                    <a:pt x="390" y="355"/>
                  </a:lnTo>
                  <a:lnTo>
                    <a:pt x="398" y="364"/>
                  </a:lnTo>
                  <a:lnTo>
                    <a:pt x="401" y="374"/>
                  </a:lnTo>
                  <a:lnTo>
                    <a:pt x="406" y="376"/>
                  </a:lnTo>
                  <a:lnTo>
                    <a:pt x="407" y="379"/>
                  </a:lnTo>
                  <a:lnTo>
                    <a:pt x="421" y="379"/>
                  </a:lnTo>
                  <a:lnTo>
                    <a:pt x="428" y="384"/>
                  </a:lnTo>
                  <a:lnTo>
                    <a:pt x="433" y="395"/>
                  </a:lnTo>
                  <a:lnTo>
                    <a:pt x="439" y="397"/>
                  </a:lnTo>
                  <a:lnTo>
                    <a:pt x="439" y="402"/>
                  </a:lnTo>
                  <a:lnTo>
                    <a:pt x="433" y="412"/>
                  </a:lnTo>
                  <a:lnTo>
                    <a:pt x="430" y="414"/>
                  </a:lnTo>
                  <a:lnTo>
                    <a:pt x="428" y="421"/>
                  </a:lnTo>
                  <a:lnTo>
                    <a:pt x="427" y="425"/>
                  </a:lnTo>
                  <a:lnTo>
                    <a:pt x="426" y="433"/>
                  </a:lnTo>
                  <a:lnTo>
                    <a:pt x="427" y="438"/>
                  </a:lnTo>
                  <a:lnTo>
                    <a:pt x="432" y="445"/>
                  </a:lnTo>
                  <a:lnTo>
                    <a:pt x="444" y="445"/>
                  </a:lnTo>
                  <a:lnTo>
                    <a:pt x="452" y="439"/>
                  </a:lnTo>
                  <a:lnTo>
                    <a:pt x="454" y="443"/>
                  </a:lnTo>
                  <a:lnTo>
                    <a:pt x="450" y="451"/>
                  </a:lnTo>
                  <a:lnTo>
                    <a:pt x="453" y="456"/>
                  </a:lnTo>
                  <a:lnTo>
                    <a:pt x="476" y="468"/>
                  </a:lnTo>
                  <a:lnTo>
                    <a:pt x="482" y="470"/>
                  </a:lnTo>
                  <a:lnTo>
                    <a:pt x="487" y="466"/>
                  </a:lnTo>
                  <a:lnTo>
                    <a:pt x="501" y="481"/>
                  </a:lnTo>
                  <a:lnTo>
                    <a:pt x="506" y="484"/>
                  </a:lnTo>
                  <a:lnTo>
                    <a:pt x="507" y="492"/>
                  </a:lnTo>
                  <a:lnTo>
                    <a:pt x="507" y="503"/>
                  </a:lnTo>
                  <a:lnTo>
                    <a:pt x="509" y="507"/>
                  </a:lnTo>
                  <a:lnTo>
                    <a:pt x="543" y="535"/>
                  </a:lnTo>
                  <a:lnTo>
                    <a:pt x="554" y="545"/>
                  </a:lnTo>
                  <a:lnTo>
                    <a:pt x="561" y="548"/>
                  </a:lnTo>
                  <a:lnTo>
                    <a:pt x="565" y="553"/>
                  </a:lnTo>
                  <a:lnTo>
                    <a:pt x="567" y="558"/>
                  </a:lnTo>
                  <a:lnTo>
                    <a:pt x="567" y="564"/>
                  </a:lnTo>
                  <a:lnTo>
                    <a:pt x="570" y="568"/>
                  </a:lnTo>
                  <a:lnTo>
                    <a:pt x="576" y="568"/>
                  </a:lnTo>
                  <a:lnTo>
                    <a:pt x="582" y="577"/>
                  </a:lnTo>
                  <a:lnTo>
                    <a:pt x="588" y="589"/>
                  </a:lnTo>
                  <a:lnTo>
                    <a:pt x="592" y="595"/>
                  </a:lnTo>
                  <a:lnTo>
                    <a:pt x="604" y="604"/>
                  </a:lnTo>
                  <a:lnTo>
                    <a:pt x="615" y="617"/>
                  </a:lnTo>
                  <a:lnTo>
                    <a:pt x="630" y="627"/>
                  </a:lnTo>
                  <a:lnTo>
                    <a:pt x="632" y="633"/>
                  </a:lnTo>
                  <a:lnTo>
                    <a:pt x="631" y="635"/>
                  </a:lnTo>
                  <a:lnTo>
                    <a:pt x="631" y="640"/>
                  </a:lnTo>
                  <a:lnTo>
                    <a:pt x="638" y="664"/>
                  </a:lnTo>
                  <a:lnTo>
                    <a:pt x="645" y="672"/>
                  </a:lnTo>
                  <a:lnTo>
                    <a:pt x="646" y="681"/>
                  </a:lnTo>
                  <a:lnTo>
                    <a:pt x="652" y="687"/>
                  </a:lnTo>
                  <a:lnTo>
                    <a:pt x="656" y="694"/>
                  </a:lnTo>
                  <a:lnTo>
                    <a:pt x="658" y="703"/>
                  </a:lnTo>
                  <a:lnTo>
                    <a:pt x="658" y="712"/>
                  </a:lnTo>
                  <a:lnTo>
                    <a:pt x="656" y="717"/>
                  </a:lnTo>
                  <a:lnTo>
                    <a:pt x="646" y="728"/>
                  </a:lnTo>
                  <a:lnTo>
                    <a:pt x="645" y="729"/>
                  </a:lnTo>
                  <a:lnTo>
                    <a:pt x="646" y="733"/>
                  </a:lnTo>
                  <a:lnTo>
                    <a:pt x="653" y="739"/>
                  </a:lnTo>
                  <a:lnTo>
                    <a:pt x="654" y="742"/>
                  </a:lnTo>
                  <a:lnTo>
                    <a:pt x="640" y="748"/>
                  </a:lnTo>
                  <a:lnTo>
                    <a:pt x="635" y="752"/>
                  </a:lnTo>
                  <a:lnTo>
                    <a:pt x="635" y="756"/>
                  </a:lnTo>
                  <a:lnTo>
                    <a:pt x="637" y="758"/>
                  </a:lnTo>
                  <a:lnTo>
                    <a:pt x="642" y="771"/>
                  </a:lnTo>
                  <a:lnTo>
                    <a:pt x="643" y="779"/>
                  </a:lnTo>
                  <a:lnTo>
                    <a:pt x="646" y="788"/>
                  </a:lnTo>
                  <a:lnTo>
                    <a:pt x="656" y="793"/>
                  </a:lnTo>
                  <a:lnTo>
                    <a:pt x="670" y="810"/>
                  </a:lnTo>
                  <a:lnTo>
                    <a:pt x="675" y="815"/>
                  </a:lnTo>
                  <a:lnTo>
                    <a:pt x="683" y="821"/>
                  </a:lnTo>
                  <a:lnTo>
                    <a:pt x="689" y="823"/>
                  </a:lnTo>
                  <a:lnTo>
                    <a:pt x="699" y="827"/>
                  </a:lnTo>
                  <a:lnTo>
                    <a:pt x="706" y="827"/>
                  </a:lnTo>
                  <a:lnTo>
                    <a:pt x="710" y="830"/>
                  </a:lnTo>
                  <a:lnTo>
                    <a:pt x="722" y="841"/>
                  </a:lnTo>
                  <a:lnTo>
                    <a:pt x="731" y="843"/>
                  </a:lnTo>
                  <a:lnTo>
                    <a:pt x="738" y="850"/>
                  </a:lnTo>
                  <a:lnTo>
                    <a:pt x="740" y="855"/>
                  </a:lnTo>
                  <a:lnTo>
                    <a:pt x="740" y="858"/>
                  </a:lnTo>
                  <a:lnTo>
                    <a:pt x="744" y="859"/>
                  </a:lnTo>
                  <a:lnTo>
                    <a:pt x="746" y="861"/>
                  </a:lnTo>
                  <a:lnTo>
                    <a:pt x="748" y="865"/>
                  </a:lnTo>
                  <a:lnTo>
                    <a:pt x="750" y="870"/>
                  </a:lnTo>
                  <a:lnTo>
                    <a:pt x="755" y="874"/>
                  </a:lnTo>
                  <a:lnTo>
                    <a:pt x="769" y="875"/>
                  </a:lnTo>
                  <a:lnTo>
                    <a:pt x="775" y="879"/>
                  </a:lnTo>
                  <a:lnTo>
                    <a:pt x="780" y="880"/>
                  </a:lnTo>
                  <a:lnTo>
                    <a:pt x="782" y="884"/>
                  </a:lnTo>
                  <a:lnTo>
                    <a:pt x="814" y="892"/>
                  </a:lnTo>
                  <a:lnTo>
                    <a:pt x="820" y="895"/>
                  </a:lnTo>
                  <a:lnTo>
                    <a:pt x="828" y="895"/>
                  </a:lnTo>
                  <a:lnTo>
                    <a:pt x="832" y="892"/>
                  </a:lnTo>
                  <a:lnTo>
                    <a:pt x="836" y="895"/>
                  </a:lnTo>
                  <a:lnTo>
                    <a:pt x="850" y="902"/>
                  </a:lnTo>
                  <a:lnTo>
                    <a:pt x="855" y="909"/>
                  </a:lnTo>
                  <a:lnTo>
                    <a:pt x="856" y="912"/>
                  </a:lnTo>
                  <a:lnTo>
                    <a:pt x="860" y="913"/>
                  </a:lnTo>
                  <a:lnTo>
                    <a:pt x="862" y="917"/>
                  </a:lnTo>
                  <a:lnTo>
                    <a:pt x="869" y="919"/>
                  </a:lnTo>
                  <a:lnTo>
                    <a:pt x="875" y="924"/>
                  </a:lnTo>
                  <a:lnTo>
                    <a:pt x="884" y="928"/>
                  </a:lnTo>
                  <a:lnTo>
                    <a:pt x="884" y="931"/>
                  </a:lnTo>
                  <a:lnTo>
                    <a:pt x="890" y="936"/>
                  </a:lnTo>
                  <a:lnTo>
                    <a:pt x="894" y="935"/>
                  </a:lnTo>
                  <a:lnTo>
                    <a:pt x="900" y="939"/>
                  </a:lnTo>
                  <a:lnTo>
                    <a:pt x="905" y="941"/>
                  </a:lnTo>
                  <a:lnTo>
                    <a:pt x="916" y="945"/>
                  </a:lnTo>
                  <a:lnTo>
                    <a:pt x="926" y="946"/>
                  </a:lnTo>
                  <a:lnTo>
                    <a:pt x="943" y="951"/>
                  </a:lnTo>
                  <a:lnTo>
                    <a:pt x="953" y="959"/>
                  </a:lnTo>
                  <a:lnTo>
                    <a:pt x="960" y="961"/>
                  </a:lnTo>
                  <a:lnTo>
                    <a:pt x="985" y="968"/>
                  </a:lnTo>
                  <a:lnTo>
                    <a:pt x="1000" y="974"/>
                  </a:lnTo>
                  <a:lnTo>
                    <a:pt x="1009" y="973"/>
                  </a:lnTo>
                  <a:lnTo>
                    <a:pt x="1019" y="983"/>
                  </a:lnTo>
                  <a:lnTo>
                    <a:pt x="1043" y="998"/>
                  </a:lnTo>
                  <a:lnTo>
                    <a:pt x="1049" y="999"/>
                  </a:lnTo>
                  <a:lnTo>
                    <a:pt x="1052" y="999"/>
                  </a:lnTo>
                  <a:lnTo>
                    <a:pt x="1057" y="1003"/>
                  </a:lnTo>
                  <a:lnTo>
                    <a:pt x="1063" y="1005"/>
                  </a:lnTo>
                  <a:lnTo>
                    <a:pt x="1074" y="1009"/>
                  </a:lnTo>
                  <a:lnTo>
                    <a:pt x="1103" y="1011"/>
                  </a:lnTo>
                  <a:lnTo>
                    <a:pt x="1113" y="1017"/>
                  </a:lnTo>
                  <a:lnTo>
                    <a:pt x="1120" y="1020"/>
                  </a:lnTo>
                  <a:lnTo>
                    <a:pt x="1122" y="1020"/>
                  </a:lnTo>
                  <a:lnTo>
                    <a:pt x="1130" y="1024"/>
                  </a:lnTo>
                  <a:lnTo>
                    <a:pt x="1145" y="1025"/>
                  </a:lnTo>
                  <a:lnTo>
                    <a:pt x="1152" y="1024"/>
                  </a:lnTo>
                  <a:lnTo>
                    <a:pt x="1158" y="1021"/>
                  </a:lnTo>
                  <a:lnTo>
                    <a:pt x="1162" y="1017"/>
                  </a:lnTo>
                  <a:lnTo>
                    <a:pt x="1173" y="1013"/>
                  </a:lnTo>
                  <a:lnTo>
                    <a:pt x="1181" y="1010"/>
                  </a:lnTo>
                  <a:lnTo>
                    <a:pt x="1202" y="995"/>
                  </a:lnTo>
                  <a:lnTo>
                    <a:pt x="1207" y="994"/>
                  </a:lnTo>
                  <a:lnTo>
                    <a:pt x="1215" y="992"/>
                  </a:lnTo>
                  <a:lnTo>
                    <a:pt x="1232" y="992"/>
                  </a:lnTo>
                  <a:lnTo>
                    <a:pt x="1244" y="995"/>
                  </a:lnTo>
                  <a:lnTo>
                    <a:pt x="1266" y="1004"/>
                  </a:lnTo>
                  <a:lnTo>
                    <a:pt x="1291" y="1015"/>
                  </a:lnTo>
                  <a:lnTo>
                    <a:pt x="1309" y="1033"/>
                  </a:lnTo>
                  <a:lnTo>
                    <a:pt x="1316" y="1042"/>
                  </a:lnTo>
                  <a:lnTo>
                    <a:pt x="1336" y="1060"/>
                  </a:lnTo>
                  <a:lnTo>
                    <a:pt x="1345" y="1070"/>
                  </a:lnTo>
                  <a:lnTo>
                    <a:pt x="1362" y="1083"/>
                  </a:lnTo>
                  <a:lnTo>
                    <a:pt x="1364" y="1081"/>
                  </a:lnTo>
                  <a:lnTo>
                    <a:pt x="1366" y="1065"/>
                  </a:lnTo>
                  <a:lnTo>
                    <a:pt x="1368" y="1063"/>
                  </a:lnTo>
                  <a:lnTo>
                    <a:pt x="1369" y="1060"/>
                  </a:lnTo>
                  <a:lnTo>
                    <a:pt x="1367" y="1053"/>
                  </a:lnTo>
                  <a:lnTo>
                    <a:pt x="1368" y="1052"/>
                  </a:lnTo>
                  <a:lnTo>
                    <a:pt x="1371" y="1047"/>
                  </a:lnTo>
                  <a:lnTo>
                    <a:pt x="1377" y="1037"/>
                  </a:lnTo>
                  <a:lnTo>
                    <a:pt x="1378" y="1033"/>
                  </a:lnTo>
                  <a:lnTo>
                    <a:pt x="1401" y="997"/>
                  </a:lnTo>
                  <a:lnTo>
                    <a:pt x="1431" y="994"/>
                  </a:lnTo>
                  <a:lnTo>
                    <a:pt x="1454" y="994"/>
                  </a:lnTo>
                  <a:lnTo>
                    <a:pt x="1455" y="995"/>
                  </a:lnTo>
                  <a:lnTo>
                    <a:pt x="1455" y="994"/>
                  </a:lnTo>
                  <a:lnTo>
                    <a:pt x="1457" y="979"/>
                  </a:lnTo>
                  <a:lnTo>
                    <a:pt x="1454" y="974"/>
                  </a:lnTo>
                  <a:lnTo>
                    <a:pt x="1444" y="966"/>
                  </a:lnTo>
                  <a:lnTo>
                    <a:pt x="1441" y="957"/>
                  </a:lnTo>
                  <a:lnTo>
                    <a:pt x="1425" y="947"/>
                  </a:lnTo>
                  <a:lnTo>
                    <a:pt x="1399" y="922"/>
                  </a:lnTo>
                  <a:lnTo>
                    <a:pt x="1401" y="923"/>
                  </a:lnTo>
                  <a:lnTo>
                    <a:pt x="1433" y="923"/>
                  </a:lnTo>
                  <a:lnTo>
                    <a:pt x="1433" y="896"/>
                  </a:lnTo>
                  <a:lnTo>
                    <a:pt x="1528" y="895"/>
                  </a:lnTo>
                  <a:lnTo>
                    <a:pt x="1541" y="892"/>
                  </a:lnTo>
                  <a:lnTo>
                    <a:pt x="1546" y="892"/>
                  </a:lnTo>
                  <a:lnTo>
                    <a:pt x="1561" y="864"/>
                  </a:lnTo>
                  <a:lnTo>
                    <a:pt x="1565" y="861"/>
                  </a:lnTo>
                  <a:lnTo>
                    <a:pt x="1571" y="863"/>
                  </a:lnTo>
                  <a:lnTo>
                    <a:pt x="1572" y="855"/>
                  </a:lnTo>
                  <a:lnTo>
                    <a:pt x="1583" y="839"/>
                  </a:lnTo>
                  <a:lnTo>
                    <a:pt x="1590" y="842"/>
                  </a:lnTo>
                  <a:lnTo>
                    <a:pt x="1588" y="858"/>
                  </a:lnTo>
                  <a:lnTo>
                    <a:pt x="1593" y="859"/>
                  </a:lnTo>
                  <a:lnTo>
                    <a:pt x="1595" y="861"/>
                  </a:lnTo>
                  <a:lnTo>
                    <a:pt x="1594" y="876"/>
                  </a:lnTo>
                  <a:lnTo>
                    <a:pt x="1597" y="886"/>
                  </a:lnTo>
                  <a:lnTo>
                    <a:pt x="1600" y="881"/>
                  </a:lnTo>
                  <a:lnTo>
                    <a:pt x="1606" y="860"/>
                  </a:lnTo>
                  <a:lnTo>
                    <a:pt x="1608" y="849"/>
                  </a:lnTo>
                  <a:lnTo>
                    <a:pt x="1616" y="825"/>
                  </a:lnTo>
                  <a:lnTo>
                    <a:pt x="1619" y="815"/>
                  </a:lnTo>
                  <a:lnTo>
                    <a:pt x="1616" y="810"/>
                  </a:lnTo>
                  <a:lnTo>
                    <a:pt x="1611" y="806"/>
                  </a:lnTo>
                  <a:lnTo>
                    <a:pt x="1620" y="801"/>
                  </a:lnTo>
                  <a:lnTo>
                    <a:pt x="1619" y="794"/>
                  </a:lnTo>
                  <a:lnTo>
                    <a:pt x="1611" y="790"/>
                  </a:lnTo>
                  <a:lnTo>
                    <a:pt x="1617" y="782"/>
                  </a:lnTo>
                  <a:lnTo>
                    <a:pt x="1622" y="772"/>
                  </a:lnTo>
                  <a:lnTo>
                    <a:pt x="1622" y="763"/>
                  </a:lnTo>
                  <a:lnTo>
                    <a:pt x="1632" y="744"/>
                  </a:lnTo>
                  <a:lnTo>
                    <a:pt x="1641" y="736"/>
                  </a:lnTo>
                  <a:lnTo>
                    <a:pt x="1653" y="723"/>
                  </a:lnTo>
                  <a:lnTo>
                    <a:pt x="1656" y="714"/>
                  </a:lnTo>
                  <a:lnTo>
                    <a:pt x="1657" y="703"/>
                  </a:lnTo>
                  <a:lnTo>
                    <a:pt x="1654" y="692"/>
                  </a:lnTo>
                  <a:lnTo>
                    <a:pt x="1648" y="683"/>
                  </a:lnTo>
                  <a:lnTo>
                    <a:pt x="1617" y="680"/>
                  </a:lnTo>
                  <a:lnTo>
                    <a:pt x="1605" y="691"/>
                  </a:lnTo>
                  <a:lnTo>
                    <a:pt x="1605" y="678"/>
                  </a:lnTo>
                  <a:lnTo>
                    <a:pt x="1588" y="675"/>
                  </a:lnTo>
                  <a:lnTo>
                    <a:pt x="1576" y="676"/>
                  </a:lnTo>
                  <a:lnTo>
                    <a:pt x="1555" y="682"/>
                  </a:lnTo>
                  <a:lnTo>
                    <a:pt x="1544" y="690"/>
                  </a:lnTo>
                  <a:lnTo>
                    <a:pt x="1519" y="691"/>
                  </a:lnTo>
                  <a:lnTo>
                    <a:pt x="1504" y="691"/>
                  </a:lnTo>
                  <a:lnTo>
                    <a:pt x="1495" y="692"/>
                  </a:lnTo>
                  <a:lnTo>
                    <a:pt x="1484" y="697"/>
                  </a:lnTo>
                  <a:lnTo>
                    <a:pt x="1474" y="699"/>
                  </a:lnTo>
                  <a:lnTo>
                    <a:pt x="1464" y="708"/>
                  </a:lnTo>
                  <a:lnTo>
                    <a:pt x="1459" y="720"/>
                  </a:lnTo>
                  <a:lnTo>
                    <a:pt x="1457" y="750"/>
                  </a:lnTo>
                  <a:lnTo>
                    <a:pt x="1453" y="767"/>
                  </a:lnTo>
                  <a:lnTo>
                    <a:pt x="1449" y="779"/>
                  </a:lnTo>
                  <a:lnTo>
                    <a:pt x="1443" y="788"/>
                  </a:lnTo>
                  <a:lnTo>
                    <a:pt x="1441" y="801"/>
                  </a:lnTo>
                  <a:lnTo>
                    <a:pt x="1436" y="812"/>
                  </a:lnTo>
                  <a:lnTo>
                    <a:pt x="1426" y="823"/>
                  </a:lnTo>
                  <a:lnTo>
                    <a:pt x="1411" y="830"/>
                  </a:lnTo>
                  <a:lnTo>
                    <a:pt x="1414" y="849"/>
                  </a:lnTo>
                  <a:lnTo>
                    <a:pt x="1395" y="859"/>
                  </a:lnTo>
                  <a:lnTo>
                    <a:pt x="1387" y="860"/>
                  </a:lnTo>
                  <a:lnTo>
                    <a:pt x="1380" y="859"/>
                  </a:lnTo>
                  <a:lnTo>
                    <a:pt x="1377" y="854"/>
                  </a:lnTo>
                  <a:lnTo>
                    <a:pt x="1377" y="848"/>
                  </a:lnTo>
                  <a:lnTo>
                    <a:pt x="1368" y="846"/>
                  </a:lnTo>
                  <a:lnTo>
                    <a:pt x="1351" y="846"/>
                  </a:lnTo>
                  <a:lnTo>
                    <a:pt x="1345" y="848"/>
                  </a:lnTo>
                  <a:lnTo>
                    <a:pt x="1335" y="850"/>
                  </a:lnTo>
                  <a:lnTo>
                    <a:pt x="1321" y="858"/>
                  </a:lnTo>
                  <a:lnTo>
                    <a:pt x="1312" y="860"/>
                  </a:lnTo>
                  <a:lnTo>
                    <a:pt x="1303" y="859"/>
                  </a:lnTo>
                  <a:lnTo>
                    <a:pt x="1275" y="864"/>
                  </a:lnTo>
                  <a:lnTo>
                    <a:pt x="1251" y="876"/>
                  </a:lnTo>
                  <a:lnTo>
                    <a:pt x="1238" y="876"/>
                  </a:lnTo>
                  <a:lnTo>
                    <a:pt x="1226" y="868"/>
                  </a:lnTo>
                  <a:lnTo>
                    <a:pt x="1215" y="853"/>
                  </a:lnTo>
                  <a:lnTo>
                    <a:pt x="1210" y="849"/>
                  </a:lnTo>
                  <a:lnTo>
                    <a:pt x="1210" y="852"/>
                  </a:lnTo>
                  <a:lnTo>
                    <a:pt x="1195" y="850"/>
                  </a:lnTo>
                  <a:lnTo>
                    <a:pt x="1183" y="846"/>
                  </a:lnTo>
                  <a:lnTo>
                    <a:pt x="1175" y="843"/>
                  </a:lnTo>
                  <a:lnTo>
                    <a:pt x="1169" y="839"/>
                  </a:lnTo>
                  <a:lnTo>
                    <a:pt x="1164" y="832"/>
                  </a:lnTo>
                  <a:lnTo>
                    <a:pt x="1160" y="830"/>
                  </a:lnTo>
                  <a:lnTo>
                    <a:pt x="1154" y="822"/>
                  </a:lnTo>
                  <a:lnTo>
                    <a:pt x="1152" y="820"/>
                  </a:lnTo>
                  <a:lnTo>
                    <a:pt x="1149" y="820"/>
                  </a:lnTo>
                  <a:lnTo>
                    <a:pt x="1148" y="818"/>
                  </a:lnTo>
                  <a:lnTo>
                    <a:pt x="1146" y="809"/>
                  </a:lnTo>
                  <a:lnTo>
                    <a:pt x="1130" y="773"/>
                  </a:lnTo>
                  <a:lnTo>
                    <a:pt x="1126" y="766"/>
                  </a:lnTo>
                  <a:lnTo>
                    <a:pt x="1120" y="761"/>
                  </a:lnTo>
                  <a:lnTo>
                    <a:pt x="1108" y="747"/>
                  </a:lnTo>
                  <a:lnTo>
                    <a:pt x="1103" y="741"/>
                  </a:lnTo>
                  <a:lnTo>
                    <a:pt x="1088" y="717"/>
                  </a:lnTo>
                  <a:lnTo>
                    <a:pt x="1084" y="705"/>
                  </a:lnTo>
                  <a:lnTo>
                    <a:pt x="1086" y="703"/>
                  </a:lnTo>
                  <a:lnTo>
                    <a:pt x="1090" y="696"/>
                  </a:lnTo>
                  <a:lnTo>
                    <a:pt x="1090" y="690"/>
                  </a:lnTo>
                  <a:lnTo>
                    <a:pt x="1089" y="686"/>
                  </a:lnTo>
                  <a:lnTo>
                    <a:pt x="1071" y="664"/>
                  </a:lnTo>
                  <a:lnTo>
                    <a:pt x="1063" y="645"/>
                  </a:lnTo>
                  <a:lnTo>
                    <a:pt x="1063" y="634"/>
                  </a:lnTo>
                  <a:lnTo>
                    <a:pt x="1068" y="611"/>
                  </a:lnTo>
                  <a:lnTo>
                    <a:pt x="1067" y="574"/>
                  </a:lnTo>
                  <a:lnTo>
                    <a:pt x="1067" y="562"/>
                  </a:lnTo>
                  <a:lnTo>
                    <a:pt x="1065" y="552"/>
                  </a:lnTo>
                  <a:lnTo>
                    <a:pt x="1061" y="547"/>
                  </a:lnTo>
                  <a:lnTo>
                    <a:pt x="1060" y="529"/>
                  </a:lnTo>
                  <a:lnTo>
                    <a:pt x="1060" y="505"/>
                  </a:lnTo>
                  <a:lnTo>
                    <a:pt x="1057" y="502"/>
                  </a:lnTo>
                  <a:lnTo>
                    <a:pt x="1057" y="498"/>
                  </a:lnTo>
                  <a:lnTo>
                    <a:pt x="1062" y="484"/>
                  </a:lnTo>
                  <a:lnTo>
                    <a:pt x="1068" y="479"/>
                  </a:lnTo>
                  <a:lnTo>
                    <a:pt x="1071" y="467"/>
                  </a:lnTo>
                  <a:lnTo>
                    <a:pt x="1071" y="459"/>
                  </a:lnTo>
                  <a:lnTo>
                    <a:pt x="1073" y="455"/>
                  </a:lnTo>
                  <a:lnTo>
                    <a:pt x="1086" y="459"/>
                  </a:lnTo>
                  <a:lnTo>
                    <a:pt x="1089" y="457"/>
                  </a:lnTo>
                  <a:lnTo>
                    <a:pt x="1095" y="450"/>
                  </a:lnTo>
                  <a:lnTo>
                    <a:pt x="1098" y="444"/>
                  </a:lnTo>
                  <a:lnTo>
                    <a:pt x="1099" y="434"/>
                  </a:lnTo>
                  <a:lnTo>
                    <a:pt x="1098" y="433"/>
                  </a:lnTo>
                  <a:lnTo>
                    <a:pt x="1095" y="439"/>
                  </a:lnTo>
                  <a:lnTo>
                    <a:pt x="1093" y="443"/>
                  </a:lnTo>
                  <a:lnTo>
                    <a:pt x="1090" y="444"/>
                  </a:lnTo>
                  <a:lnTo>
                    <a:pt x="1089" y="444"/>
                  </a:lnTo>
                  <a:lnTo>
                    <a:pt x="1090" y="438"/>
                  </a:lnTo>
                  <a:lnTo>
                    <a:pt x="1095" y="425"/>
                  </a:lnTo>
                  <a:lnTo>
                    <a:pt x="1078" y="424"/>
                  </a:lnTo>
                  <a:lnTo>
                    <a:pt x="1060" y="416"/>
                  </a:lnTo>
                  <a:lnTo>
                    <a:pt x="1033" y="413"/>
                  </a:lnTo>
                  <a:lnTo>
                    <a:pt x="1018" y="405"/>
                  </a:lnTo>
                  <a:lnTo>
                    <a:pt x="1004" y="403"/>
                  </a:lnTo>
                  <a:lnTo>
                    <a:pt x="987" y="392"/>
                  </a:lnTo>
                  <a:lnTo>
                    <a:pt x="970" y="366"/>
                  </a:lnTo>
                  <a:lnTo>
                    <a:pt x="955" y="319"/>
                  </a:lnTo>
                  <a:lnTo>
                    <a:pt x="938" y="308"/>
                  </a:lnTo>
                  <a:lnTo>
                    <a:pt x="930" y="288"/>
                  </a:lnTo>
                  <a:lnTo>
                    <a:pt x="914" y="271"/>
                  </a:lnTo>
                  <a:lnTo>
                    <a:pt x="894" y="225"/>
                  </a:lnTo>
                  <a:lnTo>
                    <a:pt x="883" y="217"/>
                  </a:lnTo>
                  <a:lnTo>
                    <a:pt x="877" y="207"/>
                  </a:lnTo>
                  <a:lnTo>
                    <a:pt x="860" y="191"/>
                  </a:lnTo>
                  <a:lnTo>
                    <a:pt x="852" y="181"/>
                  </a:lnTo>
                  <a:lnTo>
                    <a:pt x="807" y="183"/>
                  </a:lnTo>
                  <a:lnTo>
                    <a:pt x="796" y="180"/>
                  </a:lnTo>
                  <a:lnTo>
                    <a:pt x="785" y="185"/>
                  </a:lnTo>
                  <a:lnTo>
                    <a:pt x="782" y="188"/>
                  </a:lnTo>
                  <a:lnTo>
                    <a:pt x="759" y="235"/>
                  </a:lnTo>
                  <a:lnTo>
                    <a:pt x="735" y="230"/>
                  </a:lnTo>
                  <a:lnTo>
                    <a:pt x="711" y="214"/>
                  </a:lnTo>
                  <a:lnTo>
                    <a:pt x="692" y="198"/>
                  </a:lnTo>
                  <a:lnTo>
                    <a:pt x="678" y="180"/>
                  </a:lnTo>
                  <a:lnTo>
                    <a:pt x="664" y="129"/>
                  </a:lnTo>
                  <a:lnTo>
                    <a:pt x="635" y="110"/>
                  </a:lnTo>
                  <a:lnTo>
                    <a:pt x="615" y="93"/>
                  </a:lnTo>
                  <a:lnTo>
                    <a:pt x="606" y="80"/>
                  </a:lnTo>
                  <a:lnTo>
                    <a:pt x="594" y="74"/>
                  </a:lnTo>
                  <a:lnTo>
                    <a:pt x="587" y="62"/>
                  </a:lnTo>
                  <a:lnTo>
                    <a:pt x="582" y="59"/>
                  </a:lnTo>
                  <a:lnTo>
                    <a:pt x="572" y="53"/>
                  </a:lnTo>
                  <a:lnTo>
                    <a:pt x="482" y="54"/>
                  </a:lnTo>
                  <a:lnTo>
                    <a:pt x="481" y="84"/>
                  </a:lnTo>
                  <a:lnTo>
                    <a:pt x="437" y="84"/>
                  </a:lnTo>
                  <a:lnTo>
                    <a:pt x="334" y="84"/>
                  </a:lnTo>
                  <a:lnTo>
                    <a:pt x="125" y="7"/>
                  </a:lnTo>
                  <a:lnTo>
                    <a:pt x="124" y="0"/>
                  </a:lnTo>
                  <a:lnTo>
                    <a:pt x="0" y="10"/>
                  </a:lnTo>
                  <a:lnTo>
                    <a:pt x="7" y="18"/>
                  </a:lnTo>
                  <a:lnTo>
                    <a:pt x="8" y="25"/>
                  </a:lnTo>
                  <a:lnTo>
                    <a:pt x="12" y="31"/>
                  </a:lnTo>
                  <a:lnTo>
                    <a:pt x="16" y="41"/>
                  </a:lnTo>
                  <a:lnTo>
                    <a:pt x="22" y="47"/>
                  </a:lnTo>
                  <a:lnTo>
                    <a:pt x="22" y="52"/>
                  </a:lnTo>
                  <a:lnTo>
                    <a:pt x="25" y="52"/>
                  </a:lnTo>
                  <a:lnTo>
                    <a:pt x="29" y="57"/>
                  </a:lnTo>
                  <a:lnTo>
                    <a:pt x="30" y="73"/>
                  </a:lnTo>
                  <a:lnTo>
                    <a:pt x="48" y="99"/>
                  </a:lnTo>
                  <a:lnTo>
                    <a:pt x="50" y="106"/>
                  </a:lnTo>
                  <a:lnTo>
                    <a:pt x="50" y="111"/>
                  </a:lnTo>
                  <a:lnTo>
                    <a:pt x="52" y="112"/>
                  </a:lnTo>
                  <a:lnTo>
                    <a:pt x="54" y="117"/>
                  </a:lnTo>
                  <a:lnTo>
                    <a:pt x="57" y="120"/>
                  </a:lnTo>
                  <a:lnTo>
                    <a:pt x="65" y="137"/>
                  </a:lnTo>
                  <a:lnTo>
                    <a:pt x="65" y="147"/>
                  </a:lnTo>
                  <a:lnTo>
                    <a:pt x="66" y="149"/>
                  </a:lnTo>
                  <a:lnTo>
                    <a:pt x="70" y="145"/>
                  </a:lnTo>
                  <a:lnTo>
                    <a:pt x="72" y="147"/>
                  </a:lnTo>
                  <a:lnTo>
                    <a:pt x="75" y="155"/>
                  </a:lnTo>
                  <a:lnTo>
                    <a:pt x="78" y="176"/>
                  </a:lnTo>
                  <a:lnTo>
                    <a:pt x="82" y="187"/>
                  </a:lnTo>
                  <a:lnTo>
                    <a:pt x="84" y="191"/>
                  </a:lnTo>
                  <a:lnTo>
                    <a:pt x="94" y="195"/>
                  </a:lnTo>
                  <a:lnTo>
                    <a:pt x="98" y="197"/>
                  </a:lnTo>
                  <a:lnTo>
                    <a:pt x="104" y="198"/>
                  </a:lnTo>
                  <a:lnTo>
                    <a:pt x="111" y="208"/>
                  </a:lnTo>
                  <a:lnTo>
                    <a:pt x="121" y="209"/>
                  </a:lnTo>
                  <a:lnTo>
                    <a:pt x="126" y="217"/>
                  </a:lnTo>
                  <a:lnTo>
                    <a:pt x="132" y="228"/>
                  </a:lnTo>
                  <a:lnTo>
                    <a:pt x="136" y="230"/>
                  </a:lnTo>
                  <a:lnTo>
                    <a:pt x="147" y="241"/>
                  </a:lnTo>
                  <a:lnTo>
                    <a:pt x="151" y="244"/>
                  </a:lnTo>
                  <a:lnTo>
                    <a:pt x="170" y="268"/>
                  </a:lnTo>
                  <a:lnTo>
                    <a:pt x="172" y="276"/>
                  </a:lnTo>
                  <a:lnTo>
                    <a:pt x="172" y="284"/>
                  </a:lnTo>
                  <a:lnTo>
                    <a:pt x="173" y="287"/>
                  </a:lnTo>
                  <a:lnTo>
                    <a:pt x="172" y="290"/>
                  </a:lnTo>
                  <a:lnTo>
                    <a:pt x="173" y="295"/>
                  </a:lnTo>
                  <a:lnTo>
                    <a:pt x="168" y="296"/>
                  </a:lnTo>
                  <a:lnTo>
                    <a:pt x="164" y="300"/>
                  </a:lnTo>
                  <a:lnTo>
                    <a:pt x="164" y="305"/>
                  </a:lnTo>
                  <a:lnTo>
                    <a:pt x="167" y="306"/>
                  </a:lnTo>
                  <a:lnTo>
                    <a:pt x="165" y="311"/>
                  </a:lnTo>
                  <a:lnTo>
                    <a:pt x="159" y="306"/>
                  </a:lnTo>
                  <a:lnTo>
                    <a:pt x="142" y="311"/>
                  </a:lnTo>
                  <a:lnTo>
                    <a:pt x="120" y="309"/>
                  </a:lnTo>
                  <a:lnTo>
                    <a:pt x="120" y="317"/>
                  </a:lnTo>
                  <a:lnTo>
                    <a:pt x="122" y="319"/>
                  </a:lnTo>
                  <a:lnTo>
                    <a:pt x="126" y="315"/>
                  </a:lnTo>
                  <a:lnTo>
                    <a:pt x="137" y="326"/>
                  </a:lnTo>
                  <a:lnTo>
                    <a:pt x="147" y="330"/>
                  </a:lnTo>
                  <a:lnTo>
                    <a:pt x="149" y="333"/>
                  </a:lnTo>
                  <a:lnTo>
                    <a:pt x="152" y="344"/>
                  </a:lnTo>
                  <a:lnTo>
                    <a:pt x="156" y="347"/>
                  </a:lnTo>
                  <a:lnTo>
                    <a:pt x="165" y="348"/>
                  </a:lnTo>
                  <a:lnTo>
                    <a:pt x="170" y="351"/>
                  </a:lnTo>
                  <a:lnTo>
                    <a:pt x="173" y="357"/>
                  </a:lnTo>
                  <a:lnTo>
                    <a:pt x="179" y="358"/>
                  </a:lnTo>
                  <a:lnTo>
                    <a:pt x="188" y="363"/>
                  </a:lnTo>
                  <a:lnTo>
                    <a:pt x="192" y="369"/>
                  </a:lnTo>
                  <a:lnTo>
                    <a:pt x="199" y="373"/>
                  </a:lnTo>
                  <a:lnTo>
                    <a:pt x="212" y="375"/>
                  </a:lnTo>
                  <a:lnTo>
                    <a:pt x="222" y="363"/>
                  </a:lnTo>
                  <a:lnTo>
                    <a:pt x="224" y="368"/>
                  </a:lnTo>
                  <a:lnTo>
                    <a:pt x="223" y="375"/>
                  </a:lnTo>
                  <a:lnTo>
                    <a:pt x="227" y="380"/>
                  </a:lnTo>
                  <a:lnTo>
                    <a:pt x="239" y="397"/>
                  </a:lnTo>
                  <a:lnTo>
                    <a:pt x="251" y="405"/>
                  </a:lnTo>
                  <a:lnTo>
                    <a:pt x="258" y="408"/>
                  </a:lnTo>
                  <a:lnTo>
                    <a:pt x="264" y="408"/>
                  </a:lnTo>
                  <a:lnTo>
                    <a:pt x="267" y="414"/>
                  </a:lnTo>
                  <a:lnTo>
                    <a:pt x="277" y="436"/>
                  </a:lnTo>
                  <a:lnTo>
                    <a:pt x="278" y="444"/>
                  </a:lnTo>
                  <a:lnTo>
                    <a:pt x="280" y="466"/>
                  </a:lnTo>
                  <a:lnTo>
                    <a:pt x="276" y="483"/>
                  </a:lnTo>
                  <a:lnTo>
                    <a:pt x="272" y="491"/>
                  </a:lnTo>
                  <a:lnTo>
                    <a:pt x="272" y="497"/>
                  </a:lnTo>
                  <a:lnTo>
                    <a:pt x="275" y="492"/>
                  </a:lnTo>
                  <a:lnTo>
                    <a:pt x="277" y="491"/>
                  </a:lnTo>
                  <a:lnTo>
                    <a:pt x="280" y="495"/>
                  </a:lnTo>
                  <a:lnTo>
                    <a:pt x="286" y="494"/>
                  </a:lnTo>
                  <a:lnTo>
                    <a:pt x="291" y="498"/>
                  </a:lnTo>
                  <a:lnTo>
                    <a:pt x="292" y="504"/>
                  </a:lnTo>
                  <a:lnTo>
                    <a:pt x="294" y="508"/>
                  </a:lnTo>
                  <a:lnTo>
                    <a:pt x="305" y="509"/>
                  </a:lnTo>
                  <a:lnTo>
                    <a:pt x="305" y="514"/>
                  </a:lnTo>
                  <a:lnTo>
                    <a:pt x="315" y="524"/>
                  </a:lnTo>
                  <a:lnTo>
                    <a:pt x="334" y="534"/>
                  </a:lnTo>
                  <a:lnTo>
                    <a:pt x="340" y="541"/>
                  </a:lnTo>
                  <a:lnTo>
                    <a:pt x="361" y="559"/>
                  </a:lnTo>
                  <a:lnTo>
                    <a:pt x="368" y="562"/>
                  </a:lnTo>
                  <a:lnTo>
                    <a:pt x="379" y="575"/>
                  </a:lnTo>
                  <a:lnTo>
                    <a:pt x="388" y="600"/>
                  </a:lnTo>
                  <a:lnTo>
                    <a:pt x="394" y="606"/>
                  </a:lnTo>
                  <a:lnTo>
                    <a:pt x="399" y="607"/>
                  </a:lnTo>
                  <a:lnTo>
                    <a:pt x="404" y="601"/>
                  </a:lnTo>
                  <a:lnTo>
                    <a:pt x="412" y="597"/>
                  </a:lnTo>
                  <a:lnTo>
                    <a:pt x="419" y="590"/>
                  </a:lnTo>
                  <a:lnTo>
                    <a:pt x="422" y="584"/>
                  </a:lnTo>
                  <a:lnTo>
                    <a:pt x="423" y="575"/>
                  </a:lnTo>
                  <a:lnTo>
                    <a:pt x="421" y="569"/>
                  </a:lnTo>
                  <a:lnTo>
                    <a:pt x="415" y="563"/>
                  </a:lnTo>
                  <a:lnTo>
                    <a:pt x="412" y="557"/>
                  </a:lnTo>
                  <a:lnTo>
                    <a:pt x="404" y="546"/>
                  </a:lnTo>
                  <a:lnTo>
                    <a:pt x="404" y="541"/>
                  </a:lnTo>
                  <a:lnTo>
                    <a:pt x="390" y="532"/>
                  </a:lnTo>
                  <a:lnTo>
                    <a:pt x="382" y="524"/>
                  </a:lnTo>
                  <a:lnTo>
                    <a:pt x="373" y="531"/>
                  </a:lnTo>
                  <a:lnTo>
                    <a:pt x="367" y="529"/>
                  </a:lnTo>
                  <a:lnTo>
                    <a:pt x="362" y="524"/>
                  </a:lnTo>
                  <a:lnTo>
                    <a:pt x="355" y="511"/>
                  </a:lnTo>
                  <a:lnTo>
                    <a:pt x="353" y="507"/>
                  </a:lnTo>
                  <a:lnTo>
                    <a:pt x="353" y="488"/>
                  </a:lnTo>
                  <a:lnTo>
                    <a:pt x="346" y="475"/>
                  </a:lnTo>
                  <a:lnTo>
                    <a:pt x="342" y="468"/>
                  </a:lnTo>
                  <a:lnTo>
                    <a:pt x="341" y="470"/>
                  </a:lnTo>
                  <a:lnTo>
                    <a:pt x="341" y="451"/>
                  </a:lnTo>
                  <a:lnTo>
                    <a:pt x="333" y="445"/>
                  </a:lnTo>
                  <a:lnTo>
                    <a:pt x="330" y="441"/>
                  </a:lnTo>
                  <a:lnTo>
                    <a:pt x="324" y="434"/>
                  </a:lnTo>
                  <a:lnTo>
                    <a:pt x="323" y="424"/>
                  </a:lnTo>
                  <a:lnTo>
                    <a:pt x="320" y="405"/>
                  </a:lnTo>
                  <a:lnTo>
                    <a:pt x="317" y="402"/>
                  </a:lnTo>
                  <a:lnTo>
                    <a:pt x="315" y="395"/>
                  </a:lnTo>
                  <a:lnTo>
                    <a:pt x="308" y="379"/>
                  </a:lnTo>
                  <a:lnTo>
                    <a:pt x="299" y="370"/>
                  </a:lnTo>
                  <a:lnTo>
                    <a:pt x="294" y="370"/>
                  </a:lnTo>
                  <a:lnTo>
                    <a:pt x="296" y="382"/>
                  </a:lnTo>
                  <a:lnTo>
                    <a:pt x="299" y="387"/>
                  </a:lnTo>
                  <a:lnTo>
                    <a:pt x="298" y="387"/>
                  </a:lnTo>
                  <a:lnTo>
                    <a:pt x="292" y="380"/>
                  </a:lnTo>
                  <a:lnTo>
                    <a:pt x="292" y="375"/>
                  </a:lnTo>
                  <a:lnTo>
                    <a:pt x="287" y="368"/>
                  </a:lnTo>
                  <a:lnTo>
                    <a:pt x="285" y="360"/>
                  </a:lnTo>
                  <a:lnTo>
                    <a:pt x="285" y="358"/>
                  </a:lnTo>
                  <a:lnTo>
                    <a:pt x="282" y="353"/>
                  </a:lnTo>
                  <a:lnTo>
                    <a:pt x="274" y="349"/>
                  </a:lnTo>
                  <a:lnTo>
                    <a:pt x="272" y="341"/>
                  </a:lnTo>
                  <a:lnTo>
                    <a:pt x="266" y="330"/>
                  </a:lnTo>
                  <a:lnTo>
                    <a:pt x="247" y="309"/>
                  </a:lnTo>
                  <a:lnTo>
                    <a:pt x="244" y="298"/>
                  </a:lnTo>
                  <a:lnTo>
                    <a:pt x="243" y="289"/>
                  </a:lnTo>
                  <a:lnTo>
                    <a:pt x="240" y="282"/>
                  </a:lnTo>
                  <a:lnTo>
                    <a:pt x="239" y="274"/>
                  </a:lnTo>
                  <a:lnTo>
                    <a:pt x="238" y="274"/>
                  </a:lnTo>
                  <a:lnTo>
                    <a:pt x="237" y="271"/>
                  </a:lnTo>
                  <a:lnTo>
                    <a:pt x="234" y="269"/>
                  </a:lnTo>
                  <a:lnTo>
                    <a:pt x="231" y="271"/>
                  </a:lnTo>
                  <a:lnTo>
                    <a:pt x="229" y="269"/>
                  </a:lnTo>
                  <a:lnTo>
                    <a:pt x="224" y="261"/>
                  </a:lnTo>
                  <a:lnTo>
                    <a:pt x="219" y="246"/>
                  </a:lnTo>
                  <a:lnTo>
                    <a:pt x="217" y="247"/>
                  </a:lnTo>
                  <a:lnTo>
                    <a:pt x="215" y="246"/>
                  </a:lnTo>
                  <a:lnTo>
                    <a:pt x="208" y="241"/>
                  </a:lnTo>
                  <a:lnTo>
                    <a:pt x="204" y="242"/>
                  </a:lnTo>
                  <a:lnTo>
                    <a:pt x="197" y="229"/>
                  </a:lnTo>
                  <a:lnTo>
                    <a:pt x="195" y="218"/>
                  </a:lnTo>
                  <a:lnTo>
                    <a:pt x="175" y="202"/>
                  </a:lnTo>
                  <a:lnTo>
                    <a:pt x="170" y="197"/>
                  </a:lnTo>
                  <a:lnTo>
                    <a:pt x="168" y="192"/>
                  </a:lnTo>
                  <a:lnTo>
                    <a:pt x="164" y="190"/>
                  </a:lnTo>
                  <a:lnTo>
                    <a:pt x="157" y="188"/>
                  </a:lnTo>
                  <a:lnTo>
                    <a:pt x="156" y="183"/>
                  </a:lnTo>
                  <a:lnTo>
                    <a:pt x="152" y="176"/>
                  </a:lnTo>
                  <a:lnTo>
                    <a:pt x="148" y="169"/>
                  </a:lnTo>
                  <a:lnTo>
                    <a:pt x="143" y="164"/>
                  </a:lnTo>
                  <a:lnTo>
                    <a:pt x="140" y="143"/>
                  </a:lnTo>
                  <a:lnTo>
                    <a:pt x="138" y="125"/>
                  </a:lnTo>
                  <a:lnTo>
                    <a:pt x="137" y="115"/>
                  </a:lnTo>
                  <a:lnTo>
                    <a:pt x="132" y="107"/>
                  </a:lnTo>
                  <a:lnTo>
                    <a:pt x="130" y="100"/>
                  </a:lnTo>
                  <a:lnTo>
                    <a:pt x="127" y="82"/>
                  </a:lnTo>
                  <a:lnTo>
                    <a:pt x="127" y="72"/>
                  </a:lnTo>
                  <a:lnTo>
                    <a:pt x="129" y="64"/>
                  </a:lnTo>
                  <a:lnTo>
                    <a:pt x="127" y="5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grpSp>
          <p:nvGrpSpPr>
            <p:cNvPr id="145" name="USA"/>
            <p:cNvGrpSpPr>
              <a:grpSpLocks noChangeAspect="1"/>
            </p:cNvGrpSpPr>
            <p:nvPr/>
          </p:nvGrpSpPr>
          <p:grpSpPr bwMode="gray">
            <a:xfrm>
              <a:off x="137614" y="1982506"/>
              <a:ext cx="2602747" cy="1984828"/>
              <a:chOff x="672" y="1356"/>
              <a:chExt cx="1112" cy="848"/>
            </a:xfrm>
            <a:grpFill/>
          </p:grpSpPr>
          <p:grpSp>
            <p:nvGrpSpPr>
              <p:cNvPr id="215" name="Group 271"/>
              <p:cNvGrpSpPr>
                <a:grpSpLocks noChangeAspect="1"/>
              </p:cNvGrpSpPr>
              <p:nvPr/>
            </p:nvGrpSpPr>
            <p:grpSpPr bwMode="gray">
              <a:xfrm>
                <a:off x="672" y="1356"/>
                <a:ext cx="418" cy="413"/>
                <a:chOff x="672" y="1356"/>
                <a:chExt cx="418" cy="413"/>
              </a:xfrm>
              <a:grpFill/>
            </p:grpSpPr>
            <p:sp>
              <p:nvSpPr>
                <p:cNvPr id="222" name="USA"/>
                <p:cNvSpPr>
                  <a:spLocks noChangeAspect="1"/>
                </p:cNvSpPr>
                <p:nvPr>
                  <p:custDataLst>
                    <p:tags r:id="rId208"/>
                  </p:custDataLst>
                </p:nvPr>
              </p:nvSpPr>
              <p:spPr bwMode="gray">
                <a:xfrm>
                  <a:off x="776" y="1738"/>
                  <a:ext cx="3" cy="7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5"/>
                    </a:cxn>
                    <a:cxn ang="0">
                      <a:pos x="1" y="3"/>
                    </a:cxn>
                    <a:cxn ang="0">
                      <a:pos x="7" y="3"/>
                    </a:cxn>
                    <a:cxn ang="0">
                      <a:pos x="12" y="6"/>
                    </a:cxn>
                    <a:cxn ang="0">
                      <a:pos x="9" y="10"/>
                    </a:cxn>
                    <a:cxn ang="0">
                      <a:pos x="11" y="13"/>
                    </a:cxn>
                    <a:cxn ang="0">
                      <a:pos x="5" y="33"/>
                    </a:cxn>
                    <a:cxn ang="0">
                      <a:pos x="4" y="29"/>
                    </a:cxn>
                    <a:cxn ang="0">
                      <a:pos x="4" y="9"/>
                    </a:cxn>
                    <a:cxn ang="0">
                      <a:pos x="3" y="6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12" h="33">
                      <a:moveTo>
                        <a:pt x="3" y="0"/>
                      </a:move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7" y="3"/>
                      </a:lnTo>
                      <a:lnTo>
                        <a:pt x="12" y="6"/>
                      </a:lnTo>
                      <a:lnTo>
                        <a:pt x="9" y="10"/>
                      </a:lnTo>
                      <a:lnTo>
                        <a:pt x="11" y="13"/>
                      </a:lnTo>
                      <a:lnTo>
                        <a:pt x="5" y="33"/>
                      </a:lnTo>
                      <a:lnTo>
                        <a:pt x="4" y="29"/>
                      </a:lnTo>
                      <a:lnTo>
                        <a:pt x="4" y="9"/>
                      </a:lnTo>
                      <a:lnTo>
                        <a:pt x="3" y="6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3" name="USA"/>
                <p:cNvSpPr>
                  <a:spLocks noChangeAspect="1"/>
                </p:cNvSpPr>
                <p:nvPr>
                  <p:custDataLst>
                    <p:tags r:id="rId209"/>
                  </p:custDataLst>
                </p:nvPr>
              </p:nvSpPr>
              <p:spPr bwMode="gray">
                <a:xfrm>
                  <a:off x="833" y="1721"/>
                  <a:ext cx="6" cy="4"/>
                </a:xfrm>
                <a:custGeom>
                  <a:avLst/>
                  <a:gdLst/>
                  <a:ahLst/>
                  <a:cxnLst>
                    <a:cxn ang="0">
                      <a:pos x="13" y="9"/>
                    </a:cxn>
                    <a:cxn ang="0">
                      <a:pos x="5" y="18"/>
                    </a:cxn>
                    <a:cxn ang="0">
                      <a:pos x="0" y="9"/>
                    </a:cxn>
                    <a:cxn ang="0">
                      <a:pos x="5" y="2"/>
                    </a:cxn>
                    <a:cxn ang="0">
                      <a:pos x="10" y="0"/>
                    </a:cxn>
                    <a:cxn ang="0">
                      <a:pos x="13" y="1"/>
                    </a:cxn>
                    <a:cxn ang="0">
                      <a:pos x="26" y="1"/>
                    </a:cxn>
                    <a:cxn ang="0">
                      <a:pos x="27" y="3"/>
                    </a:cxn>
                    <a:cxn ang="0">
                      <a:pos x="13" y="9"/>
                    </a:cxn>
                  </a:cxnLst>
                  <a:rect l="0" t="0" r="r" b="b"/>
                  <a:pathLst>
                    <a:path w="27" h="18">
                      <a:moveTo>
                        <a:pt x="13" y="9"/>
                      </a:moveTo>
                      <a:lnTo>
                        <a:pt x="5" y="18"/>
                      </a:lnTo>
                      <a:lnTo>
                        <a:pt x="0" y="9"/>
                      </a:lnTo>
                      <a:lnTo>
                        <a:pt x="5" y="2"/>
                      </a:lnTo>
                      <a:lnTo>
                        <a:pt x="10" y="0"/>
                      </a:lnTo>
                      <a:lnTo>
                        <a:pt x="13" y="1"/>
                      </a:lnTo>
                      <a:lnTo>
                        <a:pt x="26" y="1"/>
                      </a:lnTo>
                      <a:lnTo>
                        <a:pt x="27" y="3"/>
                      </a:lnTo>
                      <a:lnTo>
                        <a:pt x="13" y="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4" name="USA"/>
                <p:cNvSpPr>
                  <a:spLocks noChangeAspect="1"/>
                </p:cNvSpPr>
                <p:nvPr>
                  <p:custDataLst>
                    <p:tags r:id="rId210"/>
                  </p:custDataLst>
                </p:nvPr>
              </p:nvSpPr>
              <p:spPr bwMode="gray">
                <a:xfrm>
                  <a:off x="817" y="1706"/>
                  <a:ext cx="29" cy="24"/>
                </a:xfrm>
                <a:custGeom>
                  <a:avLst/>
                  <a:gdLst/>
                  <a:ahLst/>
                  <a:cxnLst>
                    <a:cxn ang="0">
                      <a:pos x="0" y="60"/>
                    </a:cxn>
                    <a:cxn ang="0">
                      <a:pos x="9" y="56"/>
                    </a:cxn>
                    <a:cxn ang="0">
                      <a:pos x="21" y="33"/>
                    </a:cxn>
                    <a:cxn ang="0">
                      <a:pos x="28" y="30"/>
                    </a:cxn>
                    <a:cxn ang="0">
                      <a:pos x="45" y="29"/>
                    </a:cxn>
                    <a:cxn ang="0">
                      <a:pos x="44" y="39"/>
                    </a:cxn>
                    <a:cxn ang="0">
                      <a:pos x="48" y="51"/>
                    </a:cxn>
                    <a:cxn ang="0">
                      <a:pos x="58" y="43"/>
                    </a:cxn>
                    <a:cxn ang="0">
                      <a:pos x="58" y="34"/>
                    </a:cxn>
                    <a:cxn ang="0">
                      <a:pos x="50" y="16"/>
                    </a:cxn>
                    <a:cxn ang="0">
                      <a:pos x="53" y="6"/>
                    </a:cxn>
                    <a:cxn ang="0">
                      <a:pos x="66" y="14"/>
                    </a:cxn>
                    <a:cxn ang="0">
                      <a:pos x="70" y="25"/>
                    </a:cxn>
                    <a:cxn ang="0">
                      <a:pos x="80" y="12"/>
                    </a:cxn>
                    <a:cxn ang="0">
                      <a:pos x="93" y="9"/>
                    </a:cxn>
                    <a:cxn ang="0">
                      <a:pos x="90" y="0"/>
                    </a:cxn>
                    <a:cxn ang="0">
                      <a:pos x="100" y="1"/>
                    </a:cxn>
                    <a:cxn ang="0">
                      <a:pos x="104" y="14"/>
                    </a:cxn>
                    <a:cxn ang="0">
                      <a:pos x="117" y="4"/>
                    </a:cxn>
                    <a:cxn ang="0">
                      <a:pos x="128" y="7"/>
                    </a:cxn>
                    <a:cxn ang="0">
                      <a:pos x="125" y="23"/>
                    </a:cxn>
                    <a:cxn ang="0">
                      <a:pos x="127" y="29"/>
                    </a:cxn>
                    <a:cxn ang="0">
                      <a:pos x="145" y="34"/>
                    </a:cxn>
                    <a:cxn ang="0">
                      <a:pos x="129" y="49"/>
                    </a:cxn>
                    <a:cxn ang="0">
                      <a:pos x="104" y="40"/>
                    </a:cxn>
                    <a:cxn ang="0">
                      <a:pos x="118" y="52"/>
                    </a:cxn>
                    <a:cxn ang="0">
                      <a:pos x="122" y="65"/>
                    </a:cxn>
                    <a:cxn ang="0">
                      <a:pos x="112" y="56"/>
                    </a:cxn>
                    <a:cxn ang="0">
                      <a:pos x="103" y="61"/>
                    </a:cxn>
                    <a:cxn ang="0">
                      <a:pos x="96" y="63"/>
                    </a:cxn>
                    <a:cxn ang="0">
                      <a:pos x="95" y="68"/>
                    </a:cxn>
                    <a:cxn ang="0">
                      <a:pos x="74" y="86"/>
                    </a:cxn>
                    <a:cxn ang="0">
                      <a:pos x="65" y="90"/>
                    </a:cxn>
                    <a:cxn ang="0">
                      <a:pos x="66" y="102"/>
                    </a:cxn>
                    <a:cxn ang="0">
                      <a:pos x="43" y="117"/>
                    </a:cxn>
                    <a:cxn ang="0">
                      <a:pos x="53" y="100"/>
                    </a:cxn>
                    <a:cxn ang="0">
                      <a:pos x="44" y="93"/>
                    </a:cxn>
                    <a:cxn ang="0">
                      <a:pos x="44" y="83"/>
                    </a:cxn>
                    <a:cxn ang="0">
                      <a:pos x="31" y="77"/>
                    </a:cxn>
                    <a:cxn ang="0">
                      <a:pos x="29" y="82"/>
                    </a:cxn>
                    <a:cxn ang="0">
                      <a:pos x="37" y="102"/>
                    </a:cxn>
                    <a:cxn ang="0">
                      <a:pos x="20" y="98"/>
                    </a:cxn>
                    <a:cxn ang="0">
                      <a:pos x="16" y="78"/>
                    </a:cxn>
                    <a:cxn ang="0">
                      <a:pos x="7" y="66"/>
                    </a:cxn>
                  </a:cxnLst>
                  <a:rect l="0" t="0" r="r" b="b"/>
                  <a:pathLst>
                    <a:path w="145" h="117">
                      <a:moveTo>
                        <a:pt x="4" y="59"/>
                      </a:moveTo>
                      <a:lnTo>
                        <a:pt x="0" y="60"/>
                      </a:lnTo>
                      <a:lnTo>
                        <a:pt x="0" y="56"/>
                      </a:lnTo>
                      <a:lnTo>
                        <a:pt x="9" y="56"/>
                      </a:lnTo>
                      <a:lnTo>
                        <a:pt x="9" y="47"/>
                      </a:lnTo>
                      <a:lnTo>
                        <a:pt x="21" y="33"/>
                      </a:lnTo>
                      <a:lnTo>
                        <a:pt x="25" y="34"/>
                      </a:lnTo>
                      <a:lnTo>
                        <a:pt x="28" y="30"/>
                      </a:lnTo>
                      <a:lnTo>
                        <a:pt x="39" y="29"/>
                      </a:lnTo>
                      <a:lnTo>
                        <a:pt x="45" y="29"/>
                      </a:lnTo>
                      <a:lnTo>
                        <a:pt x="39" y="38"/>
                      </a:lnTo>
                      <a:lnTo>
                        <a:pt x="44" y="39"/>
                      </a:lnTo>
                      <a:lnTo>
                        <a:pt x="47" y="44"/>
                      </a:lnTo>
                      <a:lnTo>
                        <a:pt x="48" y="51"/>
                      </a:lnTo>
                      <a:lnTo>
                        <a:pt x="57" y="54"/>
                      </a:lnTo>
                      <a:lnTo>
                        <a:pt x="58" y="43"/>
                      </a:lnTo>
                      <a:lnTo>
                        <a:pt x="60" y="39"/>
                      </a:lnTo>
                      <a:lnTo>
                        <a:pt x="58" y="34"/>
                      </a:lnTo>
                      <a:lnTo>
                        <a:pt x="63" y="32"/>
                      </a:lnTo>
                      <a:lnTo>
                        <a:pt x="50" y="16"/>
                      </a:lnTo>
                      <a:lnTo>
                        <a:pt x="49" y="9"/>
                      </a:lnTo>
                      <a:lnTo>
                        <a:pt x="53" y="6"/>
                      </a:lnTo>
                      <a:lnTo>
                        <a:pt x="61" y="4"/>
                      </a:lnTo>
                      <a:lnTo>
                        <a:pt x="66" y="14"/>
                      </a:lnTo>
                      <a:lnTo>
                        <a:pt x="68" y="24"/>
                      </a:lnTo>
                      <a:lnTo>
                        <a:pt x="70" y="25"/>
                      </a:lnTo>
                      <a:lnTo>
                        <a:pt x="75" y="16"/>
                      </a:lnTo>
                      <a:lnTo>
                        <a:pt x="80" y="12"/>
                      </a:lnTo>
                      <a:lnTo>
                        <a:pt x="90" y="14"/>
                      </a:lnTo>
                      <a:lnTo>
                        <a:pt x="93" y="9"/>
                      </a:lnTo>
                      <a:lnTo>
                        <a:pt x="95" y="6"/>
                      </a:lnTo>
                      <a:lnTo>
                        <a:pt x="90" y="0"/>
                      </a:lnTo>
                      <a:lnTo>
                        <a:pt x="96" y="2"/>
                      </a:lnTo>
                      <a:lnTo>
                        <a:pt x="100" y="1"/>
                      </a:lnTo>
                      <a:lnTo>
                        <a:pt x="104" y="2"/>
                      </a:lnTo>
                      <a:lnTo>
                        <a:pt x="104" y="14"/>
                      </a:lnTo>
                      <a:lnTo>
                        <a:pt x="108" y="18"/>
                      </a:lnTo>
                      <a:lnTo>
                        <a:pt x="117" y="4"/>
                      </a:lnTo>
                      <a:lnTo>
                        <a:pt x="125" y="2"/>
                      </a:lnTo>
                      <a:lnTo>
                        <a:pt x="128" y="7"/>
                      </a:lnTo>
                      <a:lnTo>
                        <a:pt x="127" y="20"/>
                      </a:lnTo>
                      <a:lnTo>
                        <a:pt x="125" y="23"/>
                      </a:lnTo>
                      <a:lnTo>
                        <a:pt x="125" y="29"/>
                      </a:lnTo>
                      <a:lnTo>
                        <a:pt x="127" y="29"/>
                      </a:lnTo>
                      <a:lnTo>
                        <a:pt x="128" y="34"/>
                      </a:lnTo>
                      <a:lnTo>
                        <a:pt x="145" y="34"/>
                      </a:lnTo>
                      <a:lnTo>
                        <a:pt x="138" y="49"/>
                      </a:lnTo>
                      <a:lnTo>
                        <a:pt x="129" y="49"/>
                      </a:lnTo>
                      <a:lnTo>
                        <a:pt x="111" y="39"/>
                      </a:lnTo>
                      <a:lnTo>
                        <a:pt x="104" y="40"/>
                      </a:lnTo>
                      <a:lnTo>
                        <a:pt x="102" y="49"/>
                      </a:lnTo>
                      <a:lnTo>
                        <a:pt x="118" y="52"/>
                      </a:lnTo>
                      <a:lnTo>
                        <a:pt x="122" y="56"/>
                      </a:lnTo>
                      <a:lnTo>
                        <a:pt x="122" y="65"/>
                      </a:lnTo>
                      <a:lnTo>
                        <a:pt x="112" y="63"/>
                      </a:lnTo>
                      <a:lnTo>
                        <a:pt x="112" y="56"/>
                      </a:lnTo>
                      <a:lnTo>
                        <a:pt x="108" y="56"/>
                      </a:lnTo>
                      <a:lnTo>
                        <a:pt x="103" y="61"/>
                      </a:lnTo>
                      <a:lnTo>
                        <a:pt x="93" y="63"/>
                      </a:lnTo>
                      <a:lnTo>
                        <a:pt x="96" y="63"/>
                      </a:lnTo>
                      <a:lnTo>
                        <a:pt x="100" y="68"/>
                      </a:lnTo>
                      <a:lnTo>
                        <a:pt x="95" y="68"/>
                      </a:lnTo>
                      <a:lnTo>
                        <a:pt x="84" y="72"/>
                      </a:lnTo>
                      <a:lnTo>
                        <a:pt x="74" y="86"/>
                      </a:lnTo>
                      <a:lnTo>
                        <a:pt x="66" y="87"/>
                      </a:lnTo>
                      <a:lnTo>
                        <a:pt x="65" y="90"/>
                      </a:lnTo>
                      <a:lnTo>
                        <a:pt x="66" y="94"/>
                      </a:lnTo>
                      <a:lnTo>
                        <a:pt x="66" y="102"/>
                      </a:lnTo>
                      <a:lnTo>
                        <a:pt x="63" y="109"/>
                      </a:lnTo>
                      <a:lnTo>
                        <a:pt x="43" y="117"/>
                      </a:lnTo>
                      <a:lnTo>
                        <a:pt x="47" y="108"/>
                      </a:lnTo>
                      <a:lnTo>
                        <a:pt x="53" y="100"/>
                      </a:lnTo>
                      <a:lnTo>
                        <a:pt x="53" y="95"/>
                      </a:lnTo>
                      <a:lnTo>
                        <a:pt x="44" y="93"/>
                      </a:lnTo>
                      <a:lnTo>
                        <a:pt x="43" y="87"/>
                      </a:lnTo>
                      <a:lnTo>
                        <a:pt x="44" y="83"/>
                      </a:lnTo>
                      <a:lnTo>
                        <a:pt x="39" y="79"/>
                      </a:lnTo>
                      <a:lnTo>
                        <a:pt x="31" y="77"/>
                      </a:lnTo>
                      <a:lnTo>
                        <a:pt x="27" y="79"/>
                      </a:lnTo>
                      <a:lnTo>
                        <a:pt x="29" y="82"/>
                      </a:lnTo>
                      <a:lnTo>
                        <a:pt x="36" y="83"/>
                      </a:lnTo>
                      <a:lnTo>
                        <a:pt x="37" y="102"/>
                      </a:lnTo>
                      <a:lnTo>
                        <a:pt x="29" y="106"/>
                      </a:lnTo>
                      <a:lnTo>
                        <a:pt x="20" y="98"/>
                      </a:lnTo>
                      <a:lnTo>
                        <a:pt x="17" y="88"/>
                      </a:lnTo>
                      <a:lnTo>
                        <a:pt x="16" y="78"/>
                      </a:lnTo>
                      <a:lnTo>
                        <a:pt x="14" y="68"/>
                      </a:lnTo>
                      <a:lnTo>
                        <a:pt x="7" y="66"/>
                      </a:lnTo>
                      <a:lnTo>
                        <a:pt x="4" y="5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5" name="USA"/>
                <p:cNvSpPr>
                  <a:spLocks noChangeAspect="1"/>
                </p:cNvSpPr>
                <p:nvPr>
                  <p:custDataLst>
                    <p:tags r:id="rId211"/>
                  </p:custDataLst>
                </p:nvPr>
              </p:nvSpPr>
              <p:spPr bwMode="gray">
                <a:xfrm>
                  <a:off x="672" y="1356"/>
                  <a:ext cx="328" cy="411"/>
                </a:xfrm>
                <a:custGeom>
                  <a:avLst/>
                  <a:gdLst/>
                  <a:ahLst/>
                  <a:cxnLst>
                    <a:cxn ang="0">
                      <a:pos x="1427" y="242"/>
                    </a:cxn>
                    <a:cxn ang="0">
                      <a:pos x="1252" y="223"/>
                    </a:cxn>
                    <a:cxn ang="0">
                      <a:pos x="977" y="152"/>
                    </a:cxn>
                    <a:cxn ang="0">
                      <a:pos x="845" y="94"/>
                    </a:cxn>
                    <a:cxn ang="0">
                      <a:pos x="709" y="40"/>
                    </a:cxn>
                    <a:cxn ang="0">
                      <a:pos x="672" y="64"/>
                    </a:cxn>
                    <a:cxn ang="0">
                      <a:pos x="602" y="33"/>
                    </a:cxn>
                    <a:cxn ang="0">
                      <a:pos x="466" y="88"/>
                    </a:cxn>
                    <a:cxn ang="0">
                      <a:pos x="440" y="158"/>
                    </a:cxn>
                    <a:cxn ang="0">
                      <a:pos x="353" y="233"/>
                    </a:cxn>
                    <a:cxn ang="0">
                      <a:pos x="270" y="323"/>
                    </a:cxn>
                    <a:cxn ang="0">
                      <a:pos x="102" y="459"/>
                    </a:cxn>
                    <a:cxn ang="0">
                      <a:pos x="233" y="608"/>
                    </a:cxn>
                    <a:cxn ang="0">
                      <a:pos x="319" y="670"/>
                    </a:cxn>
                    <a:cxn ang="0">
                      <a:pos x="436" y="717"/>
                    </a:cxn>
                    <a:cxn ang="0">
                      <a:pos x="392" y="748"/>
                    </a:cxn>
                    <a:cxn ang="0">
                      <a:pos x="393" y="780"/>
                    </a:cxn>
                    <a:cxn ang="0">
                      <a:pos x="289" y="796"/>
                    </a:cxn>
                    <a:cxn ang="0">
                      <a:pos x="160" y="749"/>
                    </a:cxn>
                    <a:cxn ang="0">
                      <a:pos x="36" y="829"/>
                    </a:cxn>
                    <a:cxn ang="0">
                      <a:pos x="70" y="906"/>
                    </a:cxn>
                    <a:cxn ang="0">
                      <a:pos x="270" y="1001"/>
                    </a:cxn>
                    <a:cxn ang="0">
                      <a:pos x="405" y="970"/>
                    </a:cxn>
                    <a:cxn ang="0">
                      <a:pos x="394" y="1115"/>
                    </a:cxn>
                    <a:cxn ang="0">
                      <a:pos x="256" y="1179"/>
                    </a:cxn>
                    <a:cxn ang="0">
                      <a:pos x="127" y="1305"/>
                    </a:cxn>
                    <a:cxn ang="0">
                      <a:pos x="155" y="1358"/>
                    </a:cxn>
                    <a:cxn ang="0">
                      <a:pos x="193" y="1420"/>
                    </a:cxn>
                    <a:cxn ang="0">
                      <a:pos x="222" y="1535"/>
                    </a:cxn>
                    <a:cxn ang="0">
                      <a:pos x="313" y="1517"/>
                    </a:cxn>
                    <a:cxn ang="0">
                      <a:pos x="349" y="1583"/>
                    </a:cxn>
                    <a:cxn ang="0">
                      <a:pos x="345" y="1683"/>
                    </a:cxn>
                    <a:cxn ang="0">
                      <a:pos x="461" y="1652"/>
                    </a:cxn>
                    <a:cxn ang="0">
                      <a:pos x="548" y="1679"/>
                    </a:cxn>
                    <a:cxn ang="0">
                      <a:pos x="549" y="1814"/>
                    </a:cxn>
                    <a:cxn ang="0">
                      <a:pos x="414" y="1939"/>
                    </a:cxn>
                    <a:cxn ang="0">
                      <a:pos x="326" y="1968"/>
                    </a:cxn>
                    <a:cxn ang="0">
                      <a:pos x="263" y="2054"/>
                    </a:cxn>
                    <a:cxn ang="0">
                      <a:pos x="334" y="2020"/>
                    </a:cxn>
                    <a:cxn ang="0">
                      <a:pos x="432" y="1975"/>
                    </a:cxn>
                    <a:cxn ang="0">
                      <a:pos x="515" y="1925"/>
                    </a:cxn>
                    <a:cxn ang="0">
                      <a:pos x="576" y="1872"/>
                    </a:cxn>
                    <a:cxn ang="0">
                      <a:pos x="658" y="1788"/>
                    </a:cxn>
                    <a:cxn ang="0">
                      <a:pos x="767" y="1707"/>
                    </a:cxn>
                    <a:cxn ang="0">
                      <a:pos x="785" y="1592"/>
                    </a:cxn>
                    <a:cxn ang="0">
                      <a:pos x="827" y="1501"/>
                    </a:cxn>
                    <a:cxn ang="0">
                      <a:pos x="983" y="1287"/>
                    </a:cxn>
                    <a:cxn ang="0">
                      <a:pos x="1042" y="1436"/>
                    </a:cxn>
                    <a:cxn ang="0">
                      <a:pos x="892" y="1567"/>
                    </a:cxn>
                    <a:cxn ang="0">
                      <a:pos x="892" y="1617"/>
                    </a:cxn>
                    <a:cxn ang="0">
                      <a:pos x="1000" y="1550"/>
                    </a:cxn>
                    <a:cxn ang="0">
                      <a:pos x="1088" y="1509"/>
                    </a:cxn>
                    <a:cxn ang="0">
                      <a:pos x="1066" y="1448"/>
                    </a:cxn>
                    <a:cxn ang="0">
                      <a:pos x="1115" y="1405"/>
                    </a:cxn>
                    <a:cxn ang="0">
                      <a:pos x="1168" y="1454"/>
                    </a:cxn>
                    <a:cxn ang="0">
                      <a:pos x="1263" y="1481"/>
                    </a:cxn>
                    <a:cxn ang="0">
                      <a:pos x="1383" y="1528"/>
                    </a:cxn>
                    <a:cxn ang="0">
                      <a:pos x="1574" y="1540"/>
                    </a:cxn>
                    <a:cxn ang="0">
                      <a:pos x="1564" y="1570"/>
                    </a:cxn>
                    <a:cxn ang="0">
                      <a:pos x="1628" y="1599"/>
                    </a:cxn>
                  </a:cxnLst>
                  <a:rect l="0" t="0" r="r" b="b"/>
                  <a:pathLst>
                    <a:path w="1638" h="2054">
                      <a:moveTo>
                        <a:pt x="1486" y="1466"/>
                      </a:moveTo>
                      <a:lnTo>
                        <a:pt x="1486" y="1356"/>
                      </a:lnTo>
                      <a:lnTo>
                        <a:pt x="1486" y="1249"/>
                      </a:lnTo>
                      <a:lnTo>
                        <a:pt x="1486" y="1148"/>
                      </a:lnTo>
                      <a:lnTo>
                        <a:pt x="1486" y="1039"/>
                      </a:lnTo>
                      <a:lnTo>
                        <a:pt x="1486" y="915"/>
                      </a:lnTo>
                      <a:lnTo>
                        <a:pt x="1486" y="793"/>
                      </a:lnTo>
                      <a:lnTo>
                        <a:pt x="1486" y="678"/>
                      </a:lnTo>
                      <a:lnTo>
                        <a:pt x="1486" y="553"/>
                      </a:lnTo>
                      <a:lnTo>
                        <a:pt x="1486" y="409"/>
                      </a:lnTo>
                      <a:lnTo>
                        <a:pt x="1486" y="266"/>
                      </a:lnTo>
                      <a:lnTo>
                        <a:pt x="1484" y="263"/>
                      </a:lnTo>
                      <a:lnTo>
                        <a:pt x="1477" y="263"/>
                      </a:lnTo>
                      <a:lnTo>
                        <a:pt x="1475" y="270"/>
                      </a:lnTo>
                      <a:lnTo>
                        <a:pt x="1470" y="280"/>
                      </a:lnTo>
                      <a:lnTo>
                        <a:pt x="1467" y="276"/>
                      </a:lnTo>
                      <a:lnTo>
                        <a:pt x="1456" y="259"/>
                      </a:lnTo>
                      <a:lnTo>
                        <a:pt x="1429" y="248"/>
                      </a:lnTo>
                      <a:lnTo>
                        <a:pt x="1427" y="242"/>
                      </a:lnTo>
                      <a:lnTo>
                        <a:pt x="1408" y="232"/>
                      </a:lnTo>
                      <a:lnTo>
                        <a:pt x="1408" y="228"/>
                      </a:lnTo>
                      <a:lnTo>
                        <a:pt x="1403" y="221"/>
                      </a:lnTo>
                      <a:lnTo>
                        <a:pt x="1365" y="201"/>
                      </a:lnTo>
                      <a:lnTo>
                        <a:pt x="1361" y="205"/>
                      </a:lnTo>
                      <a:lnTo>
                        <a:pt x="1355" y="206"/>
                      </a:lnTo>
                      <a:lnTo>
                        <a:pt x="1350" y="202"/>
                      </a:lnTo>
                      <a:lnTo>
                        <a:pt x="1351" y="214"/>
                      </a:lnTo>
                      <a:lnTo>
                        <a:pt x="1349" y="220"/>
                      </a:lnTo>
                      <a:lnTo>
                        <a:pt x="1341" y="209"/>
                      </a:lnTo>
                      <a:lnTo>
                        <a:pt x="1335" y="205"/>
                      </a:lnTo>
                      <a:lnTo>
                        <a:pt x="1330" y="209"/>
                      </a:lnTo>
                      <a:lnTo>
                        <a:pt x="1303" y="214"/>
                      </a:lnTo>
                      <a:lnTo>
                        <a:pt x="1302" y="217"/>
                      </a:lnTo>
                      <a:lnTo>
                        <a:pt x="1290" y="225"/>
                      </a:lnTo>
                      <a:lnTo>
                        <a:pt x="1280" y="225"/>
                      </a:lnTo>
                      <a:lnTo>
                        <a:pt x="1273" y="217"/>
                      </a:lnTo>
                      <a:lnTo>
                        <a:pt x="1271" y="225"/>
                      </a:lnTo>
                      <a:lnTo>
                        <a:pt x="1252" y="223"/>
                      </a:lnTo>
                      <a:lnTo>
                        <a:pt x="1251" y="221"/>
                      </a:lnTo>
                      <a:lnTo>
                        <a:pt x="1253" y="215"/>
                      </a:lnTo>
                      <a:lnTo>
                        <a:pt x="1232" y="211"/>
                      </a:lnTo>
                      <a:lnTo>
                        <a:pt x="1222" y="201"/>
                      </a:lnTo>
                      <a:lnTo>
                        <a:pt x="1211" y="194"/>
                      </a:lnTo>
                      <a:lnTo>
                        <a:pt x="1178" y="194"/>
                      </a:lnTo>
                      <a:lnTo>
                        <a:pt x="1158" y="199"/>
                      </a:lnTo>
                      <a:lnTo>
                        <a:pt x="1128" y="183"/>
                      </a:lnTo>
                      <a:lnTo>
                        <a:pt x="1115" y="180"/>
                      </a:lnTo>
                      <a:lnTo>
                        <a:pt x="1107" y="172"/>
                      </a:lnTo>
                      <a:lnTo>
                        <a:pt x="1091" y="167"/>
                      </a:lnTo>
                      <a:lnTo>
                        <a:pt x="1074" y="166"/>
                      </a:lnTo>
                      <a:lnTo>
                        <a:pt x="1072" y="156"/>
                      </a:lnTo>
                      <a:lnTo>
                        <a:pt x="1054" y="152"/>
                      </a:lnTo>
                      <a:lnTo>
                        <a:pt x="1032" y="142"/>
                      </a:lnTo>
                      <a:lnTo>
                        <a:pt x="1010" y="142"/>
                      </a:lnTo>
                      <a:lnTo>
                        <a:pt x="1001" y="148"/>
                      </a:lnTo>
                      <a:lnTo>
                        <a:pt x="975" y="158"/>
                      </a:lnTo>
                      <a:lnTo>
                        <a:pt x="977" y="152"/>
                      </a:lnTo>
                      <a:lnTo>
                        <a:pt x="985" y="151"/>
                      </a:lnTo>
                      <a:lnTo>
                        <a:pt x="983" y="144"/>
                      </a:lnTo>
                      <a:lnTo>
                        <a:pt x="977" y="141"/>
                      </a:lnTo>
                      <a:lnTo>
                        <a:pt x="967" y="140"/>
                      </a:lnTo>
                      <a:lnTo>
                        <a:pt x="929" y="151"/>
                      </a:lnTo>
                      <a:lnTo>
                        <a:pt x="899" y="148"/>
                      </a:lnTo>
                      <a:lnTo>
                        <a:pt x="908" y="140"/>
                      </a:lnTo>
                      <a:lnTo>
                        <a:pt x="909" y="132"/>
                      </a:lnTo>
                      <a:lnTo>
                        <a:pt x="872" y="132"/>
                      </a:lnTo>
                      <a:lnTo>
                        <a:pt x="866" y="129"/>
                      </a:lnTo>
                      <a:lnTo>
                        <a:pt x="887" y="128"/>
                      </a:lnTo>
                      <a:lnTo>
                        <a:pt x="882" y="120"/>
                      </a:lnTo>
                      <a:lnTo>
                        <a:pt x="872" y="120"/>
                      </a:lnTo>
                      <a:lnTo>
                        <a:pt x="870" y="114"/>
                      </a:lnTo>
                      <a:lnTo>
                        <a:pt x="877" y="99"/>
                      </a:lnTo>
                      <a:lnTo>
                        <a:pt x="877" y="87"/>
                      </a:lnTo>
                      <a:lnTo>
                        <a:pt x="859" y="80"/>
                      </a:lnTo>
                      <a:lnTo>
                        <a:pt x="843" y="80"/>
                      </a:lnTo>
                      <a:lnTo>
                        <a:pt x="845" y="94"/>
                      </a:lnTo>
                      <a:lnTo>
                        <a:pt x="843" y="91"/>
                      </a:lnTo>
                      <a:lnTo>
                        <a:pt x="835" y="94"/>
                      </a:lnTo>
                      <a:lnTo>
                        <a:pt x="832" y="81"/>
                      </a:lnTo>
                      <a:lnTo>
                        <a:pt x="827" y="69"/>
                      </a:lnTo>
                      <a:lnTo>
                        <a:pt x="817" y="69"/>
                      </a:lnTo>
                      <a:lnTo>
                        <a:pt x="807" y="71"/>
                      </a:lnTo>
                      <a:lnTo>
                        <a:pt x="790" y="83"/>
                      </a:lnTo>
                      <a:lnTo>
                        <a:pt x="785" y="75"/>
                      </a:lnTo>
                      <a:lnTo>
                        <a:pt x="778" y="80"/>
                      </a:lnTo>
                      <a:lnTo>
                        <a:pt x="771" y="91"/>
                      </a:lnTo>
                      <a:lnTo>
                        <a:pt x="763" y="91"/>
                      </a:lnTo>
                      <a:lnTo>
                        <a:pt x="757" y="83"/>
                      </a:lnTo>
                      <a:lnTo>
                        <a:pt x="747" y="83"/>
                      </a:lnTo>
                      <a:lnTo>
                        <a:pt x="740" y="78"/>
                      </a:lnTo>
                      <a:lnTo>
                        <a:pt x="744" y="70"/>
                      </a:lnTo>
                      <a:lnTo>
                        <a:pt x="733" y="45"/>
                      </a:lnTo>
                      <a:lnTo>
                        <a:pt x="716" y="39"/>
                      </a:lnTo>
                      <a:lnTo>
                        <a:pt x="716" y="48"/>
                      </a:lnTo>
                      <a:lnTo>
                        <a:pt x="709" y="40"/>
                      </a:lnTo>
                      <a:lnTo>
                        <a:pt x="710" y="51"/>
                      </a:lnTo>
                      <a:lnTo>
                        <a:pt x="704" y="51"/>
                      </a:lnTo>
                      <a:lnTo>
                        <a:pt x="697" y="58"/>
                      </a:lnTo>
                      <a:lnTo>
                        <a:pt x="695" y="72"/>
                      </a:lnTo>
                      <a:lnTo>
                        <a:pt x="704" y="83"/>
                      </a:lnTo>
                      <a:lnTo>
                        <a:pt x="704" y="91"/>
                      </a:lnTo>
                      <a:lnTo>
                        <a:pt x="705" y="103"/>
                      </a:lnTo>
                      <a:lnTo>
                        <a:pt x="695" y="103"/>
                      </a:lnTo>
                      <a:lnTo>
                        <a:pt x="694" y="94"/>
                      </a:lnTo>
                      <a:lnTo>
                        <a:pt x="688" y="87"/>
                      </a:lnTo>
                      <a:lnTo>
                        <a:pt x="683" y="94"/>
                      </a:lnTo>
                      <a:lnTo>
                        <a:pt x="678" y="83"/>
                      </a:lnTo>
                      <a:lnTo>
                        <a:pt x="676" y="96"/>
                      </a:lnTo>
                      <a:lnTo>
                        <a:pt x="657" y="83"/>
                      </a:lnTo>
                      <a:lnTo>
                        <a:pt x="649" y="82"/>
                      </a:lnTo>
                      <a:lnTo>
                        <a:pt x="646" y="85"/>
                      </a:lnTo>
                      <a:lnTo>
                        <a:pt x="654" y="66"/>
                      </a:lnTo>
                      <a:lnTo>
                        <a:pt x="660" y="70"/>
                      </a:lnTo>
                      <a:lnTo>
                        <a:pt x="672" y="64"/>
                      </a:lnTo>
                      <a:lnTo>
                        <a:pt x="689" y="49"/>
                      </a:lnTo>
                      <a:lnTo>
                        <a:pt x="690" y="42"/>
                      </a:lnTo>
                      <a:lnTo>
                        <a:pt x="689" y="33"/>
                      </a:lnTo>
                      <a:lnTo>
                        <a:pt x="681" y="26"/>
                      </a:lnTo>
                      <a:lnTo>
                        <a:pt x="661" y="30"/>
                      </a:lnTo>
                      <a:lnTo>
                        <a:pt x="660" y="27"/>
                      </a:lnTo>
                      <a:lnTo>
                        <a:pt x="658" y="16"/>
                      </a:lnTo>
                      <a:lnTo>
                        <a:pt x="650" y="11"/>
                      </a:lnTo>
                      <a:lnTo>
                        <a:pt x="642" y="15"/>
                      </a:lnTo>
                      <a:lnTo>
                        <a:pt x="635" y="10"/>
                      </a:lnTo>
                      <a:lnTo>
                        <a:pt x="627" y="0"/>
                      </a:lnTo>
                      <a:lnTo>
                        <a:pt x="622" y="3"/>
                      </a:lnTo>
                      <a:lnTo>
                        <a:pt x="619" y="10"/>
                      </a:lnTo>
                      <a:lnTo>
                        <a:pt x="613" y="17"/>
                      </a:lnTo>
                      <a:lnTo>
                        <a:pt x="612" y="24"/>
                      </a:lnTo>
                      <a:lnTo>
                        <a:pt x="609" y="22"/>
                      </a:lnTo>
                      <a:lnTo>
                        <a:pt x="612" y="33"/>
                      </a:lnTo>
                      <a:lnTo>
                        <a:pt x="608" y="37"/>
                      </a:lnTo>
                      <a:lnTo>
                        <a:pt x="602" y="33"/>
                      </a:lnTo>
                      <a:lnTo>
                        <a:pt x="598" y="35"/>
                      </a:lnTo>
                      <a:lnTo>
                        <a:pt x="597" y="40"/>
                      </a:lnTo>
                      <a:lnTo>
                        <a:pt x="591" y="48"/>
                      </a:lnTo>
                      <a:lnTo>
                        <a:pt x="584" y="60"/>
                      </a:lnTo>
                      <a:lnTo>
                        <a:pt x="558" y="86"/>
                      </a:lnTo>
                      <a:lnTo>
                        <a:pt x="536" y="86"/>
                      </a:lnTo>
                      <a:lnTo>
                        <a:pt x="537" y="91"/>
                      </a:lnTo>
                      <a:lnTo>
                        <a:pt x="511" y="96"/>
                      </a:lnTo>
                      <a:lnTo>
                        <a:pt x="491" y="91"/>
                      </a:lnTo>
                      <a:lnTo>
                        <a:pt x="495" y="96"/>
                      </a:lnTo>
                      <a:lnTo>
                        <a:pt x="486" y="101"/>
                      </a:lnTo>
                      <a:lnTo>
                        <a:pt x="489" y="113"/>
                      </a:lnTo>
                      <a:lnTo>
                        <a:pt x="472" y="103"/>
                      </a:lnTo>
                      <a:lnTo>
                        <a:pt x="480" y="92"/>
                      </a:lnTo>
                      <a:lnTo>
                        <a:pt x="483" y="83"/>
                      </a:lnTo>
                      <a:lnTo>
                        <a:pt x="496" y="78"/>
                      </a:lnTo>
                      <a:lnTo>
                        <a:pt x="500" y="73"/>
                      </a:lnTo>
                      <a:lnTo>
                        <a:pt x="478" y="81"/>
                      </a:lnTo>
                      <a:lnTo>
                        <a:pt x="466" y="88"/>
                      </a:lnTo>
                      <a:lnTo>
                        <a:pt x="452" y="101"/>
                      </a:lnTo>
                      <a:lnTo>
                        <a:pt x="448" y="109"/>
                      </a:lnTo>
                      <a:lnTo>
                        <a:pt x="448" y="113"/>
                      </a:lnTo>
                      <a:lnTo>
                        <a:pt x="440" y="116"/>
                      </a:lnTo>
                      <a:lnTo>
                        <a:pt x="445" y="121"/>
                      </a:lnTo>
                      <a:lnTo>
                        <a:pt x="452" y="124"/>
                      </a:lnTo>
                      <a:lnTo>
                        <a:pt x="457" y="136"/>
                      </a:lnTo>
                      <a:lnTo>
                        <a:pt x="464" y="141"/>
                      </a:lnTo>
                      <a:lnTo>
                        <a:pt x="474" y="139"/>
                      </a:lnTo>
                      <a:lnTo>
                        <a:pt x="461" y="145"/>
                      </a:lnTo>
                      <a:lnTo>
                        <a:pt x="453" y="145"/>
                      </a:lnTo>
                      <a:lnTo>
                        <a:pt x="450" y="155"/>
                      </a:lnTo>
                      <a:lnTo>
                        <a:pt x="453" y="162"/>
                      </a:lnTo>
                      <a:lnTo>
                        <a:pt x="452" y="174"/>
                      </a:lnTo>
                      <a:lnTo>
                        <a:pt x="447" y="182"/>
                      </a:lnTo>
                      <a:lnTo>
                        <a:pt x="442" y="175"/>
                      </a:lnTo>
                      <a:lnTo>
                        <a:pt x="442" y="162"/>
                      </a:lnTo>
                      <a:lnTo>
                        <a:pt x="434" y="168"/>
                      </a:lnTo>
                      <a:lnTo>
                        <a:pt x="440" y="158"/>
                      </a:lnTo>
                      <a:lnTo>
                        <a:pt x="439" y="146"/>
                      </a:lnTo>
                      <a:lnTo>
                        <a:pt x="445" y="140"/>
                      </a:lnTo>
                      <a:lnTo>
                        <a:pt x="442" y="131"/>
                      </a:lnTo>
                      <a:lnTo>
                        <a:pt x="432" y="128"/>
                      </a:lnTo>
                      <a:lnTo>
                        <a:pt x="405" y="148"/>
                      </a:lnTo>
                      <a:lnTo>
                        <a:pt x="405" y="152"/>
                      </a:lnTo>
                      <a:lnTo>
                        <a:pt x="418" y="145"/>
                      </a:lnTo>
                      <a:lnTo>
                        <a:pt x="408" y="156"/>
                      </a:lnTo>
                      <a:lnTo>
                        <a:pt x="366" y="184"/>
                      </a:lnTo>
                      <a:lnTo>
                        <a:pt x="348" y="188"/>
                      </a:lnTo>
                      <a:lnTo>
                        <a:pt x="338" y="200"/>
                      </a:lnTo>
                      <a:lnTo>
                        <a:pt x="342" y="191"/>
                      </a:lnTo>
                      <a:lnTo>
                        <a:pt x="342" y="183"/>
                      </a:lnTo>
                      <a:lnTo>
                        <a:pt x="348" y="177"/>
                      </a:lnTo>
                      <a:lnTo>
                        <a:pt x="337" y="175"/>
                      </a:lnTo>
                      <a:lnTo>
                        <a:pt x="326" y="200"/>
                      </a:lnTo>
                      <a:lnTo>
                        <a:pt x="323" y="211"/>
                      </a:lnTo>
                      <a:lnTo>
                        <a:pt x="342" y="228"/>
                      </a:lnTo>
                      <a:lnTo>
                        <a:pt x="353" y="233"/>
                      </a:lnTo>
                      <a:lnTo>
                        <a:pt x="353" y="239"/>
                      </a:lnTo>
                      <a:lnTo>
                        <a:pt x="324" y="225"/>
                      </a:lnTo>
                      <a:lnTo>
                        <a:pt x="321" y="218"/>
                      </a:lnTo>
                      <a:lnTo>
                        <a:pt x="312" y="217"/>
                      </a:lnTo>
                      <a:lnTo>
                        <a:pt x="307" y="227"/>
                      </a:lnTo>
                      <a:lnTo>
                        <a:pt x="285" y="253"/>
                      </a:lnTo>
                      <a:lnTo>
                        <a:pt x="295" y="258"/>
                      </a:lnTo>
                      <a:lnTo>
                        <a:pt x="318" y="259"/>
                      </a:lnTo>
                      <a:lnTo>
                        <a:pt x="314" y="261"/>
                      </a:lnTo>
                      <a:lnTo>
                        <a:pt x="287" y="261"/>
                      </a:lnTo>
                      <a:lnTo>
                        <a:pt x="280" y="264"/>
                      </a:lnTo>
                      <a:lnTo>
                        <a:pt x="279" y="268"/>
                      </a:lnTo>
                      <a:lnTo>
                        <a:pt x="291" y="282"/>
                      </a:lnTo>
                      <a:lnTo>
                        <a:pt x="302" y="288"/>
                      </a:lnTo>
                      <a:lnTo>
                        <a:pt x="299" y="293"/>
                      </a:lnTo>
                      <a:lnTo>
                        <a:pt x="279" y="279"/>
                      </a:lnTo>
                      <a:lnTo>
                        <a:pt x="280" y="287"/>
                      </a:lnTo>
                      <a:lnTo>
                        <a:pt x="273" y="318"/>
                      </a:lnTo>
                      <a:lnTo>
                        <a:pt x="270" y="323"/>
                      </a:lnTo>
                      <a:lnTo>
                        <a:pt x="269" y="306"/>
                      </a:lnTo>
                      <a:lnTo>
                        <a:pt x="263" y="331"/>
                      </a:lnTo>
                      <a:lnTo>
                        <a:pt x="251" y="356"/>
                      </a:lnTo>
                      <a:lnTo>
                        <a:pt x="226" y="379"/>
                      </a:lnTo>
                      <a:lnTo>
                        <a:pt x="189" y="388"/>
                      </a:lnTo>
                      <a:lnTo>
                        <a:pt x="155" y="393"/>
                      </a:lnTo>
                      <a:lnTo>
                        <a:pt x="127" y="401"/>
                      </a:lnTo>
                      <a:lnTo>
                        <a:pt x="117" y="400"/>
                      </a:lnTo>
                      <a:lnTo>
                        <a:pt x="125" y="397"/>
                      </a:lnTo>
                      <a:lnTo>
                        <a:pt x="124" y="393"/>
                      </a:lnTo>
                      <a:lnTo>
                        <a:pt x="102" y="395"/>
                      </a:lnTo>
                      <a:lnTo>
                        <a:pt x="102" y="397"/>
                      </a:lnTo>
                      <a:lnTo>
                        <a:pt x="103" y="401"/>
                      </a:lnTo>
                      <a:lnTo>
                        <a:pt x="101" y="419"/>
                      </a:lnTo>
                      <a:lnTo>
                        <a:pt x="101" y="435"/>
                      </a:lnTo>
                      <a:lnTo>
                        <a:pt x="98" y="453"/>
                      </a:lnTo>
                      <a:lnTo>
                        <a:pt x="103" y="455"/>
                      </a:lnTo>
                      <a:lnTo>
                        <a:pt x="108" y="452"/>
                      </a:lnTo>
                      <a:lnTo>
                        <a:pt x="102" y="459"/>
                      </a:lnTo>
                      <a:lnTo>
                        <a:pt x="88" y="465"/>
                      </a:lnTo>
                      <a:lnTo>
                        <a:pt x="85" y="471"/>
                      </a:lnTo>
                      <a:lnTo>
                        <a:pt x="79" y="471"/>
                      </a:lnTo>
                      <a:lnTo>
                        <a:pt x="86" y="465"/>
                      </a:lnTo>
                      <a:lnTo>
                        <a:pt x="88" y="457"/>
                      </a:lnTo>
                      <a:lnTo>
                        <a:pt x="86" y="458"/>
                      </a:lnTo>
                      <a:lnTo>
                        <a:pt x="71" y="468"/>
                      </a:lnTo>
                      <a:lnTo>
                        <a:pt x="69" y="474"/>
                      </a:lnTo>
                      <a:lnTo>
                        <a:pt x="102" y="489"/>
                      </a:lnTo>
                      <a:lnTo>
                        <a:pt x="112" y="500"/>
                      </a:lnTo>
                      <a:lnTo>
                        <a:pt x="118" y="511"/>
                      </a:lnTo>
                      <a:lnTo>
                        <a:pt x="140" y="524"/>
                      </a:lnTo>
                      <a:lnTo>
                        <a:pt x="152" y="527"/>
                      </a:lnTo>
                      <a:lnTo>
                        <a:pt x="182" y="556"/>
                      </a:lnTo>
                      <a:lnTo>
                        <a:pt x="206" y="572"/>
                      </a:lnTo>
                      <a:lnTo>
                        <a:pt x="221" y="587"/>
                      </a:lnTo>
                      <a:lnTo>
                        <a:pt x="221" y="592"/>
                      </a:lnTo>
                      <a:lnTo>
                        <a:pt x="230" y="599"/>
                      </a:lnTo>
                      <a:lnTo>
                        <a:pt x="233" y="608"/>
                      </a:lnTo>
                      <a:lnTo>
                        <a:pt x="237" y="621"/>
                      </a:lnTo>
                      <a:lnTo>
                        <a:pt x="241" y="626"/>
                      </a:lnTo>
                      <a:lnTo>
                        <a:pt x="238" y="629"/>
                      </a:lnTo>
                      <a:lnTo>
                        <a:pt x="240" y="641"/>
                      </a:lnTo>
                      <a:lnTo>
                        <a:pt x="244" y="657"/>
                      </a:lnTo>
                      <a:lnTo>
                        <a:pt x="259" y="659"/>
                      </a:lnTo>
                      <a:lnTo>
                        <a:pt x="268" y="666"/>
                      </a:lnTo>
                      <a:lnTo>
                        <a:pt x="291" y="675"/>
                      </a:lnTo>
                      <a:lnTo>
                        <a:pt x="287" y="670"/>
                      </a:lnTo>
                      <a:lnTo>
                        <a:pt x="292" y="666"/>
                      </a:lnTo>
                      <a:lnTo>
                        <a:pt x="294" y="658"/>
                      </a:lnTo>
                      <a:lnTo>
                        <a:pt x="308" y="659"/>
                      </a:lnTo>
                      <a:lnTo>
                        <a:pt x="310" y="657"/>
                      </a:lnTo>
                      <a:lnTo>
                        <a:pt x="307" y="651"/>
                      </a:lnTo>
                      <a:lnTo>
                        <a:pt x="313" y="648"/>
                      </a:lnTo>
                      <a:lnTo>
                        <a:pt x="317" y="648"/>
                      </a:lnTo>
                      <a:lnTo>
                        <a:pt x="305" y="673"/>
                      </a:lnTo>
                      <a:lnTo>
                        <a:pt x="310" y="677"/>
                      </a:lnTo>
                      <a:lnTo>
                        <a:pt x="319" y="670"/>
                      </a:lnTo>
                      <a:lnTo>
                        <a:pt x="335" y="666"/>
                      </a:lnTo>
                      <a:lnTo>
                        <a:pt x="348" y="667"/>
                      </a:lnTo>
                      <a:lnTo>
                        <a:pt x="354" y="669"/>
                      </a:lnTo>
                      <a:lnTo>
                        <a:pt x="362" y="678"/>
                      </a:lnTo>
                      <a:lnTo>
                        <a:pt x="359" y="683"/>
                      </a:lnTo>
                      <a:lnTo>
                        <a:pt x="349" y="686"/>
                      </a:lnTo>
                      <a:lnTo>
                        <a:pt x="343" y="705"/>
                      </a:lnTo>
                      <a:lnTo>
                        <a:pt x="355" y="723"/>
                      </a:lnTo>
                      <a:lnTo>
                        <a:pt x="372" y="736"/>
                      </a:lnTo>
                      <a:lnTo>
                        <a:pt x="375" y="729"/>
                      </a:lnTo>
                      <a:lnTo>
                        <a:pt x="375" y="718"/>
                      </a:lnTo>
                      <a:lnTo>
                        <a:pt x="378" y="713"/>
                      </a:lnTo>
                      <a:lnTo>
                        <a:pt x="377" y="724"/>
                      </a:lnTo>
                      <a:lnTo>
                        <a:pt x="381" y="727"/>
                      </a:lnTo>
                      <a:lnTo>
                        <a:pt x="383" y="721"/>
                      </a:lnTo>
                      <a:lnTo>
                        <a:pt x="399" y="720"/>
                      </a:lnTo>
                      <a:lnTo>
                        <a:pt x="415" y="731"/>
                      </a:lnTo>
                      <a:lnTo>
                        <a:pt x="427" y="727"/>
                      </a:lnTo>
                      <a:lnTo>
                        <a:pt x="436" y="717"/>
                      </a:lnTo>
                      <a:lnTo>
                        <a:pt x="446" y="720"/>
                      </a:lnTo>
                      <a:lnTo>
                        <a:pt x="453" y="713"/>
                      </a:lnTo>
                      <a:lnTo>
                        <a:pt x="469" y="716"/>
                      </a:lnTo>
                      <a:lnTo>
                        <a:pt x="464" y="722"/>
                      </a:lnTo>
                      <a:lnTo>
                        <a:pt x="440" y="731"/>
                      </a:lnTo>
                      <a:lnTo>
                        <a:pt x="435" y="739"/>
                      </a:lnTo>
                      <a:lnTo>
                        <a:pt x="441" y="742"/>
                      </a:lnTo>
                      <a:lnTo>
                        <a:pt x="443" y="736"/>
                      </a:lnTo>
                      <a:lnTo>
                        <a:pt x="467" y="728"/>
                      </a:lnTo>
                      <a:lnTo>
                        <a:pt x="472" y="732"/>
                      </a:lnTo>
                      <a:lnTo>
                        <a:pt x="472" y="739"/>
                      </a:lnTo>
                      <a:lnTo>
                        <a:pt x="464" y="745"/>
                      </a:lnTo>
                      <a:lnTo>
                        <a:pt x="442" y="747"/>
                      </a:lnTo>
                      <a:lnTo>
                        <a:pt x="434" y="750"/>
                      </a:lnTo>
                      <a:lnTo>
                        <a:pt x="430" y="756"/>
                      </a:lnTo>
                      <a:lnTo>
                        <a:pt x="410" y="759"/>
                      </a:lnTo>
                      <a:lnTo>
                        <a:pt x="403" y="758"/>
                      </a:lnTo>
                      <a:lnTo>
                        <a:pt x="398" y="750"/>
                      </a:lnTo>
                      <a:lnTo>
                        <a:pt x="392" y="748"/>
                      </a:lnTo>
                      <a:lnTo>
                        <a:pt x="389" y="744"/>
                      </a:lnTo>
                      <a:lnTo>
                        <a:pt x="382" y="743"/>
                      </a:lnTo>
                      <a:lnTo>
                        <a:pt x="381" y="737"/>
                      </a:lnTo>
                      <a:lnTo>
                        <a:pt x="376" y="738"/>
                      </a:lnTo>
                      <a:lnTo>
                        <a:pt x="369" y="744"/>
                      </a:lnTo>
                      <a:lnTo>
                        <a:pt x="351" y="744"/>
                      </a:lnTo>
                      <a:lnTo>
                        <a:pt x="342" y="736"/>
                      </a:lnTo>
                      <a:lnTo>
                        <a:pt x="332" y="717"/>
                      </a:lnTo>
                      <a:lnTo>
                        <a:pt x="338" y="734"/>
                      </a:lnTo>
                      <a:lnTo>
                        <a:pt x="344" y="744"/>
                      </a:lnTo>
                      <a:lnTo>
                        <a:pt x="339" y="755"/>
                      </a:lnTo>
                      <a:lnTo>
                        <a:pt x="339" y="766"/>
                      </a:lnTo>
                      <a:lnTo>
                        <a:pt x="346" y="769"/>
                      </a:lnTo>
                      <a:lnTo>
                        <a:pt x="344" y="764"/>
                      </a:lnTo>
                      <a:lnTo>
                        <a:pt x="349" y="753"/>
                      </a:lnTo>
                      <a:lnTo>
                        <a:pt x="361" y="755"/>
                      </a:lnTo>
                      <a:lnTo>
                        <a:pt x="388" y="764"/>
                      </a:lnTo>
                      <a:lnTo>
                        <a:pt x="394" y="771"/>
                      </a:lnTo>
                      <a:lnTo>
                        <a:pt x="393" y="780"/>
                      </a:lnTo>
                      <a:lnTo>
                        <a:pt x="385" y="791"/>
                      </a:lnTo>
                      <a:lnTo>
                        <a:pt x="386" y="785"/>
                      </a:lnTo>
                      <a:lnTo>
                        <a:pt x="383" y="779"/>
                      </a:lnTo>
                      <a:lnTo>
                        <a:pt x="364" y="771"/>
                      </a:lnTo>
                      <a:lnTo>
                        <a:pt x="354" y="793"/>
                      </a:lnTo>
                      <a:lnTo>
                        <a:pt x="350" y="802"/>
                      </a:lnTo>
                      <a:lnTo>
                        <a:pt x="350" y="809"/>
                      </a:lnTo>
                      <a:lnTo>
                        <a:pt x="346" y="814"/>
                      </a:lnTo>
                      <a:lnTo>
                        <a:pt x="339" y="810"/>
                      </a:lnTo>
                      <a:lnTo>
                        <a:pt x="337" y="804"/>
                      </a:lnTo>
                      <a:lnTo>
                        <a:pt x="332" y="798"/>
                      </a:lnTo>
                      <a:lnTo>
                        <a:pt x="322" y="801"/>
                      </a:lnTo>
                      <a:lnTo>
                        <a:pt x="321" y="803"/>
                      </a:lnTo>
                      <a:lnTo>
                        <a:pt x="314" y="799"/>
                      </a:lnTo>
                      <a:lnTo>
                        <a:pt x="302" y="802"/>
                      </a:lnTo>
                      <a:lnTo>
                        <a:pt x="300" y="797"/>
                      </a:lnTo>
                      <a:lnTo>
                        <a:pt x="296" y="801"/>
                      </a:lnTo>
                      <a:lnTo>
                        <a:pt x="297" y="795"/>
                      </a:lnTo>
                      <a:lnTo>
                        <a:pt x="289" y="796"/>
                      </a:lnTo>
                      <a:lnTo>
                        <a:pt x="285" y="802"/>
                      </a:lnTo>
                      <a:lnTo>
                        <a:pt x="280" y="799"/>
                      </a:lnTo>
                      <a:lnTo>
                        <a:pt x="269" y="797"/>
                      </a:lnTo>
                      <a:lnTo>
                        <a:pt x="246" y="799"/>
                      </a:lnTo>
                      <a:lnTo>
                        <a:pt x="237" y="792"/>
                      </a:lnTo>
                      <a:lnTo>
                        <a:pt x="237" y="782"/>
                      </a:lnTo>
                      <a:lnTo>
                        <a:pt x="221" y="781"/>
                      </a:lnTo>
                      <a:lnTo>
                        <a:pt x="238" y="767"/>
                      </a:lnTo>
                      <a:lnTo>
                        <a:pt x="237" y="756"/>
                      </a:lnTo>
                      <a:lnTo>
                        <a:pt x="238" y="744"/>
                      </a:lnTo>
                      <a:lnTo>
                        <a:pt x="237" y="736"/>
                      </a:lnTo>
                      <a:lnTo>
                        <a:pt x="227" y="729"/>
                      </a:lnTo>
                      <a:lnTo>
                        <a:pt x="230" y="727"/>
                      </a:lnTo>
                      <a:lnTo>
                        <a:pt x="246" y="724"/>
                      </a:lnTo>
                      <a:lnTo>
                        <a:pt x="227" y="723"/>
                      </a:lnTo>
                      <a:lnTo>
                        <a:pt x="215" y="727"/>
                      </a:lnTo>
                      <a:lnTo>
                        <a:pt x="188" y="728"/>
                      </a:lnTo>
                      <a:lnTo>
                        <a:pt x="172" y="747"/>
                      </a:lnTo>
                      <a:lnTo>
                        <a:pt x="160" y="749"/>
                      </a:lnTo>
                      <a:lnTo>
                        <a:pt x="154" y="753"/>
                      </a:lnTo>
                      <a:lnTo>
                        <a:pt x="149" y="752"/>
                      </a:lnTo>
                      <a:lnTo>
                        <a:pt x="136" y="761"/>
                      </a:lnTo>
                      <a:lnTo>
                        <a:pt x="125" y="772"/>
                      </a:lnTo>
                      <a:lnTo>
                        <a:pt x="135" y="780"/>
                      </a:lnTo>
                      <a:lnTo>
                        <a:pt x="141" y="790"/>
                      </a:lnTo>
                      <a:lnTo>
                        <a:pt x="136" y="792"/>
                      </a:lnTo>
                      <a:lnTo>
                        <a:pt x="115" y="793"/>
                      </a:lnTo>
                      <a:lnTo>
                        <a:pt x="111" y="790"/>
                      </a:lnTo>
                      <a:lnTo>
                        <a:pt x="109" y="783"/>
                      </a:lnTo>
                      <a:lnTo>
                        <a:pt x="101" y="787"/>
                      </a:lnTo>
                      <a:lnTo>
                        <a:pt x="77" y="802"/>
                      </a:lnTo>
                      <a:lnTo>
                        <a:pt x="71" y="810"/>
                      </a:lnTo>
                      <a:lnTo>
                        <a:pt x="68" y="808"/>
                      </a:lnTo>
                      <a:lnTo>
                        <a:pt x="66" y="814"/>
                      </a:lnTo>
                      <a:lnTo>
                        <a:pt x="61" y="823"/>
                      </a:lnTo>
                      <a:lnTo>
                        <a:pt x="50" y="828"/>
                      </a:lnTo>
                      <a:lnTo>
                        <a:pt x="45" y="822"/>
                      </a:lnTo>
                      <a:lnTo>
                        <a:pt x="36" y="829"/>
                      </a:lnTo>
                      <a:lnTo>
                        <a:pt x="32" y="835"/>
                      </a:lnTo>
                      <a:lnTo>
                        <a:pt x="32" y="840"/>
                      </a:lnTo>
                      <a:lnTo>
                        <a:pt x="34" y="842"/>
                      </a:lnTo>
                      <a:lnTo>
                        <a:pt x="11" y="855"/>
                      </a:lnTo>
                      <a:lnTo>
                        <a:pt x="6" y="856"/>
                      </a:lnTo>
                      <a:lnTo>
                        <a:pt x="12" y="842"/>
                      </a:lnTo>
                      <a:lnTo>
                        <a:pt x="0" y="850"/>
                      </a:lnTo>
                      <a:lnTo>
                        <a:pt x="0" y="858"/>
                      </a:lnTo>
                      <a:lnTo>
                        <a:pt x="6" y="865"/>
                      </a:lnTo>
                      <a:lnTo>
                        <a:pt x="43" y="889"/>
                      </a:lnTo>
                      <a:lnTo>
                        <a:pt x="71" y="899"/>
                      </a:lnTo>
                      <a:lnTo>
                        <a:pt x="75" y="898"/>
                      </a:lnTo>
                      <a:lnTo>
                        <a:pt x="70" y="890"/>
                      </a:lnTo>
                      <a:lnTo>
                        <a:pt x="107" y="903"/>
                      </a:lnTo>
                      <a:lnTo>
                        <a:pt x="90" y="910"/>
                      </a:lnTo>
                      <a:lnTo>
                        <a:pt x="81" y="922"/>
                      </a:lnTo>
                      <a:lnTo>
                        <a:pt x="72" y="919"/>
                      </a:lnTo>
                      <a:lnTo>
                        <a:pt x="74" y="911"/>
                      </a:lnTo>
                      <a:lnTo>
                        <a:pt x="70" y="906"/>
                      </a:lnTo>
                      <a:lnTo>
                        <a:pt x="68" y="915"/>
                      </a:lnTo>
                      <a:lnTo>
                        <a:pt x="80" y="941"/>
                      </a:lnTo>
                      <a:lnTo>
                        <a:pt x="91" y="952"/>
                      </a:lnTo>
                      <a:lnTo>
                        <a:pt x="91" y="963"/>
                      </a:lnTo>
                      <a:lnTo>
                        <a:pt x="88" y="976"/>
                      </a:lnTo>
                      <a:lnTo>
                        <a:pt x="100" y="990"/>
                      </a:lnTo>
                      <a:lnTo>
                        <a:pt x="104" y="991"/>
                      </a:lnTo>
                      <a:lnTo>
                        <a:pt x="108" y="996"/>
                      </a:lnTo>
                      <a:lnTo>
                        <a:pt x="150" y="1005"/>
                      </a:lnTo>
                      <a:lnTo>
                        <a:pt x="160" y="1003"/>
                      </a:lnTo>
                      <a:lnTo>
                        <a:pt x="179" y="1013"/>
                      </a:lnTo>
                      <a:lnTo>
                        <a:pt x="210" y="997"/>
                      </a:lnTo>
                      <a:lnTo>
                        <a:pt x="231" y="1001"/>
                      </a:lnTo>
                      <a:lnTo>
                        <a:pt x="247" y="996"/>
                      </a:lnTo>
                      <a:lnTo>
                        <a:pt x="263" y="1003"/>
                      </a:lnTo>
                      <a:lnTo>
                        <a:pt x="275" y="1017"/>
                      </a:lnTo>
                      <a:lnTo>
                        <a:pt x="278" y="1013"/>
                      </a:lnTo>
                      <a:lnTo>
                        <a:pt x="279" y="1003"/>
                      </a:lnTo>
                      <a:lnTo>
                        <a:pt x="270" y="1001"/>
                      </a:lnTo>
                      <a:lnTo>
                        <a:pt x="263" y="995"/>
                      </a:lnTo>
                      <a:lnTo>
                        <a:pt x="260" y="990"/>
                      </a:lnTo>
                      <a:lnTo>
                        <a:pt x="275" y="989"/>
                      </a:lnTo>
                      <a:lnTo>
                        <a:pt x="280" y="997"/>
                      </a:lnTo>
                      <a:lnTo>
                        <a:pt x="290" y="1005"/>
                      </a:lnTo>
                      <a:lnTo>
                        <a:pt x="294" y="1033"/>
                      </a:lnTo>
                      <a:lnTo>
                        <a:pt x="297" y="1033"/>
                      </a:lnTo>
                      <a:lnTo>
                        <a:pt x="303" y="1017"/>
                      </a:lnTo>
                      <a:lnTo>
                        <a:pt x="312" y="1002"/>
                      </a:lnTo>
                      <a:lnTo>
                        <a:pt x="324" y="990"/>
                      </a:lnTo>
                      <a:lnTo>
                        <a:pt x="330" y="981"/>
                      </a:lnTo>
                      <a:lnTo>
                        <a:pt x="351" y="971"/>
                      </a:lnTo>
                      <a:lnTo>
                        <a:pt x="350" y="964"/>
                      </a:lnTo>
                      <a:lnTo>
                        <a:pt x="365" y="970"/>
                      </a:lnTo>
                      <a:lnTo>
                        <a:pt x="371" y="969"/>
                      </a:lnTo>
                      <a:lnTo>
                        <a:pt x="377" y="962"/>
                      </a:lnTo>
                      <a:lnTo>
                        <a:pt x="389" y="954"/>
                      </a:lnTo>
                      <a:lnTo>
                        <a:pt x="400" y="968"/>
                      </a:lnTo>
                      <a:lnTo>
                        <a:pt x="405" y="970"/>
                      </a:lnTo>
                      <a:lnTo>
                        <a:pt x="405" y="984"/>
                      </a:lnTo>
                      <a:lnTo>
                        <a:pt x="400" y="995"/>
                      </a:lnTo>
                      <a:lnTo>
                        <a:pt x="394" y="1003"/>
                      </a:lnTo>
                      <a:lnTo>
                        <a:pt x="382" y="1008"/>
                      </a:lnTo>
                      <a:lnTo>
                        <a:pt x="373" y="1003"/>
                      </a:lnTo>
                      <a:lnTo>
                        <a:pt x="365" y="1003"/>
                      </a:lnTo>
                      <a:lnTo>
                        <a:pt x="365" y="1014"/>
                      </a:lnTo>
                      <a:lnTo>
                        <a:pt x="367" y="1021"/>
                      </a:lnTo>
                      <a:lnTo>
                        <a:pt x="372" y="1016"/>
                      </a:lnTo>
                      <a:lnTo>
                        <a:pt x="382" y="1019"/>
                      </a:lnTo>
                      <a:lnTo>
                        <a:pt x="387" y="1033"/>
                      </a:lnTo>
                      <a:lnTo>
                        <a:pt x="397" y="1052"/>
                      </a:lnTo>
                      <a:lnTo>
                        <a:pt x="396" y="1061"/>
                      </a:lnTo>
                      <a:lnTo>
                        <a:pt x="394" y="1065"/>
                      </a:lnTo>
                      <a:lnTo>
                        <a:pt x="400" y="1070"/>
                      </a:lnTo>
                      <a:lnTo>
                        <a:pt x="403" y="1077"/>
                      </a:lnTo>
                      <a:lnTo>
                        <a:pt x="404" y="1084"/>
                      </a:lnTo>
                      <a:lnTo>
                        <a:pt x="403" y="1098"/>
                      </a:lnTo>
                      <a:lnTo>
                        <a:pt x="394" y="1115"/>
                      </a:lnTo>
                      <a:lnTo>
                        <a:pt x="387" y="1125"/>
                      </a:lnTo>
                      <a:lnTo>
                        <a:pt x="380" y="1132"/>
                      </a:lnTo>
                      <a:lnTo>
                        <a:pt x="371" y="1135"/>
                      </a:lnTo>
                      <a:lnTo>
                        <a:pt x="360" y="1135"/>
                      </a:lnTo>
                      <a:lnTo>
                        <a:pt x="353" y="1140"/>
                      </a:lnTo>
                      <a:lnTo>
                        <a:pt x="344" y="1138"/>
                      </a:lnTo>
                      <a:lnTo>
                        <a:pt x="326" y="1143"/>
                      </a:lnTo>
                      <a:lnTo>
                        <a:pt x="322" y="1143"/>
                      </a:lnTo>
                      <a:lnTo>
                        <a:pt x="332" y="1132"/>
                      </a:lnTo>
                      <a:lnTo>
                        <a:pt x="330" y="1130"/>
                      </a:lnTo>
                      <a:lnTo>
                        <a:pt x="321" y="1131"/>
                      </a:lnTo>
                      <a:lnTo>
                        <a:pt x="317" y="1135"/>
                      </a:lnTo>
                      <a:lnTo>
                        <a:pt x="312" y="1147"/>
                      </a:lnTo>
                      <a:lnTo>
                        <a:pt x="303" y="1158"/>
                      </a:lnTo>
                      <a:lnTo>
                        <a:pt x="286" y="1174"/>
                      </a:lnTo>
                      <a:lnTo>
                        <a:pt x="280" y="1183"/>
                      </a:lnTo>
                      <a:lnTo>
                        <a:pt x="271" y="1186"/>
                      </a:lnTo>
                      <a:lnTo>
                        <a:pt x="260" y="1183"/>
                      </a:lnTo>
                      <a:lnTo>
                        <a:pt x="256" y="1179"/>
                      </a:lnTo>
                      <a:lnTo>
                        <a:pt x="240" y="1191"/>
                      </a:lnTo>
                      <a:lnTo>
                        <a:pt x="222" y="1197"/>
                      </a:lnTo>
                      <a:lnTo>
                        <a:pt x="219" y="1202"/>
                      </a:lnTo>
                      <a:lnTo>
                        <a:pt x="217" y="1207"/>
                      </a:lnTo>
                      <a:lnTo>
                        <a:pt x="220" y="1211"/>
                      </a:lnTo>
                      <a:lnTo>
                        <a:pt x="222" y="1219"/>
                      </a:lnTo>
                      <a:lnTo>
                        <a:pt x="219" y="1224"/>
                      </a:lnTo>
                      <a:lnTo>
                        <a:pt x="201" y="1221"/>
                      </a:lnTo>
                      <a:lnTo>
                        <a:pt x="190" y="1223"/>
                      </a:lnTo>
                      <a:lnTo>
                        <a:pt x="178" y="1237"/>
                      </a:lnTo>
                      <a:lnTo>
                        <a:pt x="174" y="1245"/>
                      </a:lnTo>
                      <a:lnTo>
                        <a:pt x="170" y="1243"/>
                      </a:lnTo>
                      <a:lnTo>
                        <a:pt x="162" y="1244"/>
                      </a:lnTo>
                      <a:lnTo>
                        <a:pt x="145" y="1266"/>
                      </a:lnTo>
                      <a:lnTo>
                        <a:pt x="142" y="1267"/>
                      </a:lnTo>
                      <a:lnTo>
                        <a:pt x="139" y="1271"/>
                      </a:lnTo>
                      <a:lnTo>
                        <a:pt x="138" y="1277"/>
                      </a:lnTo>
                      <a:lnTo>
                        <a:pt x="128" y="1299"/>
                      </a:lnTo>
                      <a:lnTo>
                        <a:pt x="127" y="1305"/>
                      </a:lnTo>
                      <a:lnTo>
                        <a:pt x="128" y="1323"/>
                      </a:lnTo>
                      <a:lnTo>
                        <a:pt x="125" y="1328"/>
                      </a:lnTo>
                      <a:lnTo>
                        <a:pt x="117" y="1330"/>
                      </a:lnTo>
                      <a:lnTo>
                        <a:pt x="111" y="1329"/>
                      </a:lnTo>
                      <a:lnTo>
                        <a:pt x="107" y="1330"/>
                      </a:lnTo>
                      <a:lnTo>
                        <a:pt x="107" y="1336"/>
                      </a:lnTo>
                      <a:lnTo>
                        <a:pt x="118" y="1345"/>
                      </a:lnTo>
                      <a:lnTo>
                        <a:pt x="115" y="1348"/>
                      </a:lnTo>
                      <a:lnTo>
                        <a:pt x="104" y="1351"/>
                      </a:lnTo>
                      <a:lnTo>
                        <a:pt x="102" y="1358"/>
                      </a:lnTo>
                      <a:lnTo>
                        <a:pt x="101" y="1366"/>
                      </a:lnTo>
                      <a:lnTo>
                        <a:pt x="104" y="1363"/>
                      </a:lnTo>
                      <a:lnTo>
                        <a:pt x="124" y="1360"/>
                      </a:lnTo>
                      <a:lnTo>
                        <a:pt x="131" y="1357"/>
                      </a:lnTo>
                      <a:lnTo>
                        <a:pt x="138" y="1351"/>
                      </a:lnTo>
                      <a:lnTo>
                        <a:pt x="156" y="1348"/>
                      </a:lnTo>
                      <a:lnTo>
                        <a:pt x="157" y="1352"/>
                      </a:lnTo>
                      <a:lnTo>
                        <a:pt x="151" y="1355"/>
                      </a:lnTo>
                      <a:lnTo>
                        <a:pt x="155" y="1358"/>
                      </a:lnTo>
                      <a:lnTo>
                        <a:pt x="134" y="1362"/>
                      </a:lnTo>
                      <a:lnTo>
                        <a:pt x="125" y="1366"/>
                      </a:lnTo>
                      <a:lnTo>
                        <a:pt x="119" y="1373"/>
                      </a:lnTo>
                      <a:lnTo>
                        <a:pt x="118" y="1378"/>
                      </a:lnTo>
                      <a:lnTo>
                        <a:pt x="133" y="1388"/>
                      </a:lnTo>
                      <a:lnTo>
                        <a:pt x="145" y="1378"/>
                      </a:lnTo>
                      <a:lnTo>
                        <a:pt x="151" y="1379"/>
                      </a:lnTo>
                      <a:lnTo>
                        <a:pt x="146" y="1385"/>
                      </a:lnTo>
                      <a:lnTo>
                        <a:pt x="144" y="1394"/>
                      </a:lnTo>
                      <a:lnTo>
                        <a:pt x="147" y="1405"/>
                      </a:lnTo>
                      <a:lnTo>
                        <a:pt x="151" y="1410"/>
                      </a:lnTo>
                      <a:lnTo>
                        <a:pt x="152" y="1417"/>
                      </a:lnTo>
                      <a:lnTo>
                        <a:pt x="156" y="1423"/>
                      </a:lnTo>
                      <a:lnTo>
                        <a:pt x="161" y="1427"/>
                      </a:lnTo>
                      <a:lnTo>
                        <a:pt x="165" y="1425"/>
                      </a:lnTo>
                      <a:lnTo>
                        <a:pt x="174" y="1411"/>
                      </a:lnTo>
                      <a:lnTo>
                        <a:pt x="176" y="1420"/>
                      </a:lnTo>
                      <a:lnTo>
                        <a:pt x="179" y="1422"/>
                      </a:lnTo>
                      <a:lnTo>
                        <a:pt x="193" y="1420"/>
                      </a:lnTo>
                      <a:lnTo>
                        <a:pt x="184" y="1436"/>
                      </a:lnTo>
                      <a:lnTo>
                        <a:pt x="197" y="1441"/>
                      </a:lnTo>
                      <a:lnTo>
                        <a:pt x="219" y="1446"/>
                      </a:lnTo>
                      <a:lnTo>
                        <a:pt x="230" y="1439"/>
                      </a:lnTo>
                      <a:lnTo>
                        <a:pt x="238" y="1439"/>
                      </a:lnTo>
                      <a:lnTo>
                        <a:pt x="242" y="1449"/>
                      </a:lnTo>
                      <a:lnTo>
                        <a:pt x="237" y="1457"/>
                      </a:lnTo>
                      <a:lnTo>
                        <a:pt x="220" y="1463"/>
                      </a:lnTo>
                      <a:lnTo>
                        <a:pt x="214" y="1474"/>
                      </a:lnTo>
                      <a:lnTo>
                        <a:pt x="203" y="1487"/>
                      </a:lnTo>
                      <a:lnTo>
                        <a:pt x="197" y="1497"/>
                      </a:lnTo>
                      <a:lnTo>
                        <a:pt x="194" y="1506"/>
                      </a:lnTo>
                      <a:lnTo>
                        <a:pt x="194" y="1514"/>
                      </a:lnTo>
                      <a:lnTo>
                        <a:pt x="204" y="1533"/>
                      </a:lnTo>
                      <a:lnTo>
                        <a:pt x="209" y="1534"/>
                      </a:lnTo>
                      <a:lnTo>
                        <a:pt x="216" y="1529"/>
                      </a:lnTo>
                      <a:lnTo>
                        <a:pt x="224" y="1527"/>
                      </a:lnTo>
                      <a:lnTo>
                        <a:pt x="226" y="1531"/>
                      </a:lnTo>
                      <a:lnTo>
                        <a:pt x="222" y="1535"/>
                      </a:lnTo>
                      <a:lnTo>
                        <a:pt x="224" y="1538"/>
                      </a:lnTo>
                      <a:lnTo>
                        <a:pt x="237" y="1538"/>
                      </a:lnTo>
                      <a:lnTo>
                        <a:pt x="235" y="1540"/>
                      </a:lnTo>
                      <a:lnTo>
                        <a:pt x="222" y="1541"/>
                      </a:lnTo>
                      <a:lnTo>
                        <a:pt x="215" y="1546"/>
                      </a:lnTo>
                      <a:lnTo>
                        <a:pt x="220" y="1554"/>
                      </a:lnTo>
                      <a:lnTo>
                        <a:pt x="232" y="1563"/>
                      </a:lnTo>
                      <a:lnTo>
                        <a:pt x="238" y="1563"/>
                      </a:lnTo>
                      <a:lnTo>
                        <a:pt x="243" y="1566"/>
                      </a:lnTo>
                      <a:lnTo>
                        <a:pt x="248" y="1565"/>
                      </a:lnTo>
                      <a:lnTo>
                        <a:pt x="254" y="1568"/>
                      </a:lnTo>
                      <a:lnTo>
                        <a:pt x="262" y="1567"/>
                      </a:lnTo>
                      <a:lnTo>
                        <a:pt x="269" y="1571"/>
                      </a:lnTo>
                      <a:lnTo>
                        <a:pt x="276" y="1571"/>
                      </a:lnTo>
                      <a:lnTo>
                        <a:pt x="278" y="1565"/>
                      </a:lnTo>
                      <a:lnTo>
                        <a:pt x="285" y="1559"/>
                      </a:lnTo>
                      <a:lnTo>
                        <a:pt x="301" y="1536"/>
                      </a:lnTo>
                      <a:lnTo>
                        <a:pt x="307" y="1519"/>
                      </a:lnTo>
                      <a:lnTo>
                        <a:pt x="313" y="1517"/>
                      </a:lnTo>
                      <a:lnTo>
                        <a:pt x="312" y="1512"/>
                      </a:lnTo>
                      <a:lnTo>
                        <a:pt x="305" y="1507"/>
                      </a:lnTo>
                      <a:lnTo>
                        <a:pt x="301" y="1496"/>
                      </a:lnTo>
                      <a:lnTo>
                        <a:pt x="318" y="1468"/>
                      </a:lnTo>
                      <a:lnTo>
                        <a:pt x="334" y="1457"/>
                      </a:lnTo>
                      <a:lnTo>
                        <a:pt x="342" y="1447"/>
                      </a:lnTo>
                      <a:lnTo>
                        <a:pt x="348" y="1442"/>
                      </a:lnTo>
                      <a:lnTo>
                        <a:pt x="361" y="1441"/>
                      </a:lnTo>
                      <a:lnTo>
                        <a:pt x="328" y="1471"/>
                      </a:lnTo>
                      <a:lnTo>
                        <a:pt x="312" y="1495"/>
                      </a:lnTo>
                      <a:lnTo>
                        <a:pt x="311" y="1501"/>
                      </a:lnTo>
                      <a:lnTo>
                        <a:pt x="312" y="1504"/>
                      </a:lnTo>
                      <a:lnTo>
                        <a:pt x="318" y="1509"/>
                      </a:lnTo>
                      <a:lnTo>
                        <a:pt x="321" y="1519"/>
                      </a:lnTo>
                      <a:lnTo>
                        <a:pt x="322" y="1528"/>
                      </a:lnTo>
                      <a:lnTo>
                        <a:pt x="326" y="1538"/>
                      </a:lnTo>
                      <a:lnTo>
                        <a:pt x="333" y="1546"/>
                      </a:lnTo>
                      <a:lnTo>
                        <a:pt x="343" y="1576"/>
                      </a:lnTo>
                      <a:lnTo>
                        <a:pt x="349" y="1583"/>
                      </a:lnTo>
                      <a:lnTo>
                        <a:pt x="349" y="1589"/>
                      </a:lnTo>
                      <a:lnTo>
                        <a:pt x="338" y="1604"/>
                      </a:lnTo>
                      <a:lnTo>
                        <a:pt x="337" y="1608"/>
                      </a:lnTo>
                      <a:lnTo>
                        <a:pt x="333" y="1609"/>
                      </a:lnTo>
                      <a:lnTo>
                        <a:pt x="332" y="1617"/>
                      </a:lnTo>
                      <a:lnTo>
                        <a:pt x="338" y="1631"/>
                      </a:lnTo>
                      <a:lnTo>
                        <a:pt x="343" y="1627"/>
                      </a:lnTo>
                      <a:lnTo>
                        <a:pt x="350" y="1627"/>
                      </a:lnTo>
                      <a:lnTo>
                        <a:pt x="356" y="1631"/>
                      </a:lnTo>
                      <a:lnTo>
                        <a:pt x="351" y="1633"/>
                      </a:lnTo>
                      <a:lnTo>
                        <a:pt x="345" y="1641"/>
                      </a:lnTo>
                      <a:lnTo>
                        <a:pt x="346" y="1657"/>
                      </a:lnTo>
                      <a:lnTo>
                        <a:pt x="351" y="1657"/>
                      </a:lnTo>
                      <a:lnTo>
                        <a:pt x="355" y="1660"/>
                      </a:lnTo>
                      <a:lnTo>
                        <a:pt x="351" y="1662"/>
                      </a:lnTo>
                      <a:lnTo>
                        <a:pt x="342" y="1673"/>
                      </a:lnTo>
                      <a:lnTo>
                        <a:pt x="333" y="1673"/>
                      </a:lnTo>
                      <a:lnTo>
                        <a:pt x="326" y="1680"/>
                      </a:lnTo>
                      <a:lnTo>
                        <a:pt x="345" y="1683"/>
                      </a:lnTo>
                      <a:lnTo>
                        <a:pt x="357" y="1676"/>
                      </a:lnTo>
                      <a:lnTo>
                        <a:pt x="366" y="1664"/>
                      </a:lnTo>
                      <a:lnTo>
                        <a:pt x="373" y="1662"/>
                      </a:lnTo>
                      <a:lnTo>
                        <a:pt x="388" y="1649"/>
                      </a:lnTo>
                      <a:lnTo>
                        <a:pt x="399" y="1649"/>
                      </a:lnTo>
                      <a:lnTo>
                        <a:pt x="413" y="1637"/>
                      </a:lnTo>
                      <a:lnTo>
                        <a:pt x="426" y="1611"/>
                      </a:lnTo>
                      <a:lnTo>
                        <a:pt x="429" y="1620"/>
                      </a:lnTo>
                      <a:lnTo>
                        <a:pt x="429" y="1630"/>
                      </a:lnTo>
                      <a:lnTo>
                        <a:pt x="425" y="1635"/>
                      </a:lnTo>
                      <a:lnTo>
                        <a:pt x="425" y="1642"/>
                      </a:lnTo>
                      <a:lnTo>
                        <a:pt x="426" y="1648"/>
                      </a:lnTo>
                      <a:lnTo>
                        <a:pt x="432" y="1654"/>
                      </a:lnTo>
                      <a:lnTo>
                        <a:pt x="436" y="1653"/>
                      </a:lnTo>
                      <a:lnTo>
                        <a:pt x="440" y="1659"/>
                      </a:lnTo>
                      <a:lnTo>
                        <a:pt x="446" y="1662"/>
                      </a:lnTo>
                      <a:lnTo>
                        <a:pt x="456" y="1653"/>
                      </a:lnTo>
                      <a:lnTo>
                        <a:pt x="458" y="1648"/>
                      </a:lnTo>
                      <a:lnTo>
                        <a:pt x="461" y="1652"/>
                      </a:lnTo>
                      <a:lnTo>
                        <a:pt x="466" y="1652"/>
                      </a:lnTo>
                      <a:lnTo>
                        <a:pt x="464" y="1658"/>
                      </a:lnTo>
                      <a:lnTo>
                        <a:pt x="470" y="1662"/>
                      </a:lnTo>
                      <a:lnTo>
                        <a:pt x="477" y="1670"/>
                      </a:lnTo>
                      <a:lnTo>
                        <a:pt x="491" y="1699"/>
                      </a:lnTo>
                      <a:lnTo>
                        <a:pt x="498" y="1703"/>
                      </a:lnTo>
                      <a:lnTo>
                        <a:pt x="501" y="1702"/>
                      </a:lnTo>
                      <a:lnTo>
                        <a:pt x="509" y="1694"/>
                      </a:lnTo>
                      <a:lnTo>
                        <a:pt x="509" y="1678"/>
                      </a:lnTo>
                      <a:lnTo>
                        <a:pt x="504" y="1668"/>
                      </a:lnTo>
                      <a:lnTo>
                        <a:pt x="506" y="1664"/>
                      </a:lnTo>
                      <a:lnTo>
                        <a:pt x="511" y="1654"/>
                      </a:lnTo>
                      <a:lnTo>
                        <a:pt x="520" y="1647"/>
                      </a:lnTo>
                      <a:lnTo>
                        <a:pt x="522" y="1641"/>
                      </a:lnTo>
                      <a:lnTo>
                        <a:pt x="526" y="1640"/>
                      </a:lnTo>
                      <a:lnTo>
                        <a:pt x="526" y="1647"/>
                      </a:lnTo>
                      <a:lnTo>
                        <a:pt x="522" y="1660"/>
                      </a:lnTo>
                      <a:lnTo>
                        <a:pt x="538" y="1676"/>
                      </a:lnTo>
                      <a:lnTo>
                        <a:pt x="548" y="1679"/>
                      </a:lnTo>
                      <a:lnTo>
                        <a:pt x="572" y="1667"/>
                      </a:lnTo>
                      <a:lnTo>
                        <a:pt x="590" y="1653"/>
                      </a:lnTo>
                      <a:lnTo>
                        <a:pt x="607" y="1636"/>
                      </a:lnTo>
                      <a:lnTo>
                        <a:pt x="619" y="1629"/>
                      </a:lnTo>
                      <a:lnTo>
                        <a:pt x="620" y="1632"/>
                      </a:lnTo>
                      <a:lnTo>
                        <a:pt x="606" y="1658"/>
                      </a:lnTo>
                      <a:lnTo>
                        <a:pt x="599" y="1663"/>
                      </a:lnTo>
                      <a:lnTo>
                        <a:pt x="603" y="1664"/>
                      </a:lnTo>
                      <a:lnTo>
                        <a:pt x="603" y="1667"/>
                      </a:lnTo>
                      <a:lnTo>
                        <a:pt x="595" y="1679"/>
                      </a:lnTo>
                      <a:lnTo>
                        <a:pt x="584" y="1686"/>
                      </a:lnTo>
                      <a:lnTo>
                        <a:pt x="579" y="1713"/>
                      </a:lnTo>
                      <a:lnTo>
                        <a:pt x="588" y="1714"/>
                      </a:lnTo>
                      <a:lnTo>
                        <a:pt x="575" y="1729"/>
                      </a:lnTo>
                      <a:lnTo>
                        <a:pt x="570" y="1760"/>
                      </a:lnTo>
                      <a:lnTo>
                        <a:pt x="569" y="1775"/>
                      </a:lnTo>
                      <a:lnTo>
                        <a:pt x="566" y="1783"/>
                      </a:lnTo>
                      <a:lnTo>
                        <a:pt x="560" y="1792"/>
                      </a:lnTo>
                      <a:lnTo>
                        <a:pt x="549" y="1814"/>
                      </a:lnTo>
                      <a:lnTo>
                        <a:pt x="545" y="1810"/>
                      </a:lnTo>
                      <a:lnTo>
                        <a:pt x="541" y="1812"/>
                      </a:lnTo>
                      <a:lnTo>
                        <a:pt x="538" y="1819"/>
                      </a:lnTo>
                      <a:lnTo>
                        <a:pt x="525" y="1837"/>
                      </a:lnTo>
                      <a:lnTo>
                        <a:pt x="522" y="1837"/>
                      </a:lnTo>
                      <a:lnTo>
                        <a:pt x="518" y="1846"/>
                      </a:lnTo>
                      <a:lnTo>
                        <a:pt x="516" y="1858"/>
                      </a:lnTo>
                      <a:lnTo>
                        <a:pt x="512" y="1866"/>
                      </a:lnTo>
                      <a:lnTo>
                        <a:pt x="506" y="1863"/>
                      </a:lnTo>
                      <a:lnTo>
                        <a:pt x="502" y="1867"/>
                      </a:lnTo>
                      <a:lnTo>
                        <a:pt x="498" y="1863"/>
                      </a:lnTo>
                      <a:lnTo>
                        <a:pt x="484" y="1877"/>
                      </a:lnTo>
                      <a:lnTo>
                        <a:pt x="472" y="1879"/>
                      </a:lnTo>
                      <a:lnTo>
                        <a:pt x="456" y="1891"/>
                      </a:lnTo>
                      <a:lnTo>
                        <a:pt x="451" y="1890"/>
                      </a:lnTo>
                      <a:lnTo>
                        <a:pt x="431" y="1910"/>
                      </a:lnTo>
                      <a:lnTo>
                        <a:pt x="423" y="1925"/>
                      </a:lnTo>
                      <a:lnTo>
                        <a:pt x="416" y="1932"/>
                      </a:lnTo>
                      <a:lnTo>
                        <a:pt x="414" y="1939"/>
                      </a:lnTo>
                      <a:lnTo>
                        <a:pt x="412" y="1952"/>
                      </a:lnTo>
                      <a:lnTo>
                        <a:pt x="410" y="1953"/>
                      </a:lnTo>
                      <a:lnTo>
                        <a:pt x="424" y="1958"/>
                      </a:lnTo>
                      <a:lnTo>
                        <a:pt x="427" y="1964"/>
                      </a:lnTo>
                      <a:lnTo>
                        <a:pt x="418" y="1963"/>
                      </a:lnTo>
                      <a:lnTo>
                        <a:pt x="412" y="1958"/>
                      </a:lnTo>
                      <a:lnTo>
                        <a:pt x="404" y="1955"/>
                      </a:lnTo>
                      <a:lnTo>
                        <a:pt x="403" y="1960"/>
                      </a:lnTo>
                      <a:lnTo>
                        <a:pt x="399" y="1963"/>
                      </a:lnTo>
                      <a:lnTo>
                        <a:pt x="394" y="1960"/>
                      </a:lnTo>
                      <a:lnTo>
                        <a:pt x="389" y="1953"/>
                      </a:lnTo>
                      <a:lnTo>
                        <a:pt x="393" y="1948"/>
                      </a:lnTo>
                      <a:lnTo>
                        <a:pt x="393" y="1943"/>
                      </a:lnTo>
                      <a:lnTo>
                        <a:pt x="383" y="1945"/>
                      </a:lnTo>
                      <a:lnTo>
                        <a:pt x="375" y="1942"/>
                      </a:lnTo>
                      <a:lnTo>
                        <a:pt x="370" y="1943"/>
                      </a:lnTo>
                      <a:lnTo>
                        <a:pt x="365" y="1947"/>
                      </a:lnTo>
                      <a:lnTo>
                        <a:pt x="349" y="1953"/>
                      </a:lnTo>
                      <a:lnTo>
                        <a:pt x="326" y="1968"/>
                      </a:lnTo>
                      <a:lnTo>
                        <a:pt x="310" y="1982"/>
                      </a:lnTo>
                      <a:lnTo>
                        <a:pt x="303" y="1992"/>
                      </a:lnTo>
                      <a:lnTo>
                        <a:pt x="301" y="1995"/>
                      </a:lnTo>
                      <a:lnTo>
                        <a:pt x="300" y="1997"/>
                      </a:lnTo>
                      <a:lnTo>
                        <a:pt x="300" y="2006"/>
                      </a:lnTo>
                      <a:lnTo>
                        <a:pt x="286" y="2013"/>
                      </a:lnTo>
                      <a:lnTo>
                        <a:pt x="286" y="2018"/>
                      </a:lnTo>
                      <a:lnTo>
                        <a:pt x="281" y="2022"/>
                      </a:lnTo>
                      <a:lnTo>
                        <a:pt x="276" y="2018"/>
                      </a:lnTo>
                      <a:lnTo>
                        <a:pt x="274" y="2018"/>
                      </a:lnTo>
                      <a:lnTo>
                        <a:pt x="270" y="2022"/>
                      </a:lnTo>
                      <a:lnTo>
                        <a:pt x="263" y="2026"/>
                      </a:lnTo>
                      <a:lnTo>
                        <a:pt x="258" y="2028"/>
                      </a:lnTo>
                      <a:lnTo>
                        <a:pt x="252" y="2031"/>
                      </a:lnTo>
                      <a:lnTo>
                        <a:pt x="252" y="2033"/>
                      </a:lnTo>
                      <a:lnTo>
                        <a:pt x="257" y="2033"/>
                      </a:lnTo>
                      <a:lnTo>
                        <a:pt x="260" y="2042"/>
                      </a:lnTo>
                      <a:lnTo>
                        <a:pt x="259" y="2054"/>
                      </a:lnTo>
                      <a:lnTo>
                        <a:pt x="263" y="2054"/>
                      </a:lnTo>
                      <a:lnTo>
                        <a:pt x="269" y="2050"/>
                      </a:lnTo>
                      <a:lnTo>
                        <a:pt x="271" y="2044"/>
                      </a:lnTo>
                      <a:lnTo>
                        <a:pt x="269" y="2031"/>
                      </a:lnTo>
                      <a:lnTo>
                        <a:pt x="274" y="2031"/>
                      </a:lnTo>
                      <a:lnTo>
                        <a:pt x="278" y="2040"/>
                      </a:lnTo>
                      <a:lnTo>
                        <a:pt x="284" y="2045"/>
                      </a:lnTo>
                      <a:lnTo>
                        <a:pt x="301" y="2038"/>
                      </a:lnTo>
                      <a:lnTo>
                        <a:pt x="297" y="2019"/>
                      </a:lnTo>
                      <a:lnTo>
                        <a:pt x="299" y="2017"/>
                      </a:lnTo>
                      <a:lnTo>
                        <a:pt x="305" y="2023"/>
                      </a:lnTo>
                      <a:lnTo>
                        <a:pt x="307" y="2028"/>
                      </a:lnTo>
                      <a:lnTo>
                        <a:pt x="306" y="2034"/>
                      </a:lnTo>
                      <a:lnTo>
                        <a:pt x="312" y="2034"/>
                      </a:lnTo>
                      <a:lnTo>
                        <a:pt x="316" y="2036"/>
                      </a:lnTo>
                      <a:lnTo>
                        <a:pt x="322" y="2033"/>
                      </a:lnTo>
                      <a:lnTo>
                        <a:pt x="324" y="2029"/>
                      </a:lnTo>
                      <a:lnTo>
                        <a:pt x="328" y="2031"/>
                      </a:lnTo>
                      <a:lnTo>
                        <a:pt x="332" y="2028"/>
                      </a:lnTo>
                      <a:lnTo>
                        <a:pt x="334" y="2020"/>
                      </a:lnTo>
                      <a:lnTo>
                        <a:pt x="342" y="2013"/>
                      </a:lnTo>
                      <a:lnTo>
                        <a:pt x="344" y="2001"/>
                      </a:lnTo>
                      <a:lnTo>
                        <a:pt x="349" y="1987"/>
                      </a:lnTo>
                      <a:lnTo>
                        <a:pt x="356" y="1982"/>
                      </a:lnTo>
                      <a:lnTo>
                        <a:pt x="364" y="1981"/>
                      </a:lnTo>
                      <a:lnTo>
                        <a:pt x="365" y="1992"/>
                      </a:lnTo>
                      <a:lnTo>
                        <a:pt x="357" y="2001"/>
                      </a:lnTo>
                      <a:lnTo>
                        <a:pt x="360" y="2006"/>
                      </a:lnTo>
                      <a:lnTo>
                        <a:pt x="373" y="2002"/>
                      </a:lnTo>
                      <a:lnTo>
                        <a:pt x="388" y="1993"/>
                      </a:lnTo>
                      <a:lnTo>
                        <a:pt x="402" y="1996"/>
                      </a:lnTo>
                      <a:lnTo>
                        <a:pt x="402" y="1990"/>
                      </a:lnTo>
                      <a:lnTo>
                        <a:pt x="404" y="1988"/>
                      </a:lnTo>
                      <a:lnTo>
                        <a:pt x="405" y="1983"/>
                      </a:lnTo>
                      <a:lnTo>
                        <a:pt x="413" y="1991"/>
                      </a:lnTo>
                      <a:lnTo>
                        <a:pt x="418" y="1982"/>
                      </a:lnTo>
                      <a:lnTo>
                        <a:pt x="419" y="1980"/>
                      </a:lnTo>
                      <a:lnTo>
                        <a:pt x="423" y="1976"/>
                      </a:lnTo>
                      <a:lnTo>
                        <a:pt x="432" y="1975"/>
                      </a:lnTo>
                      <a:lnTo>
                        <a:pt x="436" y="1969"/>
                      </a:lnTo>
                      <a:lnTo>
                        <a:pt x="441" y="1966"/>
                      </a:lnTo>
                      <a:lnTo>
                        <a:pt x="446" y="1966"/>
                      </a:lnTo>
                      <a:lnTo>
                        <a:pt x="450" y="1961"/>
                      </a:lnTo>
                      <a:lnTo>
                        <a:pt x="457" y="1961"/>
                      </a:lnTo>
                      <a:lnTo>
                        <a:pt x="459" y="1968"/>
                      </a:lnTo>
                      <a:lnTo>
                        <a:pt x="459" y="1979"/>
                      </a:lnTo>
                      <a:lnTo>
                        <a:pt x="458" y="1986"/>
                      </a:lnTo>
                      <a:lnTo>
                        <a:pt x="459" y="1987"/>
                      </a:lnTo>
                      <a:lnTo>
                        <a:pt x="468" y="1969"/>
                      </a:lnTo>
                      <a:lnTo>
                        <a:pt x="470" y="1955"/>
                      </a:lnTo>
                      <a:lnTo>
                        <a:pt x="473" y="1958"/>
                      </a:lnTo>
                      <a:lnTo>
                        <a:pt x="478" y="1958"/>
                      </a:lnTo>
                      <a:lnTo>
                        <a:pt x="495" y="1954"/>
                      </a:lnTo>
                      <a:lnTo>
                        <a:pt x="506" y="1945"/>
                      </a:lnTo>
                      <a:lnTo>
                        <a:pt x="512" y="1945"/>
                      </a:lnTo>
                      <a:lnTo>
                        <a:pt x="516" y="1941"/>
                      </a:lnTo>
                      <a:lnTo>
                        <a:pt x="515" y="1931"/>
                      </a:lnTo>
                      <a:lnTo>
                        <a:pt x="515" y="1925"/>
                      </a:lnTo>
                      <a:lnTo>
                        <a:pt x="506" y="1922"/>
                      </a:lnTo>
                      <a:lnTo>
                        <a:pt x="498" y="1915"/>
                      </a:lnTo>
                      <a:lnTo>
                        <a:pt x="493" y="1907"/>
                      </a:lnTo>
                      <a:lnTo>
                        <a:pt x="490" y="1898"/>
                      </a:lnTo>
                      <a:lnTo>
                        <a:pt x="495" y="1898"/>
                      </a:lnTo>
                      <a:lnTo>
                        <a:pt x="499" y="1909"/>
                      </a:lnTo>
                      <a:lnTo>
                        <a:pt x="504" y="1915"/>
                      </a:lnTo>
                      <a:lnTo>
                        <a:pt x="513" y="1916"/>
                      </a:lnTo>
                      <a:lnTo>
                        <a:pt x="528" y="1902"/>
                      </a:lnTo>
                      <a:lnTo>
                        <a:pt x="538" y="1899"/>
                      </a:lnTo>
                      <a:lnTo>
                        <a:pt x="556" y="1899"/>
                      </a:lnTo>
                      <a:lnTo>
                        <a:pt x="560" y="1890"/>
                      </a:lnTo>
                      <a:lnTo>
                        <a:pt x="558" y="1889"/>
                      </a:lnTo>
                      <a:lnTo>
                        <a:pt x="548" y="1891"/>
                      </a:lnTo>
                      <a:lnTo>
                        <a:pt x="552" y="1886"/>
                      </a:lnTo>
                      <a:lnTo>
                        <a:pt x="564" y="1879"/>
                      </a:lnTo>
                      <a:lnTo>
                        <a:pt x="569" y="1884"/>
                      </a:lnTo>
                      <a:lnTo>
                        <a:pt x="577" y="1884"/>
                      </a:lnTo>
                      <a:lnTo>
                        <a:pt x="576" y="1872"/>
                      </a:lnTo>
                      <a:lnTo>
                        <a:pt x="577" y="1864"/>
                      </a:lnTo>
                      <a:lnTo>
                        <a:pt x="584" y="1862"/>
                      </a:lnTo>
                      <a:lnTo>
                        <a:pt x="596" y="1867"/>
                      </a:lnTo>
                      <a:lnTo>
                        <a:pt x="609" y="1855"/>
                      </a:lnTo>
                      <a:lnTo>
                        <a:pt x="611" y="1850"/>
                      </a:lnTo>
                      <a:lnTo>
                        <a:pt x="615" y="1851"/>
                      </a:lnTo>
                      <a:lnTo>
                        <a:pt x="618" y="1848"/>
                      </a:lnTo>
                      <a:lnTo>
                        <a:pt x="619" y="1843"/>
                      </a:lnTo>
                      <a:lnTo>
                        <a:pt x="625" y="1847"/>
                      </a:lnTo>
                      <a:lnTo>
                        <a:pt x="627" y="1843"/>
                      </a:lnTo>
                      <a:lnTo>
                        <a:pt x="634" y="1839"/>
                      </a:lnTo>
                      <a:lnTo>
                        <a:pt x="639" y="1831"/>
                      </a:lnTo>
                      <a:lnTo>
                        <a:pt x="639" y="1818"/>
                      </a:lnTo>
                      <a:lnTo>
                        <a:pt x="633" y="1818"/>
                      </a:lnTo>
                      <a:lnTo>
                        <a:pt x="630" y="1815"/>
                      </a:lnTo>
                      <a:lnTo>
                        <a:pt x="635" y="1809"/>
                      </a:lnTo>
                      <a:lnTo>
                        <a:pt x="652" y="1797"/>
                      </a:lnTo>
                      <a:lnTo>
                        <a:pt x="655" y="1800"/>
                      </a:lnTo>
                      <a:lnTo>
                        <a:pt x="658" y="1788"/>
                      </a:lnTo>
                      <a:lnTo>
                        <a:pt x="672" y="1788"/>
                      </a:lnTo>
                      <a:lnTo>
                        <a:pt x="673" y="1783"/>
                      </a:lnTo>
                      <a:lnTo>
                        <a:pt x="676" y="1778"/>
                      </a:lnTo>
                      <a:lnTo>
                        <a:pt x="677" y="1770"/>
                      </a:lnTo>
                      <a:lnTo>
                        <a:pt x="684" y="1770"/>
                      </a:lnTo>
                      <a:lnTo>
                        <a:pt x="693" y="1775"/>
                      </a:lnTo>
                      <a:lnTo>
                        <a:pt x="698" y="1764"/>
                      </a:lnTo>
                      <a:lnTo>
                        <a:pt x="701" y="1762"/>
                      </a:lnTo>
                      <a:lnTo>
                        <a:pt x="708" y="1757"/>
                      </a:lnTo>
                      <a:lnTo>
                        <a:pt x="712" y="1751"/>
                      </a:lnTo>
                      <a:lnTo>
                        <a:pt x="714" y="1746"/>
                      </a:lnTo>
                      <a:lnTo>
                        <a:pt x="726" y="1742"/>
                      </a:lnTo>
                      <a:lnTo>
                        <a:pt x="740" y="1739"/>
                      </a:lnTo>
                      <a:lnTo>
                        <a:pt x="746" y="1729"/>
                      </a:lnTo>
                      <a:lnTo>
                        <a:pt x="752" y="1732"/>
                      </a:lnTo>
                      <a:lnTo>
                        <a:pt x="763" y="1726"/>
                      </a:lnTo>
                      <a:lnTo>
                        <a:pt x="764" y="1717"/>
                      </a:lnTo>
                      <a:lnTo>
                        <a:pt x="757" y="1712"/>
                      </a:lnTo>
                      <a:lnTo>
                        <a:pt x="767" y="1707"/>
                      </a:lnTo>
                      <a:lnTo>
                        <a:pt x="767" y="1703"/>
                      </a:lnTo>
                      <a:lnTo>
                        <a:pt x="765" y="1699"/>
                      </a:lnTo>
                      <a:lnTo>
                        <a:pt x="767" y="1692"/>
                      </a:lnTo>
                      <a:lnTo>
                        <a:pt x="773" y="1691"/>
                      </a:lnTo>
                      <a:lnTo>
                        <a:pt x="779" y="1681"/>
                      </a:lnTo>
                      <a:lnTo>
                        <a:pt x="796" y="1675"/>
                      </a:lnTo>
                      <a:lnTo>
                        <a:pt x="803" y="1668"/>
                      </a:lnTo>
                      <a:lnTo>
                        <a:pt x="805" y="1660"/>
                      </a:lnTo>
                      <a:lnTo>
                        <a:pt x="805" y="1653"/>
                      </a:lnTo>
                      <a:lnTo>
                        <a:pt x="801" y="1649"/>
                      </a:lnTo>
                      <a:lnTo>
                        <a:pt x="787" y="1642"/>
                      </a:lnTo>
                      <a:lnTo>
                        <a:pt x="785" y="1637"/>
                      </a:lnTo>
                      <a:lnTo>
                        <a:pt x="776" y="1633"/>
                      </a:lnTo>
                      <a:lnTo>
                        <a:pt x="762" y="1638"/>
                      </a:lnTo>
                      <a:lnTo>
                        <a:pt x="757" y="1636"/>
                      </a:lnTo>
                      <a:lnTo>
                        <a:pt x="765" y="1605"/>
                      </a:lnTo>
                      <a:lnTo>
                        <a:pt x="765" y="1600"/>
                      </a:lnTo>
                      <a:lnTo>
                        <a:pt x="779" y="1598"/>
                      </a:lnTo>
                      <a:lnTo>
                        <a:pt x="785" y="1592"/>
                      </a:lnTo>
                      <a:lnTo>
                        <a:pt x="785" y="1586"/>
                      </a:lnTo>
                      <a:lnTo>
                        <a:pt x="791" y="1582"/>
                      </a:lnTo>
                      <a:lnTo>
                        <a:pt x="791" y="1574"/>
                      </a:lnTo>
                      <a:lnTo>
                        <a:pt x="790" y="1566"/>
                      </a:lnTo>
                      <a:lnTo>
                        <a:pt x="795" y="1570"/>
                      </a:lnTo>
                      <a:lnTo>
                        <a:pt x="797" y="1561"/>
                      </a:lnTo>
                      <a:lnTo>
                        <a:pt x="805" y="1559"/>
                      </a:lnTo>
                      <a:lnTo>
                        <a:pt x="805" y="1568"/>
                      </a:lnTo>
                      <a:lnTo>
                        <a:pt x="816" y="1566"/>
                      </a:lnTo>
                      <a:lnTo>
                        <a:pt x="822" y="1561"/>
                      </a:lnTo>
                      <a:lnTo>
                        <a:pt x="822" y="1554"/>
                      </a:lnTo>
                      <a:lnTo>
                        <a:pt x="812" y="1550"/>
                      </a:lnTo>
                      <a:lnTo>
                        <a:pt x="818" y="1546"/>
                      </a:lnTo>
                      <a:lnTo>
                        <a:pt x="834" y="1545"/>
                      </a:lnTo>
                      <a:lnTo>
                        <a:pt x="843" y="1533"/>
                      </a:lnTo>
                      <a:lnTo>
                        <a:pt x="843" y="1525"/>
                      </a:lnTo>
                      <a:lnTo>
                        <a:pt x="840" y="1519"/>
                      </a:lnTo>
                      <a:lnTo>
                        <a:pt x="821" y="1502"/>
                      </a:lnTo>
                      <a:lnTo>
                        <a:pt x="827" y="1501"/>
                      </a:lnTo>
                      <a:lnTo>
                        <a:pt x="833" y="1508"/>
                      </a:lnTo>
                      <a:lnTo>
                        <a:pt x="846" y="1508"/>
                      </a:lnTo>
                      <a:lnTo>
                        <a:pt x="864" y="1490"/>
                      </a:lnTo>
                      <a:lnTo>
                        <a:pt x="870" y="1470"/>
                      </a:lnTo>
                      <a:lnTo>
                        <a:pt x="889" y="1447"/>
                      </a:lnTo>
                      <a:lnTo>
                        <a:pt x="892" y="1433"/>
                      </a:lnTo>
                      <a:lnTo>
                        <a:pt x="925" y="1415"/>
                      </a:lnTo>
                      <a:lnTo>
                        <a:pt x="950" y="1390"/>
                      </a:lnTo>
                      <a:lnTo>
                        <a:pt x="950" y="1383"/>
                      </a:lnTo>
                      <a:lnTo>
                        <a:pt x="948" y="1374"/>
                      </a:lnTo>
                      <a:lnTo>
                        <a:pt x="950" y="1362"/>
                      </a:lnTo>
                      <a:lnTo>
                        <a:pt x="953" y="1353"/>
                      </a:lnTo>
                      <a:lnTo>
                        <a:pt x="959" y="1342"/>
                      </a:lnTo>
                      <a:lnTo>
                        <a:pt x="973" y="1305"/>
                      </a:lnTo>
                      <a:lnTo>
                        <a:pt x="974" y="1296"/>
                      </a:lnTo>
                      <a:lnTo>
                        <a:pt x="974" y="1287"/>
                      </a:lnTo>
                      <a:lnTo>
                        <a:pt x="977" y="1276"/>
                      </a:lnTo>
                      <a:lnTo>
                        <a:pt x="982" y="1278"/>
                      </a:lnTo>
                      <a:lnTo>
                        <a:pt x="983" y="1287"/>
                      </a:lnTo>
                      <a:lnTo>
                        <a:pt x="978" y="1329"/>
                      </a:lnTo>
                      <a:lnTo>
                        <a:pt x="973" y="1342"/>
                      </a:lnTo>
                      <a:lnTo>
                        <a:pt x="961" y="1364"/>
                      </a:lnTo>
                      <a:lnTo>
                        <a:pt x="957" y="1378"/>
                      </a:lnTo>
                      <a:lnTo>
                        <a:pt x="957" y="1390"/>
                      </a:lnTo>
                      <a:lnTo>
                        <a:pt x="962" y="1395"/>
                      </a:lnTo>
                      <a:lnTo>
                        <a:pt x="983" y="1394"/>
                      </a:lnTo>
                      <a:lnTo>
                        <a:pt x="1002" y="1373"/>
                      </a:lnTo>
                      <a:lnTo>
                        <a:pt x="1017" y="1366"/>
                      </a:lnTo>
                      <a:lnTo>
                        <a:pt x="1027" y="1364"/>
                      </a:lnTo>
                      <a:lnTo>
                        <a:pt x="1018" y="1374"/>
                      </a:lnTo>
                      <a:lnTo>
                        <a:pt x="1011" y="1378"/>
                      </a:lnTo>
                      <a:lnTo>
                        <a:pt x="1001" y="1385"/>
                      </a:lnTo>
                      <a:lnTo>
                        <a:pt x="996" y="1395"/>
                      </a:lnTo>
                      <a:lnTo>
                        <a:pt x="988" y="1401"/>
                      </a:lnTo>
                      <a:lnTo>
                        <a:pt x="988" y="1411"/>
                      </a:lnTo>
                      <a:lnTo>
                        <a:pt x="995" y="1418"/>
                      </a:lnTo>
                      <a:lnTo>
                        <a:pt x="1021" y="1425"/>
                      </a:lnTo>
                      <a:lnTo>
                        <a:pt x="1042" y="1436"/>
                      </a:lnTo>
                      <a:lnTo>
                        <a:pt x="999" y="1428"/>
                      </a:lnTo>
                      <a:lnTo>
                        <a:pt x="983" y="1436"/>
                      </a:lnTo>
                      <a:lnTo>
                        <a:pt x="975" y="1434"/>
                      </a:lnTo>
                      <a:lnTo>
                        <a:pt x="968" y="1422"/>
                      </a:lnTo>
                      <a:lnTo>
                        <a:pt x="962" y="1423"/>
                      </a:lnTo>
                      <a:lnTo>
                        <a:pt x="954" y="1428"/>
                      </a:lnTo>
                      <a:lnTo>
                        <a:pt x="946" y="1437"/>
                      </a:lnTo>
                      <a:lnTo>
                        <a:pt x="918" y="1450"/>
                      </a:lnTo>
                      <a:lnTo>
                        <a:pt x="913" y="1459"/>
                      </a:lnTo>
                      <a:lnTo>
                        <a:pt x="916" y="1471"/>
                      </a:lnTo>
                      <a:lnTo>
                        <a:pt x="916" y="1487"/>
                      </a:lnTo>
                      <a:lnTo>
                        <a:pt x="914" y="1504"/>
                      </a:lnTo>
                      <a:lnTo>
                        <a:pt x="910" y="1513"/>
                      </a:lnTo>
                      <a:lnTo>
                        <a:pt x="902" y="1522"/>
                      </a:lnTo>
                      <a:lnTo>
                        <a:pt x="897" y="1534"/>
                      </a:lnTo>
                      <a:lnTo>
                        <a:pt x="896" y="1541"/>
                      </a:lnTo>
                      <a:lnTo>
                        <a:pt x="891" y="1551"/>
                      </a:lnTo>
                      <a:lnTo>
                        <a:pt x="888" y="1561"/>
                      </a:lnTo>
                      <a:lnTo>
                        <a:pt x="892" y="1567"/>
                      </a:lnTo>
                      <a:lnTo>
                        <a:pt x="904" y="1574"/>
                      </a:lnTo>
                      <a:lnTo>
                        <a:pt x="931" y="1557"/>
                      </a:lnTo>
                      <a:lnTo>
                        <a:pt x="936" y="1559"/>
                      </a:lnTo>
                      <a:lnTo>
                        <a:pt x="931" y="1571"/>
                      </a:lnTo>
                      <a:lnTo>
                        <a:pt x="926" y="1579"/>
                      </a:lnTo>
                      <a:lnTo>
                        <a:pt x="919" y="1586"/>
                      </a:lnTo>
                      <a:lnTo>
                        <a:pt x="913" y="1586"/>
                      </a:lnTo>
                      <a:lnTo>
                        <a:pt x="912" y="1589"/>
                      </a:lnTo>
                      <a:lnTo>
                        <a:pt x="916" y="1593"/>
                      </a:lnTo>
                      <a:lnTo>
                        <a:pt x="904" y="1589"/>
                      </a:lnTo>
                      <a:lnTo>
                        <a:pt x="902" y="1589"/>
                      </a:lnTo>
                      <a:lnTo>
                        <a:pt x="899" y="1592"/>
                      </a:lnTo>
                      <a:lnTo>
                        <a:pt x="898" y="1598"/>
                      </a:lnTo>
                      <a:lnTo>
                        <a:pt x="892" y="1592"/>
                      </a:lnTo>
                      <a:lnTo>
                        <a:pt x="888" y="1598"/>
                      </a:lnTo>
                      <a:lnTo>
                        <a:pt x="889" y="1604"/>
                      </a:lnTo>
                      <a:lnTo>
                        <a:pt x="883" y="1606"/>
                      </a:lnTo>
                      <a:lnTo>
                        <a:pt x="883" y="1615"/>
                      </a:lnTo>
                      <a:lnTo>
                        <a:pt x="892" y="1617"/>
                      </a:lnTo>
                      <a:lnTo>
                        <a:pt x="896" y="1622"/>
                      </a:lnTo>
                      <a:lnTo>
                        <a:pt x="907" y="1619"/>
                      </a:lnTo>
                      <a:lnTo>
                        <a:pt x="923" y="1617"/>
                      </a:lnTo>
                      <a:lnTo>
                        <a:pt x="923" y="1608"/>
                      </a:lnTo>
                      <a:lnTo>
                        <a:pt x="924" y="1605"/>
                      </a:lnTo>
                      <a:lnTo>
                        <a:pt x="932" y="1609"/>
                      </a:lnTo>
                      <a:lnTo>
                        <a:pt x="939" y="1614"/>
                      </a:lnTo>
                      <a:lnTo>
                        <a:pt x="948" y="1595"/>
                      </a:lnTo>
                      <a:lnTo>
                        <a:pt x="957" y="1584"/>
                      </a:lnTo>
                      <a:lnTo>
                        <a:pt x="963" y="1586"/>
                      </a:lnTo>
                      <a:lnTo>
                        <a:pt x="970" y="1581"/>
                      </a:lnTo>
                      <a:lnTo>
                        <a:pt x="970" y="1592"/>
                      </a:lnTo>
                      <a:lnTo>
                        <a:pt x="968" y="1603"/>
                      </a:lnTo>
                      <a:lnTo>
                        <a:pt x="980" y="1583"/>
                      </a:lnTo>
                      <a:lnTo>
                        <a:pt x="980" y="1572"/>
                      </a:lnTo>
                      <a:lnTo>
                        <a:pt x="993" y="1565"/>
                      </a:lnTo>
                      <a:lnTo>
                        <a:pt x="997" y="1568"/>
                      </a:lnTo>
                      <a:lnTo>
                        <a:pt x="1002" y="1560"/>
                      </a:lnTo>
                      <a:lnTo>
                        <a:pt x="1000" y="1550"/>
                      </a:lnTo>
                      <a:lnTo>
                        <a:pt x="1001" y="1546"/>
                      </a:lnTo>
                      <a:lnTo>
                        <a:pt x="1005" y="1540"/>
                      </a:lnTo>
                      <a:lnTo>
                        <a:pt x="1007" y="1554"/>
                      </a:lnTo>
                      <a:lnTo>
                        <a:pt x="1011" y="1566"/>
                      </a:lnTo>
                      <a:lnTo>
                        <a:pt x="1013" y="1551"/>
                      </a:lnTo>
                      <a:lnTo>
                        <a:pt x="1015" y="1540"/>
                      </a:lnTo>
                      <a:lnTo>
                        <a:pt x="1020" y="1534"/>
                      </a:lnTo>
                      <a:lnTo>
                        <a:pt x="1020" y="1524"/>
                      </a:lnTo>
                      <a:lnTo>
                        <a:pt x="1023" y="1536"/>
                      </a:lnTo>
                      <a:lnTo>
                        <a:pt x="1028" y="1534"/>
                      </a:lnTo>
                      <a:lnTo>
                        <a:pt x="1033" y="1534"/>
                      </a:lnTo>
                      <a:lnTo>
                        <a:pt x="1038" y="1538"/>
                      </a:lnTo>
                      <a:lnTo>
                        <a:pt x="1055" y="1540"/>
                      </a:lnTo>
                      <a:lnTo>
                        <a:pt x="1064" y="1534"/>
                      </a:lnTo>
                      <a:lnTo>
                        <a:pt x="1069" y="1533"/>
                      </a:lnTo>
                      <a:lnTo>
                        <a:pt x="1074" y="1518"/>
                      </a:lnTo>
                      <a:lnTo>
                        <a:pt x="1077" y="1519"/>
                      </a:lnTo>
                      <a:lnTo>
                        <a:pt x="1083" y="1517"/>
                      </a:lnTo>
                      <a:lnTo>
                        <a:pt x="1088" y="1509"/>
                      </a:lnTo>
                      <a:lnTo>
                        <a:pt x="1085" y="1508"/>
                      </a:lnTo>
                      <a:lnTo>
                        <a:pt x="1082" y="1504"/>
                      </a:lnTo>
                      <a:lnTo>
                        <a:pt x="1076" y="1506"/>
                      </a:lnTo>
                      <a:lnTo>
                        <a:pt x="1081" y="1496"/>
                      </a:lnTo>
                      <a:lnTo>
                        <a:pt x="1088" y="1486"/>
                      </a:lnTo>
                      <a:lnTo>
                        <a:pt x="1093" y="1486"/>
                      </a:lnTo>
                      <a:lnTo>
                        <a:pt x="1096" y="1476"/>
                      </a:lnTo>
                      <a:lnTo>
                        <a:pt x="1091" y="1469"/>
                      </a:lnTo>
                      <a:lnTo>
                        <a:pt x="1082" y="1477"/>
                      </a:lnTo>
                      <a:lnTo>
                        <a:pt x="1076" y="1477"/>
                      </a:lnTo>
                      <a:lnTo>
                        <a:pt x="1065" y="1482"/>
                      </a:lnTo>
                      <a:lnTo>
                        <a:pt x="1064" y="1474"/>
                      </a:lnTo>
                      <a:lnTo>
                        <a:pt x="1074" y="1470"/>
                      </a:lnTo>
                      <a:lnTo>
                        <a:pt x="1082" y="1463"/>
                      </a:lnTo>
                      <a:lnTo>
                        <a:pt x="1083" y="1453"/>
                      </a:lnTo>
                      <a:lnTo>
                        <a:pt x="1076" y="1458"/>
                      </a:lnTo>
                      <a:lnTo>
                        <a:pt x="1076" y="1453"/>
                      </a:lnTo>
                      <a:lnTo>
                        <a:pt x="1066" y="1454"/>
                      </a:lnTo>
                      <a:lnTo>
                        <a:pt x="1066" y="1448"/>
                      </a:lnTo>
                      <a:lnTo>
                        <a:pt x="1063" y="1447"/>
                      </a:lnTo>
                      <a:lnTo>
                        <a:pt x="1066" y="1439"/>
                      </a:lnTo>
                      <a:lnTo>
                        <a:pt x="1077" y="1436"/>
                      </a:lnTo>
                      <a:lnTo>
                        <a:pt x="1083" y="1425"/>
                      </a:lnTo>
                      <a:lnTo>
                        <a:pt x="1074" y="1423"/>
                      </a:lnTo>
                      <a:lnTo>
                        <a:pt x="1082" y="1411"/>
                      </a:lnTo>
                      <a:lnTo>
                        <a:pt x="1086" y="1409"/>
                      </a:lnTo>
                      <a:lnTo>
                        <a:pt x="1090" y="1417"/>
                      </a:lnTo>
                      <a:lnTo>
                        <a:pt x="1093" y="1416"/>
                      </a:lnTo>
                      <a:lnTo>
                        <a:pt x="1098" y="1405"/>
                      </a:lnTo>
                      <a:lnTo>
                        <a:pt x="1109" y="1394"/>
                      </a:lnTo>
                      <a:lnTo>
                        <a:pt x="1109" y="1404"/>
                      </a:lnTo>
                      <a:lnTo>
                        <a:pt x="1099" y="1421"/>
                      </a:lnTo>
                      <a:lnTo>
                        <a:pt x="1096" y="1431"/>
                      </a:lnTo>
                      <a:lnTo>
                        <a:pt x="1102" y="1437"/>
                      </a:lnTo>
                      <a:lnTo>
                        <a:pt x="1111" y="1436"/>
                      </a:lnTo>
                      <a:lnTo>
                        <a:pt x="1114" y="1431"/>
                      </a:lnTo>
                      <a:lnTo>
                        <a:pt x="1114" y="1415"/>
                      </a:lnTo>
                      <a:lnTo>
                        <a:pt x="1115" y="1405"/>
                      </a:lnTo>
                      <a:lnTo>
                        <a:pt x="1120" y="1418"/>
                      </a:lnTo>
                      <a:lnTo>
                        <a:pt x="1120" y="1426"/>
                      </a:lnTo>
                      <a:lnTo>
                        <a:pt x="1128" y="1427"/>
                      </a:lnTo>
                      <a:lnTo>
                        <a:pt x="1144" y="1425"/>
                      </a:lnTo>
                      <a:lnTo>
                        <a:pt x="1150" y="1426"/>
                      </a:lnTo>
                      <a:lnTo>
                        <a:pt x="1160" y="1423"/>
                      </a:lnTo>
                      <a:lnTo>
                        <a:pt x="1166" y="1414"/>
                      </a:lnTo>
                      <a:lnTo>
                        <a:pt x="1178" y="1409"/>
                      </a:lnTo>
                      <a:lnTo>
                        <a:pt x="1190" y="1409"/>
                      </a:lnTo>
                      <a:lnTo>
                        <a:pt x="1189" y="1412"/>
                      </a:lnTo>
                      <a:lnTo>
                        <a:pt x="1173" y="1415"/>
                      </a:lnTo>
                      <a:lnTo>
                        <a:pt x="1173" y="1422"/>
                      </a:lnTo>
                      <a:lnTo>
                        <a:pt x="1171" y="1432"/>
                      </a:lnTo>
                      <a:lnTo>
                        <a:pt x="1171" y="1439"/>
                      </a:lnTo>
                      <a:lnTo>
                        <a:pt x="1177" y="1442"/>
                      </a:lnTo>
                      <a:lnTo>
                        <a:pt x="1194" y="1436"/>
                      </a:lnTo>
                      <a:lnTo>
                        <a:pt x="1195" y="1441"/>
                      </a:lnTo>
                      <a:lnTo>
                        <a:pt x="1179" y="1450"/>
                      </a:lnTo>
                      <a:lnTo>
                        <a:pt x="1168" y="1454"/>
                      </a:lnTo>
                      <a:lnTo>
                        <a:pt x="1183" y="1457"/>
                      </a:lnTo>
                      <a:lnTo>
                        <a:pt x="1190" y="1448"/>
                      </a:lnTo>
                      <a:lnTo>
                        <a:pt x="1200" y="1443"/>
                      </a:lnTo>
                      <a:lnTo>
                        <a:pt x="1204" y="1446"/>
                      </a:lnTo>
                      <a:lnTo>
                        <a:pt x="1190" y="1463"/>
                      </a:lnTo>
                      <a:lnTo>
                        <a:pt x="1208" y="1458"/>
                      </a:lnTo>
                      <a:lnTo>
                        <a:pt x="1212" y="1461"/>
                      </a:lnTo>
                      <a:lnTo>
                        <a:pt x="1222" y="1460"/>
                      </a:lnTo>
                      <a:lnTo>
                        <a:pt x="1224" y="1463"/>
                      </a:lnTo>
                      <a:lnTo>
                        <a:pt x="1216" y="1475"/>
                      </a:lnTo>
                      <a:lnTo>
                        <a:pt x="1224" y="1477"/>
                      </a:lnTo>
                      <a:lnTo>
                        <a:pt x="1238" y="1495"/>
                      </a:lnTo>
                      <a:lnTo>
                        <a:pt x="1246" y="1498"/>
                      </a:lnTo>
                      <a:lnTo>
                        <a:pt x="1253" y="1497"/>
                      </a:lnTo>
                      <a:lnTo>
                        <a:pt x="1253" y="1493"/>
                      </a:lnTo>
                      <a:lnTo>
                        <a:pt x="1254" y="1490"/>
                      </a:lnTo>
                      <a:lnTo>
                        <a:pt x="1254" y="1485"/>
                      </a:lnTo>
                      <a:lnTo>
                        <a:pt x="1258" y="1482"/>
                      </a:lnTo>
                      <a:lnTo>
                        <a:pt x="1263" y="1481"/>
                      </a:lnTo>
                      <a:lnTo>
                        <a:pt x="1268" y="1485"/>
                      </a:lnTo>
                      <a:lnTo>
                        <a:pt x="1270" y="1491"/>
                      </a:lnTo>
                      <a:lnTo>
                        <a:pt x="1270" y="1500"/>
                      </a:lnTo>
                      <a:lnTo>
                        <a:pt x="1279" y="1506"/>
                      </a:lnTo>
                      <a:lnTo>
                        <a:pt x="1284" y="1512"/>
                      </a:lnTo>
                      <a:lnTo>
                        <a:pt x="1287" y="1514"/>
                      </a:lnTo>
                      <a:lnTo>
                        <a:pt x="1289" y="1509"/>
                      </a:lnTo>
                      <a:lnTo>
                        <a:pt x="1296" y="1514"/>
                      </a:lnTo>
                      <a:lnTo>
                        <a:pt x="1301" y="1513"/>
                      </a:lnTo>
                      <a:lnTo>
                        <a:pt x="1307" y="1517"/>
                      </a:lnTo>
                      <a:lnTo>
                        <a:pt x="1313" y="1524"/>
                      </a:lnTo>
                      <a:lnTo>
                        <a:pt x="1313" y="1528"/>
                      </a:lnTo>
                      <a:lnTo>
                        <a:pt x="1312" y="1531"/>
                      </a:lnTo>
                      <a:lnTo>
                        <a:pt x="1316" y="1534"/>
                      </a:lnTo>
                      <a:lnTo>
                        <a:pt x="1324" y="1535"/>
                      </a:lnTo>
                      <a:lnTo>
                        <a:pt x="1337" y="1530"/>
                      </a:lnTo>
                      <a:lnTo>
                        <a:pt x="1370" y="1529"/>
                      </a:lnTo>
                      <a:lnTo>
                        <a:pt x="1373" y="1523"/>
                      </a:lnTo>
                      <a:lnTo>
                        <a:pt x="1383" y="1528"/>
                      </a:lnTo>
                      <a:lnTo>
                        <a:pt x="1387" y="1523"/>
                      </a:lnTo>
                      <a:lnTo>
                        <a:pt x="1399" y="1525"/>
                      </a:lnTo>
                      <a:lnTo>
                        <a:pt x="1405" y="1531"/>
                      </a:lnTo>
                      <a:lnTo>
                        <a:pt x="1437" y="1538"/>
                      </a:lnTo>
                      <a:lnTo>
                        <a:pt x="1445" y="1539"/>
                      </a:lnTo>
                      <a:lnTo>
                        <a:pt x="1459" y="1531"/>
                      </a:lnTo>
                      <a:lnTo>
                        <a:pt x="1466" y="1536"/>
                      </a:lnTo>
                      <a:lnTo>
                        <a:pt x="1467" y="1539"/>
                      </a:lnTo>
                      <a:lnTo>
                        <a:pt x="1459" y="1541"/>
                      </a:lnTo>
                      <a:lnTo>
                        <a:pt x="1458" y="1545"/>
                      </a:lnTo>
                      <a:lnTo>
                        <a:pt x="1463" y="1549"/>
                      </a:lnTo>
                      <a:lnTo>
                        <a:pt x="1483" y="1557"/>
                      </a:lnTo>
                      <a:lnTo>
                        <a:pt x="1504" y="1562"/>
                      </a:lnTo>
                      <a:lnTo>
                        <a:pt x="1522" y="1565"/>
                      </a:lnTo>
                      <a:lnTo>
                        <a:pt x="1540" y="1556"/>
                      </a:lnTo>
                      <a:lnTo>
                        <a:pt x="1555" y="1538"/>
                      </a:lnTo>
                      <a:lnTo>
                        <a:pt x="1559" y="1529"/>
                      </a:lnTo>
                      <a:lnTo>
                        <a:pt x="1563" y="1525"/>
                      </a:lnTo>
                      <a:lnTo>
                        <a:pt x="1574" y="1540"/>
                      </a:lnTo>
                      <a:lnTo>
                        <a:pt x="1580" y="1546"/>
                      </a:lnTo>
                      <a:lnTo>
                        <a:pt x="1590" y="1550"/>
                      </a:lnTo>
                      <a:lnTo>
                        <a:pt x="1586" y="1551"/>
                      </a:lnTo>
                      <a:lnTo>
                        <a:pt x="1579" y="1557"/>
                      </a:lnTo>
                      <a:lnTo>
                        <a:pt x="1579" y="1565"/>
                      </a:lnTo>
                      <a:lnTo>
                        <a:pt x="1580" y="1571"/>
                      </a:lnTo>
                      <a:lnTo>
                        <a:pt x="1581" y="1578"/>
                      </a:lnTo>
                      <a:lnTo>
                        <a:pt x="1579" y="1582"/>
                      </a:lnTo>
                      <a:lnTo>
                        <a:pt x="1574" y="1577"/>
                      </a:lnTo>
                      <a:lnTo>
                        <a:pt x="1572" y="1557"/>
                      </a:lnTo>
                      <a:lnTo>
                        <a:pt x="1574" y="1552"/>
                      </a:lnTo>
                      <a:lnTo>
                        <a:pt x="1574" y="1545"/>
                      </a:lnTo>
                      <a:lnTo>
                        <a:pt x="1570" y="1539"/>
                      </a:lnTo>
                      <a:lnTo>
                        <a:pt x="1567" y="1536"/>
                      </a:lnTo>
                      <a:lnTo>
                        <a:pt x="1563" y="1541"/>
                      </a:lnTo>
                      <a:lnTo>
                        <a:pt x="1561" y="1546"/>
                      </a:lnTo>
                      <a:lnTo>
                        <a:pt x="1561" y="1560"/>
                      </a:lnTo>
                      <a:lnTo>
                        <a:pt x="1564" y="1563"/>
                      </a:lnTo>
                      <a:lnTo>
                        <a:pt x="1564" y="1570"/>
                      </a:lnTo>
                      <a:lnTo>
                        <a:pt x="1563" y="1574"/>
                      </a:lnTo>
                      <a:lnTo>
                        <a:pt x="1560" y="1578"/>
                      </a:lnTo>
                      <a:lnTo>
                        <a:pt x="1555" y="1579"/>
                      </a:lnTo>
                      <a:lnTo>
                        <a:pt x="1548" y="1587"/>
                      </a:lnTo>
                      <a:lnTo>
                        <a:pt x="1552" y="1592"/>
                      </a:lnTo>
                      <a:lnTo>
                        <a:pt x="1567" y="1595"/>
                      </a:lnTo>
                      <a:lnTo>
                        <a:pt x="1567" y="1599"/>
                      </a:lnTo>
                      <a:lnTo>
                        <a:pt x="1572" y="1601"/>
                      </a:lnTo>
                      <a:lnTo>
                        <a:pt x="1579" y="1601"/>
                      </a:lnTo>
                      <a:lnTo>
                        <a:pt x="1581" y="1603"/>
                      </a:lnTo>
                      <a:lnTo>
                        <a:pt x="1580" y="1606"/>
                      </a:lnTo>
                      <a:lnTo>
                        <a:pt x="1598" y="1614"/>
                      </a:lnTo>
                      <a:lnTo>
                        <a:pt x="1612" y="1627"/>
                      </a:lnTo>
                      <a:lnTo>
                        <a:pt x="1612" y="1624"/>
                      </a:lnTo>
                      <a:lnTo>
                        <a:pt x="1615" y="1620"/>
                      </a:lnTo>
                      <a:lnTo>
                        <a:pt x="1629" y="1620"/>
                      </a:lnTo>
                      <a:lnTo>
                        <a:pt x="1630" y="1619"/>
                      </a:lnTo>
                      <a:lnTo>
                        <a:pt x="1631" y="1608"/>
                      </a:lnTo>
                      <a:lnTo>
                        <a:pt x="1628" y="1599"/>
                      </a:lnTo>
                      <a:lnTo>
                        <a:pt x="1630" y="1598"/>
                      </a:lnTo>
                      <a:lnTo>
                        <a:pt x="1635" y="1600"/>
                      </a:lnTo>
                      <a:lnTo>
                        <a:pt x="1638" y="1595"/>
                      </a:lnTo>
                      <a:lnTo>
                        <a:pt x="1635" y="1592"/>
                      </a:lnTo>
                      <a:lnTo>
                        <a:pt x="1608" y="1557"/>
                      </a:lnTo>
                      <a:lnTo>
                        <a:pt x="1603" y="1546"/>
                      </a:lnTo>
                      <a:lnTo>
                        <a:pt x="1590" y="1535"/>
                      </a:lnTo>
                      <a:lnTo>
                        <a:pt x="1583" y="1529"/>
                      </a:lnTo>
                      <a:lnTo>
                        <a:pt x="1587" y="1529"/>
                      </a:lnTo>
                      <a:lnTo>
                        <a:pt x="1587" y="1523"/>
                      </a:lnTo>
                      <a:lnTo>
                        <a:pt x="1587" y="1501"/>
                      </a:lnTo>
                      <a:lnTo>
                        <a:pt x="1554" y="1502"/>
                      </a:lnTo>
                      <a:lnTo>
                        <a:pt x="1542" y="1517"/>
                      </a:lnTo>
                      <a:lnTo>
                        <a:pt x="1536" y="1514"/>
                      </a:lnTo>
                      <a:lnTo>
                        <a:pt x="1521" y="1503"/>
                      </a:lnTo>
                      <a:lnTo>
                        <a:pt x="1506" y="1514"/>
                      </a:lnTo>
                      <a:lnTo>
                        <a:pt x="1486" y="1502"/>
                      </a:lnTo>
                      <a:lnTo>
                        <a:pt x="1486" y="146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6" name="USA"/>
                <p:cNvSpPr>
                  <a:spLocks noChangeAspect="1"/>
                </p:cNvSpPr>
                <p:nvPr>
                  <p:custDataLst>
                    <p:tags r:id="rId212"/>
                  </p:custDataLst>
                </p:nvPr>
              </p:nvSpPr>
              <p:spPr bwMode="gray">
                <a:xfrm>
                  <a:off x="999" y="1668"/>
                  <a:ext cx="91" cy="101"/>
                </a:xfrm>
                <a:custGeom>
                  <a:avLst/>
                  <a:gdLst/>
                  <a:ahLst/>
                  <a:cxnLst>
                    <a:cxn ang="0">
                      <a:pos x="39" y="90"/>
                    </a:cxn>
                    <a:cxn ang="0">
                      <a:pos x="91" y="60"/>
                    </a:cxn>
                    <a:cxn ang="0">
                      <a:pos x="103" y="29"/>
                    </a:cxn>
                    <a:cxn ang="0">
                      <a:pos x="162" y="7"/>
                    </a:cxn>
                    <a:cxn ang="0">
                      <a:pos x="192" y="55"/>
                    </a:cxn>
                    <a:cxn ang="0">
                      <a:pos x="214" y="100"/>
                    </a:cxn>
                    <a:cxn ang="0">
                      <a:pos x="292" y="206"/>
                    </a:cxn>
                    <a:cxn ang="0">
                      <a:pos x="322" y="262"/>
                    </a:cxn>
                    <a:cxn ang="0">
                      <a:pos x="334" y="292"/>
                    </a:cxn>
                    <a:cxn ang="0">
                      <a:pos x="353" y="335"/>
                    </a:cxn>
                    <a:cxn ang="0">
                      <a:pos x="450" y="384"/>
                    </a:cxn>
                    <a:cxn ang="0">
                      <a:pos x="451" y="416"/>
                    </a:cxn>
                    <a:cxn ang="0">
                      <a:pos x="451" y="474"/>
                    </a:cxn>
                    <a:cxn ang="0">
                      <a:pos x="424" y="498"/>
                    </a:cxn>
                    <a:cxn ang="0">
                      <a:pos x="404" y="506"/>
                    </a:cxn>
                    <a:cxn ang="0">
                      <a:pos x="416" y="479"/>
                    </a:cxn>
                    <a:cxn ang="0">
                      <a:pos x="421" y="454"/>
                    </a:cxn>
                    <a:cxn ang="0">
                      <a:pos x="407" y="439"/>
                    </a:cxn>
                    <a:cxn ang="0">
                      <a:pos x="394" y="390"/>
                    </a:cxn>
                    <a:cxn ang="0">
                      <a:pos x="389" y="378"/>
                    </a:cxn>
                    <a:cxn ang="0">
                      <a:pos x="362" y="396"/>
                    </a:cxn>
                    <a:cxn ang="0">
                      <a:pos x="354" y="418"/>
                    </a:cxn>
                    <a:cxn ang="0">
                      <a:pos x="338" y="431"/>
                    </a:cxn>
                    <a:cxn ang="0">
                      <a:pos x="342" y="405"/>
                    </a:cxn>
                    <a:cxn ang="0">
                      <a:pos x="369" y="366"/>
                    </a:cxn>
                    <a:cxn ang="0">
                      <a:pos x="328" y="320"/>
                    </a:cxn>
                    <a:cxn ang="0">
                      <a:pos x="302" y="305"/>
                    </a:cxn>
                    <a:cxn ang="0">
                      <a:pos x="305" y="299"/>
                    </a:cxn>
                    <a:cxn ang="0">
                      <a:pos x="286" y="282"/>
                    </a:cxn>
                    <a:cxn ang="0">
                      <a:pos x="275" y="276"/>
                    </a:cxn>
                    <a:cxn ang="0">
                      <a:pos x="279" y="260"/>
                    </a:cxn>
                    <a:cxn ang="0">
                      <a:pos x="268" y="246"/>
                    </a:cxn>
                    <a:cxn ang="0">
                      <a:pos x="267" y="229"/>
                    </a:cxn>
                    <a:cxn ang="0">
                      <a:pos x="284" y="238"/>
                    </a:cxn>
                    <a:cxn ang="0">
                      <a:pos x="276" y="219"/>
                    </a:cxn>
                    <a:cxn ang="0">
                      <a:pos x="264" y="198"/>
                    </a:cxn>
                    <a:cxn ang="0">
                      <a:pos x="254" y="203"/>
                    </a:cxn>
                    <a:cxn ang="0">
                      <a:pos x="251" y="190"/>
                    </a:cxn>
                    <a:cxn ang="0">
                      <a:pos x="256" y="169"/>
                    </a:cxn>
                    <a:cxn ang="0">
                      <a:pos x="233" y="183"/>
                    </a:cxn>
                    <a:cxn ang="0">
                      <a:pos x="219" y="165"/>
                    </a:cxn>
                    <a:cxn ang="0">
                      <a:pos x="178" y="124"/>
                    </a:cxn>
                    <a:cxn ang="0">
                      <a:pos x="156" y="52"/>
                    </a:cxn>
                    <a:cxn ang="0">
                      <a:pos x="150" y="63"/>
                    </a:cxn>
                    <a:cxn ang="0">
                      <a:pos x="172" y="142"/>
                    </a:cxn>
                    <a:cxn ang="0">
                      <a:pos x="152" y="142"/>
                    </a:cxn>
                    <a:cxn ang="0">
                      <a:pos x="133" y="127"/>
                    </a:cxn>
                    <a:cxn ang="0">
                      <a:pos x="117" y="90"/>
                    </a:cxn>
                    <a:cxn ang="0">
                      <a:pos x="90" y="85"/>
                    </a:cxn>
                    <a:cxn ang="0">
                      <a:pos x="71" y="82"/>
                    </a:cxn>
                    <a:cxn ang="0">
                      <a:pos x="77" y="95"/>
                    </a:cxn>
                    <a:cxn ang="0">
                      <a:pos x="98" y="121"/>
                    </a:cxn>
                    <a:cxn ang="0">
                      <a:pos x="117" y="141"/>
                    </a:cxn>
                    <a:cxn ang="0">
                      <a:pos x="97" y="149"/>
                    </a:cxn>
                    <a:cxn ang="0">
                      <a:pos x="48" y="135"/>
                    </a:cxn>
                    <a:cxn ang="0">
                      <a:pos x="27" y="116"/>
                    </a:cxn>
                    <a:cxn ang="0">
                      <a:pos x="5" y="47"/>
                    </a:cxn>
                  </a:cxnLst>
                  <a:rect l="0" t="0" r="r" b="b"/>
                  <a:pathLst>
                    <a:path w="456" h="507">
                      <a:moveTo>
                        <a:pt x="10" y="44"/>
                      </a:moveTo>
                      <a:lnTo>
                        <a:pt x="26" y="57"/>
                      </a:lnTo>
                      <a:lnTo>
                        <a:pt x="36" y="81"/>
                      </a:lnTo>
                      <a:lnTo>
                        <a:pt x="39" y="87"/>
                      </a:lnTo>
                      <a:lnTo>
                        <a:pt x="39" y="90"/>
                      </a:lnTo>
                      <a:lnTo>
                        <a:pt x="42" y="92"/>
                      </a:lnTo>
                      <a:lnTo>
                        <a:pt x="55" y="87"/>
                      </a:lnTo>
                      <a:lnTo>
                        <a:pt x="71" y="73"/>
                      </a:lnTo>
                      <a:lnTo>
                        <a:pt x="87" y="68"/>
                      </a:lnTo>
                      <a:lnTo>
                        <a:pt x="91" y="60"/>
                      </a:lnTo>
                      <a:lnTo>
                        <a:pt x="91" y="51"/>
                      </a:lnTo>
                      <a:lnTo>
                        <a:pt x="93" y="47"/>
                      </a:lnTo>
                      <a:lnTo>
                        <a:pt x="100" y="44"/>
                      </a:lnTo>
                      <a:lnTo>
                        <a:pt x="102" y="41"/>
                      </a:lnTo>
                      <a:lnTo>
                        <a:pt x="103" y="29"/>
                      </a:lnTo>
                      <a:lnTo>
                        <a:pt x="108" y="23"/>
                      </a:lnTo>
                      <a:lnTo>
                        <a:pt x="129" y="17"/>
                      </a:lnTo>
                      <a:lnTo>
                        <a:pt x="151" y="0"/>
                      </a:lnTo>
                      <a:lnTo>
                        <a:pt x="156" y="1"/>
                      </a:lnTo>
                      <a:lnTo>
                        <a:pt x="162" y="7"/>
                      </a:lnTo>
                      <a:lnTo>
                        <a:pt x="171" y="25"/>
                      </a:lnTo>
                      <a:lnTo>
                        <a:pt x="174" y="29"/>
                      </a:lnTo>
                      <a:lnTo>
                        <a:pt x="179" y="29"/>
                      </a:lnTo>
                      <a:lnTo>
                        <a:pt x="183" y="41"/>
                      </a:lnTo>
                      <a:lnTo>
                        <a:pt x="192" y="55"/>
                      </a:lnTo>
                      <a:lnTo>
                        <a:pt x="194" y="63"/>
                      </a:lnTo>
                      <a:lnTo>
                        <a:pt x="206" y="74"/>
                      </a:lnTo>
                      <a:lnTo>
                        <a:pt x="210" y="90"/>
                      </a:lnTo>
                      <a:lnTo>
                        <a:pt x="210" y="93"/>
                      </a:lnTo>
                      <a:lnTo>
                        <a:pt x="214" y="100"/>
                      </a:lnTo>
                      <a:lnTo>
                        <a:pt x="235" y="109"/>
                      </a:lnTo>
                      <a:lnTo>
                        <a:pt x="246" y="120"/>
                      </a:lnTo>
                      <a:lnTo>
                        <a:pt x="253" y="141"/>
                      </a:lnTo>
                      <a:lnTo>
                        <a:pt x="264" y="160"/>
                      </a:lnTo>
                      <a:lnTo>
                        <a:pt x="292" y="206"/>
                      </a:lnTo>
                      <a:lnTo>
                        <a:pt x="299" y="224"/>
                      </a:lnTo>
                      <a:lnTo>
                        <a:pt x="300" y="227"/>
                      </a:lnTo>
                      <a:lnTo>
                        <a:pt x="303" y="227"/>
                      </a:lnTo>
                      <a:lnTo>
                        <a:pt x="308" y="245"/>
                      </a:lnTo>
                      <a:lnTo>
                        <a:pt x="322" y="262"/>
                      </a:lnTo>
                      <a:lnTo>
                        <a:pt x="326" y="270"/>
                      </a:lnTo>
                      <a:lnTo>
                        <a:pt x="326" y="273"/>
                      </a:lnTo>
                      <a:lnTo>
                        <a:pt x="323" y="278"/>
                      </a:lnTo>
                      <a:lnTo>
                        <a:pt x="324" y="283"/>
                      </a:lnTo>
                      <a:lnTo>
                        <a:pt x="334" y="292"/>
                      </a:lnTo>
                      <a:lnTo>
                        <a:pt x="338" y="299"/>
                      </a:lnTo>
                      <a:lnTo>
                        <a:pt x="338" y="303"/>
                      </a:lnTo>
                      <a:lnTo>
                        <a:pt x="343" y="320"/>
                      </a:lnTo>
                      <a:lnTo>
                        <a:pt x="348" y="329"/>
                      </a:lnTo>
                      <a:lnTo>
                        <a:pt x="353" y="335"/>
                      </a:lnTo>
                      <a:lnTo>
                        <a:pt x="365" y="342"/>
                      </a:lnTo>
                      <a:lnTo>
                        <a:pt x="401" y="352"/>
                      </a:lnTo>
                      <a:lnTo>
                        <a:pt x="426" y="373"/>
                      </a:lnTo>
                      <a:lnTo>
                        <a:pt x="431" y="379"/>
                      </a:lnTo>
                      <a:lnTo>
                        <a:pt x="450" y="384"/>
                      </a:lnTo>
                      <a:lnTo>
                        <a:pt x="452" y="388"/>
                      </a:lnTo>
                      <a:lnTo>
                        <a:pt x="456" y="394"/>
                      </a:lnTo>
                      <a:lnTo>
                        <a:pt x="456" y="396"/>
                      </a:lnTo>
                      <a:lnTo>
                        <a:pt x="453" y="401"/>
                      </a:lnTo>
                      <a:lnTo>
                        <a:pt x="451" y="416"/>
                      </a:lnTo>
                      <a:lnTo>
                        <a:pt x="451" y="443"/>
                      </a:lnTo>
                      <a:lnTo>
                        <a:pt x="456" y="459"/>
                      </a:lnTo>
                      <a:lnTo>
                        <a:pt x="456" y="464"/>
                      </a:lnTo>
                      <a:lnTo>
                        <a:pt x="453" y="470"/>
                      </a:lnTo>
                      <a:lnTo>
                        <a:pt x="451" y="474"/>
                      </a:lnTo>
                      <a:lnTo>
                        <a:pt x="450" y="481"/>
                      </a:lnTo>
                      <a:lnTo>
                        <a:pt x="441" y="480"/>
                      </a:lnTo>
                      <a:lnTo>
                        <a:pt x="435" y="488"/>
                      </a:lnTo>
                      <a:lnTo>
                        <a:pt x="429" y="496"/>
                      </a:lnTo>
                      <a:lnTo>
                        <a:pt x="424" y="498"/>
                      </a:lnTo>
                      <a:lnTo>
                        <a:pt x="419" y="498"/>
                      </a:lnTo>
                      <a:lnTo>
                        <a:pt x="415" y="503"/>
                      </a:lnTo>
                      <a:lnTo>
                        <a:pt x="410" y="496"/>
                      </a:lnTo>
                      <a:lnTo>
                        <a:pt x="409" y="507"/>
                      </a:lnTo>
                      <a:lnTo>
                        <a:pt x="404" y="506"/>
                      </a:lnTo>
                      <a:lnTo>
                        <a:pt x="403" y="496"/>
                      </a:lnTo>
                      <a:lnTo>
                        <a:pt x="403" y="482"/>
                      </a:lnTo>
                      <a:lnTo>
                        <a:pt x="409" y="480"/>
                      </a:lnTo>
                      <a:lnTo>
                        <a:pt x="413" y="482"/>
                      </a:lnTo>
                      <a:lnTo>
                        <a:pt x="416" y="479"/>
                      </a:lnTo>
                      <a:lnTo>
                        <a:pt x="419" y="480"/>
                      </a:lnTo>
                      <a:lnTo>
                        <a:pt x="421" y="475"/>
                      </a:lnTo>
                      <a:lnTo>
                        <a:pt x="425" y="474"/>
                      </a:lnTo>
                      <a:lnTo>
                        <a:pt x="423" y="467"/>
                      </a:lnTo>
                      <a:lnTo>
                        <a:pt x="421" y="454"/>
                      </a:lnTo>
                      <a:lnTo>
                        <a:pt x="416" y="453"/>
                      </a:lnTo>
                      <a:lnTo>
                        <a:pt x="414" y="456"/>
                      </a:lnTo>
                      <a:lnTo>
                        <a:pt x="410" y="456"/>
                      </a:lnTo>
                      <a:lnTo>
                        <a:pt x="408" y="454"/>
                      </a:lnTo>
                      <a:lnTo>
                        <a:pt x="407" y="439"/>
                      </a:lnTo>
                      <a:lnTo>
                        <a:pt x="408" y="432"/>
                      </a:lnTo>
                      <a:lnTo>
                        <a:pt x="405" y="426"/>
                      </a:lnTo>
                      <a:lnTo>
                        <a:pt x="404" y="416"/>
                      </a:lnTo>
                      <a:lnTo>
                        <a:pt x="397" y="402"/>
                      </a:lnTo>
                      <a:lnTo>
                        <a:pt x="394" y="390"/>
                      </a:lnTo>
                      <a:lnTo>
                        <a:pt x="392" y="395"/>
                      </a:lnTo>
                      <a:lnTo>
                        <a:pt x="393" y="388"/>
                      </a:lnTo>
                      <a:lnTo>
                        <a:pt x="397" y="382"/>
                      </a:lnTo>
                      <a:lnTo>
                        <a:pt x="394" y="377"/>
                      </a:lnTo>
                      <a:lnTo>
                        <a:pt x="389" y="378"/>
                      </a:lnTo>
                      <a:lnTo>
                        <a:pt x="382" y="386"/>
                      </a:lnTo>
                      <a:lnTo>
                        <a:pt x="377" y="390"/>
                      </a:lnTo>
                      <a:lnTo>
                        <a:pt x="375" y="396"/>
                      </a:lnTo>
                      <a:lnTo>
                        <a:pt x="367" y="393"/>
                      </a:lnTo>
                      <a:lnTo>
                        <a:pt x="362" y="396"/>
                      </a:lnTo>
                      <a:lnTo>
                        <a:pt x="356" y="400"/>
                      </a:lnTo>
                      <a:lnTo>
                        <a:pt x="358" y="404"/>
                      </a:lnTo>
                      <a:lnTo>
                        <a:pt x="355" y="411"/>
                      </a:lnTo>
                      <a:lnTo>
                        <a:pt x="354" y="415"/>
                      </a:lnTo>
                      <a:lnTo>
                        <a:pt x="354" y="418"/>
                      </a:lnTo>
                      <a:lnTo>
                        <a:pt x="350" y="423"/>
                      </a:lnTo>
                      <a:lnTo>
                        <a:pt x="346" y="423"/>
                      </a:lnTo>
                      <a:lnTo>
                        <a:pt x="346" y="429"/>
                      </a:lnTo>
                      <a:lnTo>
                        <a:pt x="342" y="434"/>
                      </a:lnTo>
                      <a:lnTo>
                        <a:pt x="338" y="431"/>
                      </a:lnTo>
                      <a:lnTo>
                        <a:pt x="333" y="423"/>
                      </a:lnTo>
                      <a:lnTo>
                        <a:pt x="331" y="416"/>
                      </a:lnTo>
                      <a:lnTo>
                        <a:pt x="332" y="411"/>
                      </a:lnTo>
                      <a:lnTo>
                        <a:pt x="337" y="410"/>
                      </a:lnTo>
                      <a:lnTo>
                        <a:pt x="342" y="405"/>
                      </a:lnTo>
                      <a:lnTo>
                        <a:pt x="346" y="389"/>
                      </a:lnTo>
                      <a:lnTo>
                        <a:pt x="346" y="375"/>
                      </a:lnTo>
                      <a:lnTo>
                        <a:pt x="351" y="370"/>
                      </a:lnTo>
                      <a:lnTo>
                        <a:pt x="367" y="369"/>
                      </a:lnTo>
                      <a:lnTo>
                        <a:pt x="369" y="366"/>
                      </a:lnTo>
                      <a:lnTo>
                        <a:pt x="350" y="359"/>
                      </a:lnTo>
                      <a:lnTo>
                        <a:pt x="344" y="352"/>
                      </a:lnTo>
                      <a:lnTo>
                        <a:pt x="335" y="348"/>
                      </a:lnTo>
                      <a:lnTo>
                        <a:pt x="329" y="339"/>
                      </a:lnTo>
                      <a:lnTo>
                        <a:pt x="328" y="320"/>
                      </a:lnTo>
                      <a:lnTo>
                        <a:pt x="318" y="319"/>
                      </a:lnTo>
                      <a:lnTo>
                        <a:pt x="317" y="315"/>
                      </a:lnTo>
                      <a:lnTo>
                        <a:pt x="317" y="310"/>
                      </a:lnTo>
                      <a:lnTo>
                        <a:pt x="315" y="307"/>
                      </a:lnTo>
                      <a:lnTo>
                        <a:pt x="302" y="305"/>
                      </a:lnTo>
                      <a:lnTo>
                        <a:pt x="299" y="302"/>
                      </a:lnTo>
                      <a:lnTo>
                        <a:pt x="290" y="288"/>
                      </a:lnTo>
                      <a:lnTo>
                        <a:pt x="289" y="283"/>
                      </a:lnTo>
                      <a:lnTo>
                        <a:pt x="303" y="296"/>
                      </a:lnTo>
                      <a:lnTo>
                        <a:pt x="305" y="299"/>
                      </a:lnTo>
                      <a:lnTo>
                        <a:pt x="300" y="287"/>
                      </a:lnTo>
                      <a:lnTo>
                        <a:pt x="300" y="278"/>
                      </a:lnTo>
                      <a:lnTo>
                        <a:pt x="296" y="278"/>
                      </a:lnTo>
                      <a:lnTo>
                        <a:pt x="291" y="282"/>
                      </a:lnTo>
                      <a:lnTo>
                        <a:pt x="286" y="282"/>
                      </a:lnTo>
                      <a:lnTo>
                        <a:pt x="281" y="278"/>
                      </a:lnTo>
                      <a:lnTo>
                        <a:pt x="281" y="275"/>
                      </a:lnTo>
                      <a:lnTo>
                        <a:pt x="280" y="273"/>
                      </a:lnTo>
                      <a:lnTo>
                        <a:pt x="276" y="273"/>
                      </a:lnTo>
                      <a:lnTo>
                        <a:pt x="275" y="276"/>
                      </a:lnTo>
                      <a:lnTo>
                        <a:pt x="270" y="278"/>
                      </a:lnTo>
                      <a:lnTo>
                        <a:pt x="264" y="271"/>
                      </a:lnTo>
                      <a:lnTo>
                        <a:pt x="263" y="267"/>
                      </a:lnTo>
                      <a:lnTo>
                        <a:pt x="264" y="261"/>
                      </a:lnTo>
                      <a:lnTo>
                        <a:pt x="279" y="260"/>
                      </a:lnTo>
                      <a:lnTo>
                        <a:pt x="281" y="255"/>
                      </a:lnTo>
                      <a:lnTo>
                        <a:pt x="270" y="255"/>
                      </a:lnTo>
                      <a:lnTo>
                        <a:pt x="265" y="253"/>
                      </a:lnTo>
                      <a:lnTo>
                        <a:pt x="265" y="250"/>
                      </a:lnTo>
                      <a:lnTo>
                        <a:pt x="268" y="246"/>
                      </a:lnTo>
                      <a:lnTo>
                        <a:pt x="267" y="244"/>
                      </a:lnTo>
                      <a:lnTo>
                        <a:pt x="262" y="244"/>
                      </a:lnTo>
                      <a:lnTo>
                        <a:pt x="262" y="237"/>
                      </a:lnTo>
                      <a:lnTo>
                        <a:pt x="268" y="233"/>
                      </a:lnTo>
                      <a:lnTo>
                        <a:pt x="267" y="229"/>
                      </a:lnTo>
                      <a:lnTo>
                        <a:pt x="256" y="233"/>
                      </a:lnTo>
                      <a:lnTo>
                        <a:pt x="253" y="229"/>
                      </a:lnTo>
                      <a:lnTo>
                        <a:pt x="257" y="219"/>
                      </a:lnTo>
                      <a:lnTo>
                        <a:pt x="279" y="230"/>
                      </a:lnTo>
                      <a:lnTo>
                        <a:pt x="284" y="238"/>
                      </a:lnTo>
                      <a:lnTo>
                        <a:pt x="289" y="239"/>
                      </a:lnTo>
                      <a:lnTo>
                        <a:pt x="286" y="239"/>
                      </a:lnTo>
                      <a:lnTo>
                        <a:pt x="281" y="232"/>
                      </a:lnTo>
                      <a:lnTo>
                        <a:pt x="280" y="222"/>
                      </a:lnTo>
                      <a:lnTo>
                        <a:pt x="276" y="219"/>
                      </a:lnTo>
                      <a:lnTo>
                        <a:pt x="276" y="223"/>
                      </a:lnTo>
                      <a:lnTo>
                        <a:pt x="272" y="219"/>
                      </a:lnTo>
                      <a:lnTo>
                        <a:pt x="263" y="208"/>
                      </a:lnTo>
                      <a:lnTo>
                        <a:pt x="260" y="203"/>
                      </a:lnTo>
                      <a:lnTo>
                        <a:pt x="264" y="198"/>
                      </a:lnTo>
                      <a:lnTo>
                        <a:pt x="275" y="201"/>
                      </a:lnTo>
                      <a:lnTo>
                        <a:pt x="279" y="198"/>
                      </a:lnTo>
                      <a:lnTo>
                        <a:pt x="273" y="196"/>
                      </a:lnTo>
                      <a:lnTo>
                        <a:pt x="254" y="196"/>
                      </a:lnTo>
                      <a:lnTo>
                        <a:pt x="254" y="203"/>
                      </a:lnTo>
                      <a:lnTo>
                        <a:pt x="249" y="208"/>
                      </a:lnTo>
                      <a:lnTo>
                        <a:pt x="247" y="203"/>
                      </a:lnTo>
                      <a:lnTo>
                        <a:pt x="243" y="196"/>
                      </a:lnTo>
                      <a:lnTo>
                        <a:pt x="245" y="190"/>
                      </a:lnTo>
                      <a:lnTo>
                        <a:pt x="251" y="190"/>
                      </a:lnTo>
                      <a:lnTo>
                        <a:pt x="262" y="181"/>
                      </a:lnTo>
                      <a:lnTo>
                        <a:pt x="259" y="178"/>
                      </a:lnTo>
                      <a:lnTo>
                        <a:pt x="251" y="184"/>
                      </a:lnTo>
                      <a:lnTo>
                        <a:pt x="249" y="180"/>
                      </a:lnTo>
                      <a:lnTo>
                        <a:pt x="256" y="169"/>
                      </a:lnTo>
                      <a:lnTo>
                        <a:pt x="249" y="169"/>
                      </a:lnTo>
                      <a:lnTo>
                        <a:pt x="246" y="173"/>
                      </a:lnTo>
                      <a:lnTo>
                        <a:pt x="243" y="180"/>
                      </a:lnTo>
                      <a:lnTo>
                        <a:pt x="238" y="186"/>
                      </a:lnTo>
                      <a:lnTo>
                        <a:pt x="233" y="183"/>
                      </a:lnTo>
                      <a:lnTo>
                        <a:pt x="230" y="171"/>
                      </a:lnTo>
                      <a:lnTo>
                        <a:pt x="230" y="165"/>
                      </a:lnTo>
                      <a:lnTo>
                        <a:pt x="226" y="162"/>
                      </a:lnTo>
                      <a:lnTo>
                        <a:pt x="224" y="162"/>
                      </a:lnTo>
                      <a:lnTo>
                        <a:pt x="219" y="165"/>
                      </a:lnTo>
                      <a:lnTo>
                        <a:pt x="215" y="159"/>
                      </a:lnTo>
                      <a:lnTo>
                        <a:pt x="202" y="148"/>
                      </a:lnTo>
                      <a:lnTo>
                        <a:pt x="190" y="146"/>
                      </a:lnTo>
                      <a:lnTo>
                        <a:pt x="183" y="130"/>
                      </a:lnTo>
                      <a:lnTo>
                        <a:pt x="178" y="124"/>
                      </a:lnTo>
                      <a:lnTo>
                        <a:pt x="181" y="117"/>
                      </a:lnTo>
                      <a:lnTo>
                        <a:pt x="178" y="104"/>
                      </a:lnTo>
                      <a:lnTo>
                        <a:pt x="173" y="108"/>
                      </a:lnTo>
                      <a:lnTo>
                        <a:pt x="162" y="68"/>
                      </a:lnTo>
                      <a:lnTo>
                        <a:pt x="156" y="52"/>
                      </a:lnTo>
                      <a:lnTo>
                        <a:pt x="154" y="40"/>
                      </a:lnTo>
                      <a:lnTo>
                        <a:pt x="149" y="49"/>
                      </a:lnTo>
                      <a:lnTo>
                        <a:pt x="155" y="63"/>
                      </a:lnTo>
                      <a:lnTo>
                        <a:pt x="154" y="67"/>
                      </a:lnTo>
                      <a:lnTo>
                        <a:pt x="150" y="63"/>
                      </a:lnTo>
                      <a:lnTo>
                        <a:pt x="155" y="81"/>
                      </a:lnTo>
                      <a:lnTo>
                        <a:pt x="155" y="85"/>
                      </a:lnTo>
                      <a:lnTo>
                        <a:pt x="163" y="105"/>
                      </a:lnTo>
                      <a:lnTo>
                        <a:pt x="166" y="126"/>
                      </a:lnTo>
                      <a:lnTo>
                        <a:pt x="172" y="142"/>
                      </a:lnTo>
                      <a:lnTo>
                        <a:pt x="173" y="149"/>
                      </a:lnTo>
                      <a:lnTo>
                        <a:pt x="168" y="160"/>
                      </a:lnTo>
                      <a:lnTo>
                        <a:pt x="166" y="165"/>
                      </a:lnTo>
                      <a:lnTo>
                        <a:pt x="157" y="163"/>
                      </a:lnTo>
                      <a:lnTo>
                        <a:pt x="152" y="142"/>
                      </a:lnTo>
                      <a:lnTo>
                        <a:pt x="147" y="136"/>
                      </a:lnTo>
                      <a:lnTo>
                        <a:pt x="146" y="147"/>
                      </a:lnTo>
                      <a:lnTo>
                        <a:pt x="129" y="146"/>
                      </a:lnTo>
                      <a:lnTo>
                        <a:pt x="129" y="128"/>
                      </a:lnTo>
                      <a:lnTo>
                        <a:pt x="133" y="127"/>
                      </a:lnTo>
                      <a:lnTo>
                        <a:pt x="127" y="122"/>
                      </a:lnTo>
                      <a:lnTo>
                        <a:pt x="120" y="110"/>
                      </a:lnTo>
                      <a:lnTo>
                        <a:pt x="120" y="100"/>
                      </a:lnTo>
                      <a:lnTo>
                        <a:pt x="123" y="98"/>
                      </a:lnTo>
                      <a:lnTo>
                        <a:pt x="117" y="90"/>
                      </a:lnTo>
                      <a:lnTo>
                        <a:pt x="113" y="92"/>
                      </a:lnTo>
                      <a:lnTo>
                        <a:pt x="112" y="104"/>
                      </a:lnTo>
                      <a:lnTo>
                        <a:pt x="106" y="106"/>
                      </a:lnTo>
                      <a:lnTo>
                        <a:pt x="98" y="100"/>
                      </a:lnTo>
                      <a:lnTo>
                        <a:pt x="90" y="85"/>
                      </a:lnTo>
                      <a:lnTo>
                        <a:pt x="86" y="84"/>
                      </a:lnTo>
                      <a:lnTo>
                        <a:pt x="87" y="90"/>
                      </a:lnTo>
                      <a:lnTo>
                        <a:pt x="85" y="93"/>
                      </a:lnTo>
                      <a:lnTo>
                        <a:pt x="77" y="88"/>
                      </a:lnTo>
                      <a:lnTo>
                        <a:pt x="71" y="82"/>
                      </a:lnTo>
                      <a:lnTo>
                        <a:pt x="75" y="88"/>
                      </a:lnTo>
                      <a:lnTo>
                        <a:pt x="73" y="92"/>
                      </a:lnTo>
                      <a:lnTo>
                        <a:pt x="66" y="93"/>
                      </a:lnTo>
                      <a:lnTo>
                        <a:pt x="66" y="94"/>
                      </a:lnTo>
                      <a:lnTo>
                        <a:pt x="77" y="95"/>
                      </a:lnTo>
                      <a:lnTo>
                        <a:pt x="86" y="101"/>
                      </a:lnTo>
                      <a:lnTo>
                        <a:pt x="88" y="106"/>
                      </a:lnTo>
                      <a:lnTo>
                        <a:pt x="87" y="108"/>
                      </a:lnTo>
                      <a:lnTo>
                        <a:pt x="98" y="115"/>
                      </a:lnTo>
                      <a:lnTo>
                        <a:pt x="98" y="121"/>
                      </a:lnTo>
                      <a:lnTo>
                        <a:pt x="101" y="122"/>
                      </a:lnTo>
                      <a:lnTo>
                        <a:pt x="103" y="121"/>
                      </a:lnTo>
                      <a:lnTo>
                        <a:pt x="108" y="121"/>
                      </a:lnTo>
                      <a:lnTo>
                        <a:pt x="116" y="135"/>
                      </a:lnTo>
                      <a:lnTo>
                        <a:pt x="117" y="141"/>
                      </a:lnTo>
                      <a:lnTo>
                        <a:pt x="116" y="148"/>
                      </a:lnTo>
                      <a:lnTo>
                        <a:pt x="108" y="153"/>
                      </a:lnTo>
                      <a:lnTo>
                        <a:pt x="98" y="154"/>
                      </a:lnTo>
                      <a:lnTo>
                        <a:pt x="96" y="148"/>
                      </a:lnTo>
                      <a:lnTo>
                        <a:pt x="97" y="149"/>
                      </a:lnTo>
                      <a:lnTo>
                        <a:pt x="97" y="158"/>
                      </a:lnTo>
                      <a:lnTo>
                        <a:pt x="86" y="162"/>
                      </a:lnTo>
                      <a:lnTo>
                        <a:pt x="66" y="144"/>
                      </a:lnTo>
                      <a:lnTo>
                        <a:pt x="54" y="141"/>
                      </a:lnTo>
                      <a:lnTo>
                        <a:pt x="48" y="135"/>
                      </a:lnTo>
                      <a:lnTo>
                        <a:pt x="41" y="130"/>
                      </a:lnTo>
                      <a:lnTo>
                        <a:pt x="33" y="127"/>
                      </a:lnTo>
                      <a:lnTo>
                        <a:pt x="38" y="115"/>
                      </a:lnTo>
                      <a:lnTo>
                        <a:pt x="33" y="114"/>
                      </a:lnTo>
                      <a:lnTo>
                        <a:pt x="27" y="116"/>
                      </a:lnTo>
                      <a:lnTo>
                        <a:pt x="17" y="105"/>
                      </a:lnTo>
                      <a:lnTo>
                        <a:pt x="1" y="82"/>
                      </a:lnTo>
                      <a:lnTo>
                        <a:pt x="0" y="73"/>
                      </a:lnTo>
                      <a:lnTo>
                        <a:pt x="3" y="66"/>
                      </a:lnTo>
                      <a:lnTo>
                        <a:pt x="5" y="47"/>
                      </a:lnTo>
                      <a:lnTo>
                        <a:pt x="10" y="4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16" name="Group 277"/>
              <p:cNvGrpSpPr>
                <a:grpSpLocks noChangeAspect="1"/>
              </p:cNvGrpSpPr>
              <p:nvPr/>
            </p:nvGrpSpPr>
            <p:grpSpPr bwMode="gray">
              <a:xfrm>
                <a:off x="1149" y="1865"/>
                <a:ext cx="635" cy="339"/>
                <a:chOff x="1149" y="1865"/>
                <a:chExt cx="635" cy="339"/>
              </a:xfrm>
              <a:grpFill/>
            </p:grpSpPr>
            <p:sp>
              <p:nvSpPr>
                <p:cNvPr id="217" name="USA"/>
                <p:cNvSpPr>
                  <a:spLocks noChangeAspect="1"/>
                </p:cNvSpPr>
                <p:nvPr>
                  <p:custDataLst>
                    <p:tags r:id="rId203"/>
                  </p:custDataLst>
                </p:nvPr>
              </p:nvSpPr>
              <p:spPr bwMode="gray">
                <a:xfrm>
                  <a:off x="1782" y="1939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2" y="3"/>
                    </a:cxn>
                    <a:cxn ang="0">
                      <a:pos x="1" y="10"/>
                    </a:cxn>
                    <a:cxn ang="0">
                      <a:pos x="0" y="15"/>
                    </a:cxn>
                    <a:cxn ang="0">
                      <a:pos x="5" y="10"/>
                    </a:cxn>
                    <a:cxn ang="0">
                      <a:pos x="8" y="10"/>
                    </a:cxn>
                    <a:cxn ang="0">
                      <a:pos x="8" y="6"/>
                    </a:cxn>
                    <a:cxn ang="0">
                      <a:pos x="10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10" h="15">
                      <a:moveTo>
                        <a:pt x="5" y="0"/>
                      </a:moveTo>
                      <a:lnTo>
                        <a:pt x="2" y="3"/>
                      </a:lnTo>
                      <a:lnTo>
                        <a:pt x="1" y="10"/>
                      </a:lnTo>
                      <a:lnTo>
                        <a:pt x="0" y="15"/>
                      </a:lnTo>
                      <a:lnTo>
                        <a:pt x="5" y="10"/>
                      </a:lnTo>
                      <a:lnTo>
                        <a:pt x="8" y="10"/>
                      </a:lnTo>
                      <a:lnTo>
                        <a:pt x="8" y="6"/>
                      </a:lnTo>
                      <a:lnTo>
                        <a:pt x="10" y="1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18" name="USA"/>
                <p:cNvSpPr>
                  <a:spLocks noChangeAspect="1"/>
                </p:cNvSpPr>
                <p:nvPr>
                  <p:custDataLst>
                    <p:tags r:id="rId204"/>
                  </p:custDataLst>
                </p:nvPr>
              </p:nvSpPr>
              <p:spPr bwMode="gray">
                <a:xfrm>
                  <a:off x="1782" y="1939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2" y="3"/>
                    </a:cxn>
                    <a:cxn ang="0">
                      <a:pos x="1" y="10"/>
                    </a:cxn>
                    <a:cxn ang="0">
                      <a:pos x="0" y="15"/>
                    </a:cxn>
                    <a:cxn ang="0">
                      <a:pos x="5" y="10"/>
                    </a:cxn>
                    <a:cxn ang="0">
                      <a:pos x="8" y="10"/>
                    </a:cxn>
                    <a:cxn ang="0">
                      <a:pos x="8" y="6"/>
                    </a:cxn>
                    <a:cxn ang="0">
                      <a:pos x="10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10" h="15">
                      <a:moveTo>
                        <a:pt x="5" y="0"/>
                      </a:moveTo>
                      <a:lnTo>
                        <a:pt x="2" y="3"/>
                      </a:lnTo>
                      <a:lnTo>
                        <a:pt x="1" y="10"/>
                      </a:lnTo>
                      <a:lnTo>
                        <a:pt x="0" y="15"/>
                      </a:lnTo>
                      <a:lnTo>
                        <a:pt x="5" y="10"/>
                      </a:lnTo>
                      <a:lnTo>
                        <a:pt x="8" y="10"/>
                      </a:lnTo>
                      <a:lnTo>
                        <a:pt x="8" y="6"/>
                      </a:lnTo>
                      <a:lnTo>
                        <a:pt x="10" y="1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19" name="USA"/>
                <p:cNvSpPr>
                  <a:spLocks noChangeAspect="1"/>
                </p:cNvSpPr>
                <p:nvPr>
                  <p:custDataLst>
                    <p:tags r:id="rId205"/>
                  </p:custDataLst>
                </p:nvPr>
              </p:nvSpPr>
              <p:spPr bwMode="gray">
                <a:xfrm>
                  <a:off x="1671" y="2027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3"/>
                    </a:cxn>
                    <a:cxn ang="0">
                      <a:pos x="0" y="0"/>
                    </a:cxn>
                    <a:cxn ang="0">
                      <a:pos x="0" y="3"/>
                    </a:cxn>
                  </a:cxnLst>
                  <a:rect l="0" t="0" r="r" b="b"/>
                  <a:pathLst>
                    <a:path h="3">
                      <a:moveTo>
                        <a:pt x="0" y="3"/>
                      </a:moveTo>
                      <a:lnTo>
                        <a:pt x="0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0" name="USA"/>
                <p:cNvSpPr>
                  <a:spLocks noChangeAspect="1"/>
                </p:cNvSpPr>
                <p:nvPr>
                  <p:custDataLst>
                    <p:tags r:id="rId206"/>
                  </p:custDataLst>
                </p:nvPr>
              </p:nvSpPr>
              <p:spPr bwMode="gray">
                <a:xfrm>
                  <a:off x="1670" y="2025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3" y="2"/>
                    </a:cxn>
                    <a:cxn ang="0">
                      <a:pos x="0" y="0"/>
                    </a:cxn>
                    <a:cxn ang="0">
                      <a:pos x="3" y="2"/>
                    </a:cxn>
                    <a:cxn ang="0">
                      <a:pos x="5" y="6"/>
                    </a:cxn>
                    <a:cxn ang="0">
                      <a:pos x="3" y="2"/>
                    </a:cxn>
                  </a:cxnLst>
                  <a:rect l="0" t="0" r="r" b="b"/>
                  <a:pathLst>
                    <a:path w="5" h="6">
                      <a:moveTo>
                        <a:pt x="3" y="2"/>
                      </a:moveTo>
                      <a:lnTo>
                        <a:pt x="0" y="0"/>
                      </a:lnTo>
                      <a:lnTo>
                        <a:pt x="3" y="2"/>
                      </a:lnTo>
                      <a:lnTo>
                        <a:pt x="5" y="6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1" name="USA"/>
                <p:cNvSpPr>
                  <a:spLocks noChangeAspect="1"/>
                </p:cNvSpPr>
                <p:nvPr>
                  <p:custDataLst>
                    <p:tags r:id="rId207"/>
                  </p:custDataLst>
                </p:nvPr>
              </p:nvSpPr>
              <p:spPr bwMode="gray">
                <a:xfrm>
                  <a:off x="1149" y="1865"/>
                  <a:ext cx="633" cy="339"/>
                </a:xfrm>
                <a:custGeom>
                  <a:avLst/>
                  <a:gdLst/>
                  <a:ahLst/>
                  <a:cxnLst>
                    <a:cxn ang="0">
                      <a:pos x="3079" y="181"/>
                    </a:cxn>
                    <a:cxn ang="0">
                      <a:pos x="2964" y="328"/>
                    </a:cxn>
                    <a:cxn ang="0">
                      <a:pos x="2682" y="394"/>
                    </a:cxn>
                    <a:cxn ang="0">
                      <a:pos x="2593" y="483"/>
                    </a:cxn>
                    <a:cxn ang="0">
                      <a:pos x="2432" y="575"/>
                    </a:cxn>
                    <a:cxn ang="0">
                      <a:pos x="2290" y="541"/>
                    </a:cxn>
                    <a:cxn ang="0">
                      <a:pos x="2235" y="456"/>
                    </a:cxn>
                    <a:cxn ang="0">
                      <a:pos x="2211" y="306"/>
                    </a:cxn>
                    <a:cxn ang="0">
                      <a:pos x="2135" y="345"/>
                    </a:cxn>
                    <a:cxn ang="0">
                      <a:pos x="2081" y="588"/>
                    </a:cxn>
                    <a:cxn ang="0">
                      <a:pos x="2036" y="404"/>
                    </a:cxn>
                    <a:cxn ang="0">
                      <a:pos x="2077" y="294"/>
                    </a:cxn>
                    <a:cxn ang="0">
                      <a:pos x="2231" y="279"/>
                    </a:cxn>
                    <a:cxn ang="0">
                      <a:pos x="2111" y="222"/>
                    </a:cxn>
                    <a:cxn ang="0">
                      <a:pos x="2021" y="160"/>
                    </a:cxn>
                    <a:cxn ang="0">
                      <a:pos x="1811" y="226"/>
                    </a:cxn>
                    <a:cxn ang="0">
                      <a:pos x="1785" y="86"/>
                    </a:cxn>
                    <a:cxn ang="0">
                      <a:pos x="1640" y="33"/>
                    </a:cxn>
                    <a:cxn ang="0">
                      <a:pos x="888" y="36"/>
                    </a:cxn>
                    <a:cxn ang="0">
                      <a:pos x="133" y="58"/>
                    </a:cxn>
                    <a:cxn ang="0">
                      <a:pos x="101" y="150"/>
                    </a:cxn>
                    <a:cxn ang="0">
                      <a:pos x="4" y="86"/>
                    </a:cxn>
                    <a:cxn ang="0">
                      <a:pos x="46" y="225"/>
                    </a:cxn>
                    <a:cxn ang="0">
                      <a:pos x="47" y="295"/>
                    </a:cxn>
                    <a:cxn ang="0">
                      <a:pos x="27" y="576"/>
                    </a:cxn>
                    <a:cxn ang="0">
                      <a:pos x="98" y="850"/>
                    </a:cxn>
                    <a:cxn ang="0">
                      <a:pos x="130" y="886"/>
                    </a:cxn>
                    <a:cxn ang="0">
                      <a:pos x="223" y="1056"/>
                    </a:cxn>
                    <a:cxn ang="0">
                      <a:pos x="336" y="1131"/>
                    </a:cxn>
                    <a:cxn ang="0">
                      <a:pos x="989" y="1276"/>
                    </a:cxn>
                    <a:cxn ang="0">
                      <a:pos x="1294" y="1430"/>
                    </a:cxn>
                    <a:cxn ang="0">
                      <a:pos x="1501" y="1624"/>
                    </a:cxn>
                    <a:cxn ang="0">
                      <a:pos x="1515" y="1515"/>
                    </a:cxn>
                    <a:cxn ang="0">
                      <a:pos x="1564" y="1480"/>
                    </a:cxn>
                    <a:cxn ang="0">
                      <a:pos x="1629" y="1410"/>
                    </a:cxn>
                    <a:cxn ang="0">
                      <a:pos x="1784" y="1405"/>
                    </a:cxn>
                    <a:cxn ang="0">
                      <a:pos x="1912" y="1435"/>
                    </a:cxn>
                    <a:cxn ang="0">
                      <a:pos x="1905" y="1382"/>
                    </a:cxn>
                    <a:cxn ang="0">
                      <a:pos x="2012" y="1367"/>
                    </a:cxn>
                    <a:cxn ang="0">
                      <a:pos x="2117" y="1377"/>
                    </a:cxn>
                    <a:cxn ang="0">
                      <a:pos x="2264" y="1424"/>
                    </a:cxn>
                    <a:cxn ang="0">
                      <a:pos x="2323" y="1587"/>
                    </a:cxn>
                    <a:cxn ang="0">
                      <a:pos x="2409" y="1690"/>
                    </a:cxn>
                    <a:cxn ang="0">
                      <a:pos x="2365" y="1348"/>
                    </a:cxn>
                    <a:cxn ang="0">
                      <a:pos x="2446" y="1228"/>
                    </a:cxn>
                    <a:cxn ang="0">
                      <a:pos x="2579" y="1118"/>
                    </a:cxn>
                    <a:cxn ang="0">
                      <a:pos x="2645" y="1037"/>
                    </a:cxn>
                    <a:cxn ang="0">
                      <a:pos x="2634" y="986"/>
                    </a:cxn>
                    <a:cxn ang="0">
                      <a:pos x="2655" y="940"/>
                    </a:cxn>
                    <a:cxn ang="0">
                      <a:pos x="2654" y="871"/>
                    </a:cxn>
                    <a:cxn ang="0">
                      <a:pos x="2651" y="857"/>
                    </a:cxn>
                    <a:cxn ang="0">
                      <a:pos x="2661" y="778"/>
                    </a:cxn>
                    <a:cxn ang="0">
                      <a:pos x="2683" y="867"/>
                    </a:cxn>
                    <a:cxn ang="0">
                      <a:pos x="2708" y="796"/>
                    </a:cxn>
                    <a:cxn ang="0">
                      <a:pos x="2774" y="727"/>
                    </a:cxn>
                    <a:cxn ang="0">
                      <a:pos x="2843" y="631"/>
                    </a:cxn>
                    <a:cxn ang="0">
                      <a:pos x="3004" y="602"/>
                    </a:cxn>
                    <a:cxn ang="0">
                      <a:pos x="2957" y="538"/>
                    </a:cxn>
                    <a:cxn ang="0">
                      <a:pos x="3032" y="440"/>
                    </a:cxn>
                    <a:cxn ang="0">
                      <a:pos x="3107" y="399"/>
                    </a:cxn>
                  </a:cxnLst>
                  <a:rect l="0" t="0" r="r" b="b"/>
                  <a:pathLst>
                    <a:path w="3166" h="1693">
                      <a:moveTo>
                        <a:pt x="3165" y="365"/>
                      </a:moveTo>
                      <a:lnTo>
                        <a:pt x="3158" y="364"/>
                      </a:lnTo>
                      <a:lnTo>
                        <a:pt x="3160" y="361"/>
                      </a:lnTo>
                      <a:lnTo>
                        <a:pt x="3162" y="355"/>
                      </a:lnTo>
                      <a:lnTo>
                        <a:pt x="3162" y="344"/>
                      </a:lnTo>
                      <a:lnTo>
                        <a:pt x="3161" y="339"/>
                      </a:lnTo>
                      <a:lnTo>
                        <a:pt x="3160" y="343"/>
                      </a:lnTo>
                      <a:lnTo>
                        <a:pt x="3155" y="343"/>
                      </a:lnTo>
                      <a:lnTo>
                        <a:pt x="3146" y="342"/>
                      </a:lnTo>
                      <a:lnTo>
                        <a:pt x="3138" y="335"/>
                      </a:lnTo>
                      <a:lnTo>
                        <a:pt x="3135" y="330"/>
                      </a:lnTo>
                      <a:lnTo>
                        <a:pt x="3134" y="326"/>
                      </a:lnTo>
                      <a:lnTo>
                        <a:pt x="3134" y="310"/>
                      </a:lnTo>
                      <a:lnTo>
                        <a:pt x="3119" y="302"/>
                      </a:lnTo>
                      <a:lnTo>
                        <a:pt x="3119" y="246"/>
                      </a:lnTo>
                      <a:lnTo>
                        <a:pt x="3119" y="195"/>
                      </a:lnTo>
                      <a:lnTo>
                        <a:pt x="3093" y="170"/>
                      </a:lnTo>
                      <a:lnTo>
                        <a:pt x="3086" y="170"/>
                      </a:lnTo>
                      <a:lnTo>
                        <a:pt x="3079" y="181"/>
                      </a:lnTo>
                      <a:lnTo>
                        <a:pt x="3061" y="184"/>
                      </a:lnTo>
                      <a:lnTo>
                        <a:pt x="3049" y="179"/>
                      </a:lnTo>
                      <a:lnTo>
                        <a:pt x="3047" y="176"/>
                      </a:lnTo>
                      <a:lnTo>
                        <a:pt x="3044" y="170"/>
                      </a:lnTo>
                      <a:lnTo>
                        <a:pt x="3037" y="163"/>
                      </a:lnTo>
                      <a:lnTo>
                        <a:pt x="3031" y="162"/>
                      </a:lnTo>
                      <a:lnTo>
                        <a:pt x="3025" y="166"/>
                      </a:lnTo>
                      <a:lnTo>
                        <a:pt x="2998" y="211"/>
                      </a:lnTo>
                      <a:lnTo>
                        <a:pt x="2994" y="235"/>
                      </a:lnTo>
                      <a:lnTo>
                        <a:pt x="2988" y="247"/>
                      </a:lnTo>
                      <a:lnTo>
                        <a:pt x="2987" y="253"/>
                      </a:lnTo>
                      <a:lnTo>
                        <a:pt x="2982" y="262"/>
                      </a:lnTo>
                      <a:lnTo>
                        <a:pt x="2979" y="269"/>
                      </a:lnTo>
                      <a:lnTo>
                        <a:pt x="2975" y="305"/>
                      </a:lnTo>
                      <a:lnTo>
                        <a:pt x="2974" y="307"/>
                      </a:lnTo>
                      <a:lnTo>
                        <a:pt x="2967" y="312"/>
                      </a:lnTo>
                      <a:lnTo>
                        <a:pt x="2964" y="317"/>
                      </a:lnTo>
                      <a:lnTo>
                        <a:pt x="2963" y="322"/>
                      </a:lnTo>
                      <a:lnTo>
                        <a:pt x="2964" y="328"/>
                      </a:lnTo>
                      <a:lnTo>
                        <a:pt x="2964" y="330"/>
                      </a:lnTo>
                      <a:lnTo>
                        <a:pt x="2957" y="327"/>
                      </a:lnTo>
                      <a:lnTo>
                        <a:pt x="2956" y="328"/>
                      </a:lnTo>
                      <a:lnTo>
                        <a:pt x="2956" y="334"/>
                      </a:lnTo>
                      <a:lnTo>
                        <a:pt x="2945" y="330"/>
                      </a:lnTo>
                      <a:lnTo>
                        <a:pt x="2936" y="333"/>
                      </a:lnTo>
                      <a:lnTo>
                        <a:pt x="2934" y="335"/>
                      </a:lnTo>
                      <a:lnTo>
                        <a:pt x="2921" y="337"/>
                      </a:lnTo>
                      <a:lnTo>
                        <a:pt x="2918" y="340"/>
                      </a:lnTo>
                      <a:lnTo>
                        <a:pt x="2912" y="356"/>
                      </a:lnTo>
                      <a:lnTo>
                        <a:pt x="2910" y="356"/>
                      </a:lnTo>
                      <a:lnTo>
                        <a:pt x="2812" y="356"/>
                      </a:lnTo>
                      <a:lnTo>
                        <a:pt x="2737" y="356"/>
                      </a:lnTo>
                      <a:lnTo>
                        <a:pt x="2722" y="356"/>
                      </a:lnTo>
                      <a:lnTo>
                        <a:pt x="2706" y="371"/>
                      </a:lnTo>
                      <a:lnTo>
                        <a:pt x="2687" y="382"/>
                      </a:lnTo>
                      <a:lnTo>
                        <a:pt x="2684" y="387"/>
                      </a:lnTo>
                      <a:lnTo>
                        <a:pt x="2683" y="388"/>
                      </a:lnTo>
                      <a:lnTo>
                        <a:pt x="2682" y="394"/>
                      </a:lnTo>
                      <a:lnTo>
                        <a:pt x="2676" y="404"/>
                      </a:lnTo>
                      <a:lnTo>
                        <a:pt x="2655" y="418"/>
                      </a:lnTo>
                      <a:lnTo>
                        <a:pt x="2651" y="423"/>
                      </a:lnTo>
                      <a:lnTo>
                        <a:pt x="2652" y="428"/>
                      </a:lnTo>
                      <a:lnTo>
                        <a:pt x="2660" y="428"/>
                      </a:lnTo>
                      <a:lnTo>
                        <a:pt x="2663" y="431"/>
                      </a:lnTo>
                      <a:lnTo>
                        <a:pt x="2662" y="436"/>
                      </a:lnTo>
                      <a:lnTo>
                        <a:pt x="2659" y="439"/>
                      </a:lnTo>
                      <a:lnTo>
                        <a:pt x="2655" y="437"/>
                      </a:lnTo>
                      <a:lnTo>
                        <a:pt x="2654" y="440"/>
                      </a:lnTo>
                      <a:lnTo>
                        <a:pt x="2655" y="442"/>
                      </a:lnTo>
                      <a:lnTo>
                        <a:pt x="2660" y="448"/>
                      </a:lnTo>
                      <a:lnTo>
                        <a:pt x="2661" y="458"/>
                      </a:lnTo>
                      <a:lnTo>
                        <a:pt x="2660" y="466"/>
                      </a:lnTo>
                      <a:lnTo>
                        <a:pt x="2643" y="468"/>
                      </a:lnTo>
                      <a:lnTo>
                        <a:pt x="2627" y="480"/>
                      </a:lnTo>
                      <a:lnTo>
                        <a:pt x="2617" y="484"/>
                      </a:lnTo>
                      <a:lnTo>
                        <a:pt x="2597" y="484"/>
                      </a:lnTo>
                      <a:lnTo>
                        <a:pt x="2593" y="483"/>
                      </a:lnTo>
                      <a:lnTo>
                        <a:pt x="2582" y="486"/>
                      </a:lnTo>
                      <a:lnTo>
                        <a:pt x="2575" y="480"/>
                      </a:lnTo>
                      <a:lnTo>
                        <a:pt x="2560" y="477"/>
                      </a:lnTo>
                      <a:lnTo>
                        <a:pt x="2553" y="477"/>
                      </a:lnTo>
                      <a:lnTo>
                        <a:pt x="2532" y="479"/>
                      </a:lnTo>
                      <a:lnTo>
                        <a:pt x="2511" y="484"/>
                      </a:lnTo>
                      <a:lnTo>
                        <a:pt x="2501" y="489"/>
                      </a:lnTo>
                      <a:lnTo>
                        <a:pt x="2504" y="499"/>
                      </a:lnTo>
                      <a:lnTo>
                        <a:pt x="2509" y="506"/>
                      </a:lnTo>
                      <a:lnTo>
                        <a:pt x="2511" y="518"/>
                      </a:lnTo>
                      <a:lnTo>
                        <a:pt x="2499" y="531"/>
                      </a:lnTo>
                      <a:lnTo>
                        <a:pt x="2495" y="536"/>
                      </a:lnTo>
                      <a:lnTo>
                        <a:pt x="2491" y="538"/>
                      </a:lnTo>
                      <a:lnTo>
                        <a:pt x="2488" y="539"/>
                      </a:lnTo>
                      <a:lnTo>
                        <a:pt x="2478" y="549"/>
                      </a:lnTo>
                      <a:lnTo>
                        <a:pt x="2461" y="560"/>
                      </a:lnTo>
                      <a:lnTo>
                        <a:pt x="2452" y="566"/>
                      </a:lnTo>
                      <a:lnTo>
                        <a:pt x="2441" y="568"/>
                      </a:lnTo>
                      <a:lnTo>
                        <a:pt x="2432" y="575"/>
                      </a:lnTo>
                      <a:lnTo>
                        <a:pt x="2419" y="582"/>
                      </a:lnTo>
                      <a:lnTo>
                        <a:pt x="2404" y="585"/>
                      </a:lnTo>
                      <a:lnTo>
                        <a:pt x="2386" y="593"/>
                      </a:lnTo>
                      <a:lnTo>
                        <a:pt x="2350" y="614"/>
                      </a:lnTo>
                      <a:lnTo>
                        <a:pt x="2334" y="614"/>
                      </a:lnTo>
                      <a:lnTo>
                        <a:pt x="2316" y="620"/>
                      </a:lnTo>
                      <a:lnTo>
                        <a:pt x="2296" y="618"/>
                      </a:lnTo>
                      <a:lnTo>
                        <a:pt x="2294" y="614"/>
                      </a:lnTo>
                      <a:lnTo>
                        <a:pt x="2286" y="614"/>
                      </a:lnTo>
                      <a:lnTo>
                        <a:pt x="2281" y="613"/>
                      </a:lnTo>
                      <a:lnTo>
                        <a:pt x="2274" y="607"/>
                      </a:lnTo>
                      <a:lnTo>
                        <a:pt x="2259" y="602"/>
                      </a:lnTo>
                      <a:lnTo>
                        <a:pt x="2264" y="595"/>
                      </a:lnTo>
                      <a:lnTo>
                        <a:pt x="2278" y="581"/>
                      </a:lnTo>
                      <a:lnTo>
                        <a:pt x="2278" y="570"/>
                      </a:lnTo>
                      <a:lnTo>
                        <a:pt x="2283" y="558"/>
                      </a:lnTo>
                      <a:lnTo>
                        <a:pt x="2289" y="553"/>
                      </a:lnTo>
                      <a:lnTo>
                        <a:pt x="2289" y="545"/>
                      </a:lnTo>
                      <a:lnTo>
                        <a:pt x="2290" y="541"/>
                      </a:lnTo>
                      <a:lnTo>
                        <a:pt x="2296" y="534"/>
                      </a:lnTo>
                      <a:lnTo>
                        <a:pt x="2308" y="534"/>
                      </a:lnTo>
                      <a:lnTo>
                        <a:pt x="2308" y="534"/>
                      </a:lnTo>
                      <a:lnTo>
                        <a:pt x="2316" y="507"/>
                      </a:lnTo>
                      <a:lnTo>
                        <a:pt x="2316" y="500"/>
                      </a:lnTo>
                      <a:lnTo>
                        <a:pt x="2315" y="502"/>
                      </a:lnTo>
                      <a:lnTo>
                        <a:pt x="2312" y="496"/>
                      </a:lnTo>
                      <a:lnTo>
                        <a:pt x="2308" y="489"/>
                      </a:lnTo>
                      <a:lnTo>
                        <a:pt x="2306" y="467"/>
                      </a:lnTo>
                      <a:lnTo>
                        <a:pt x="2305" y="456"/>
                      </a:lnTo>
                      <a:lnTo>
                        <a:pt x="2301" y="445"/>
                      </a:lnTo>
                      <a:lnTo>
                        <a:pt x="2289" y="425"/>
                      </a:lnTo>
                      <a:lnTo>
                        <a:pt x="2280" y="426"/>
                      </a:lnTo>
                      <a:lnTo>
                        <a:pt x="2263" y="434"/>
                      </a:lnTo>
                      <a:lnTo>
                        <a:pt x="2262" y="435"/>
                      </a:lnTo>
                      <a:lnTo>
                        <a:pt x="2256" y="451"/>
                      </a:lnTo>
                      <a:lnTo>
                        <a:pt x="2248" y="456"/>
                      </a:lnTo>
                      <a:lnTo>
                        <a:pt x="2242" y="458"/>
                      </a:lnTo>
                      <a:lnTo>
                        <a:pt x="2235" y="456"/>
                      </a:lnTo>
                      <a:lnTo>
                        <a:pt x="2232" y="451"/>
                      </a:lnTo>
                      <a:lnTo>
                        <a:pt x="2235" y="442"/>
                      </a:lnTo>
                      <a:lnTo>
                        <a:pt x="2240" y="432"/>
                      </a:lnTo>
                      <a:lnTo>
                        <a:pt x="2254" y="421"/>
                      </a:lnTo>
                      <a:lnTo>
                        <a:pt x="2258" y="412"/>
                      </a:lnTo>
                      <a:lnTo>
                        <a:pt x="2264" y="404"/>
                      </a:lnTo>
                      <a:lnTo>
                        <a:pt x="2267" y="398"/>
                      </a:lnTo>
                      <a:lnTo>
                        <a:pt x="2267" y="388"/>
                      </a:lnTo>
                      <a:lnTo>
                        <a:pt x="2263" y="367"/>
                      </a:lnTo>
                      <a:lnTo>
                        <a:pt x="2259" y="360"/>
                      </a:lnTo>
                      <a:lnTo>
                        <a:pt x="2259" y="353"/>
                      </a:lnTo>
                      <a:lnTo>
                        <a:pt x="2262" y="349"/>
                      </a:lnTo>
                      <a:lnTo>
                        <a:pt x="2263" y="348"/>
                      </a:lnTo>
                      <a:lnTo>
                        <a:pt x="2257" y="334"/>
                      </a:lnTo>
                      <a:lnTo>
                        <a:pt x="2251" y="328"/>
                      </a:lnTo>
                      <a:lnTo>
                        <a:pt x="2235" y="323"/>
                      </a:lnTo>
                      <a:lnTo>
                        <a:pt x="2229" y="318"/>
                      </a:lnTo>
                      <a:lnTo>
                        <a:pt x="2225" y="316"/>
                      </a:lnTo>
                      <a:lnTo>
                        <a:pt x="2211" y="306"/>
                      </a:lnTo>
                      <a:lnTo>
                        <a:pt x="2206" y="303"/>
                      </a:lnTo>
                      <a:lnTo>
                        <a:pt x="2199" y="305"/>
                      </a:lnTo>
                      <a:lnTo>
                        <a:pt x="2198" y="302"/>
                      </a:lnTo>
                      <a:lnTo>
                        <a:pt x="2186" y="299"/>
                      </a:lnTo>
                      <a:lnTo>
                        <a:pt x="2175" y="300"/>
                      </a:lnTo>
                      <a:lnTo>
                        <a:pt x="2170" y="307"/>
                      </a:lnTo>
                      <a:lnTo>
                        <a:pt x="2170" y="312"/>
                      </a:lnTo>
                      <a:lnTo>
                        <a:pt x="2171" y="318"/>
                      </a:lnTo>
                      <a:lnTo>
                        <a:pt x="2176" y="324"/>
                      </a:lnTo>
                      <a:lnTo>
                        <a:pt x="2173" y="327"/>
                      </a:lnTo>
                      <a:lnTo>
                        <a:pt x="2160" y="333"/>
                      </a:lnTo>
                      <a:lnTo>
                        <a:pt x="2151" y="334"/>
                      </a:lnTo>
                      <a:lnTo>
                        <a:pt x="2150" y="349"/>
                      </a:lnTo>
                      <a:lnTo>
                        <a:pt x="2149" y="360"/>
                      </a:lnTo>
                      <a:lnTo>
                        <a:pt x="2144" y="361"/>
                      </a:lnTo>
                      <a:lnTo>
                        <a:pt x="2140" y="367"/>
                      </a:lnTo>
                      <a:lnTo>
                        <a:pt x="2139" y="364"/>
                      </a:lnTo>
                      <a:lnTo>
                        <a:pt x="2138" y="351"/>
                      </a:lnTo>
                      <a:lnTo>
                        <a:pt x="2135" y="345"/>
                      </a:lnTo>
                      <a:lnTo>
                        <a:pt x="2130" y="349"/>
                      </a:lnTo>
                      <a:lnTo>
                        <a:pt x="2125" y="355"/>
                      </a:lnTo>
                      <a:lnTo>
                        <a:pt x="2112" y="362"/>
                      </a:lnTo>
                      <a:lnTo>
                        <a:pt x="2109" y="372"/>
                      </a:lnTo>
                      <a:lnTo>
                        <a:pt x="2104" y="378"/>
                      </a:lnTo>
                      <a:lnTo>
                        <a:pt x="2104" y="389"/>
                      </a:lnTo>
                      <a:lnTo>
                        <a:pt x="2103" y="396"/>
                      </a:lnTo>
                      <a:lnTo>
                        <a:pt x="2102" y="408"/>
                      </a:lnTo>
                      <a:lnTo>
                        <a:pt x="2103" y="412"/>
                      </a:lnTo>
                      <a:lnTo>
                        <a:pt x="2097" y="416"/>
                      </a:lnTo>
                      <a:lnTo>
                        <a:pt x="2095" y="435"/>
                      </a:lnTo>
                      <a:lnTo>
                        <a:pt x="2090" y="457"/>
                      </a:lnTo>
                      <a:lnTo>
                        <a:pt x="2097" y="480"/>
                      </a:lnTo>
                      <a:lnTo>
                        <a:pt x="2103" y="490"/>
                      </a:lnTo>
                      <a:lnTo>
                        <a:pt x="2106" y="499"/>
                      </a:lnTo>
                      <a:lnTo>
                        <a:pt x="2104" y="533"/>
                      </a:lnTo>
                      <a:lnTo>
                        <a:pt x="2095" y="559"/>
                      </a:lnTo>
                      <a:lnTo>
                        <a:pt x="2084" y="580"/>
                      </a:lnTo>
                      <a:lnTo>
                        <a:pt x="2081" y="588"/>
                      </a:lnTo>
                      <a:lnTo>
                        <a:pt x="2068" y="597"/>
                      </a:lnTo>
                      <a:lnTo>
                        <a:pt x="2054" y="606"/>
                      </a:lnTo>
                      <a:lnTo>
                        <a:pt x="2046" y="606"/>
                      </a:lnTo>
                      <a:lnTo>
                        <a:pt x="2039" y="602"/>
                      </a:lnTo>
                      <a:lnTo>
                        <a:pt x="2034" y="601"/>
                      </a:lnTo>
                      <a:lnTo>
                        <a:pt x="2032" y="595"/>
                      </a:lnTo>
                      <a:lnTo>
                        <a:pt x="2028" y="582"/>
                      </a:lnTo>
                      <a:lnTo>
                        <a:pt x="2020" y="560"/>
                      </a:lnTo>
                      <a:lnTo>
                        <a:pt x="2020" y="545"/>
                      </a:lnTo>
                      <a:lnTo>
                        <a:pt x="2020" y="533"/>
                      </a:lnTo>
                      <a:lnTo>
                        <a:pt x="2020" y="525"/>
                      </a:lnTo>
                      <a:lnTo>
                        <a:pt x="2016" y="506"/>
                      </a:lnTo>
                      <a:lnTo>
                        <a:pt x="2015" y="490"/>
                      </a:lnTo>
                      <a:lnTo>
                        <a:pt x="2018" y="477"/>
                      </a:lnTo>
                      <a:lnTo>
                        <a:pt x="2027" y="456"/>
                      </a:lnTo>
                      <a:lnTo>
                        <a:pt x="2027" y="442"/>
                      </a:lnTo>
                      <a:lnTo>
                        <a:pt x="2030" y="432"/>
                      </a:lnTo>
                      <a:lnTo>
                        <a:pt x="2036" y="413"/>
                      </a:lnTo>
                      <a:lnTo>
                        <a:pt x="2036" y="404"/>
                      </a:lnTo>
                      <a:lnTo>
                        <a:pt x="2038" y="391"/>
                      </a:lnTo>
                      <a:lnTo>
                        <a:pt x="2043" y="378"/>
                      </a:lnTo>
                      <a:lnTo>
                        <a:pt x="2053" y="362"/>
                      </a:lnTo>
                      <a:lnTo>
                        <a:pt x="2060" y="344"/>
                      </a:lnTo>
                      <a:lnTo>
                        <a:pt x="2058" y="334"/>
                      </a:lnTo>
                      <a:lnTo>
                        <a:pt x="2044" y="350"/>
                      </a:lnTo>
                      <a:lnTo>
                        <a:pt x="2043" y="359"/>
                      </a:lnTo>
                      <a:lnTo>
                        <a:pt x="2041" y="367"/>
                      </a:lnTo>
                      <a:lnTo>
                        <a:pt x="2034" y="369"/>
                      </a:lnTo>
                      <a:lnTo>
                        <a:pt x="2011" y="389"/>
                      </a:lnTo>
                      <a:lnTo>
                        <a:pt x="2011" y="385"/>
                      </a:lnTo>
                      <a:lnTo>
                        <a:pt x="2018" y="369"/>
                      </a:lnTo>
                      <a:lnTo>
                        <a:pt x="2021" y="364"/>
                      </a:lnTo>
                      <a:lnTo>
                        <a:pt x="2027" y="359"/>
                      </a:lnTo>
                      <a:lnTo>
                        <a:pt x="2034" y="346"/>
                      </a:lnTo>
                      <a:lnTo>
                        <a:pt x="2057" y="308"/>
                      </a:lnTo>
                      <a:lnTo>
                        <a:pt x="2066" y="296"/>
                      </a:lnTo>
                      <a:lnTo>
                        <a:pt x="2070" y="297"/>
                      </a:lnTo>
                      <a:lnTo>
                        <a:pt x="2077" y="294"/>
                      </a:lnTo>
                      <a:lnTo>
                        <a:pt x="2085" y="287"/>
                      </a:lnTo>
                      <a:lnTo>
                        <a:pt x="2084" y="307"/>
                      </a:lnTo>
                      <a:lnTo>
                        <a:pt x="2090" y="306"/>
                      </a:lnTo>
                      <a:lnTo>
                        <a:pt x="2107" y="287"/>
                      </a:lnTo>
                      <a:lnTo>
                        <a:pt x="2120" y="284"/>
                      </a:lnTo>
                      <a:lnTo>
                        <a:pt x="2136" y="281"/>
                      </a:lnTo>
                      <a:lnTo>
                        <a:pt x="2144" y="273"/>
                      </a:lnTo>
                      <a:lnTo>
                        <a:pt x="2155" y="270"/>
                      </a:lnTo>
                      <a:lnTo>
                        <a:pt x="2167" y="274"/>
                      </a:lnTo>
                      <a:lnTo>
                        <a:pt x="2178" y="279"/>
                      </a:lnTo>
                      <a:lnTo>
                        <a:pt x="2181" y="281"/>
                      </a:lnTo>
                      <a:lnTo>
                        <a:pt x="2184" y="286"/>
                      </a:lnTo>
                      <a:lnTo>
                        <a:pt x="2193" y="286"/>
                      </a:lnTo>
                      <a:lnTo>
                        <a:pt x="2194" y="279"/>
                      </a:lnTo>
                      <a:lnTo>
                        <a:pt x="2197" y="275"/>
                      </a:lnTo>
                      <a:lnTo>
                        <a:pt x="2202" y="278"/>
                      </a:lnTo>
                      <a:lnTo>
                        <a:pt x="2205" y="284"/>
                      </a:lnTo>
                      <a:lnTo>
                        <a:pt x="2224" y="279"/>
                      </a:lnTo>
                      <a:lnTo>
                        <a:pt x="2231" y="279"/>
                      </a:lnTo>
                      <a:lnTo>
                        <a:pt x="2231" y="278"/>
                      </a:lnTo>
                      <a:lnTo>
                        <a:pt x="2230" y="275"/>
                      </a:lnTo>
                      <a:lnTo>
                        <a:pt x="2225" y="272"/>
                      </a:lnTo>
                      <a:lnTo>
                        <a:pt x="2221" y="267"/>
                      </a:lnTo>
                      <a:lnTo>
                        <a:pt x="2215" y="263"/>
                      </a:lnTo>
                      <a:lnTo>
                        <a:pt x="2215" y="252"/>
                      </a:lnTo>
                      <a:lnTo>
                        <a:pt x="2213" y="246"/>
                      </a:lnTo>
                      <a:lnTo>
                        <a:pt x="2211" y="242"/>
                      </a:lnTo>
                      <a:lnTo>
                        <a:pt x="2209" y="238"/>
                      </a:lnTo>
                      <a:lnTo>
                        <a:pt x="2202" y="238"/>
                      </a:lnTo>
                      <a:lnTo>
                        <a:pt x="2187" y="240"/>
                      </a:lnTo>
                      <a:lnTo>
                        <a:pt x="2179" y="238"/>
                      </a:lnTo>
                      <a:lnTo>
                        <a:pt x="2171" y="233"/>
                      </a:lnTo>
                      <a:lnTo>
                        <a:pt x="2171" y="222"/>
                      </a:lnTo>
                      <a:lnTo>
                        <a:pt x="2168" y="216"/>
                      </a:lnTo>
                      <a:lnTo>
                        <a:pt x="2160" y="216"/>
                      </a:lnTo>
                      <a:lnTo>
                        <a:pt x="2150" y="221"/>
                      </a:lnTo>
                      <a:lnTo>
                        <a:pt x="2141" y="224"/>
                      </a:lnTo>
                      <a:lnTo>
                        <a:pt x="2111" y="222"/>
                      </a:lnTo>
                      <a:lnTo>
                        <a:pt x="2101" y="229"/>
                      </a:lnTo>
                      <a:lnTo>
                        <a:pt x="2092" y="232"/>
                      </a:lnTo>
                      <a:lnTo>
                        <a:pt x="2085" y="240"/>
                      </a:lnTo>
                      <a:lnTo>
                        <a:pt x="2080" y="242"/>
                      </a:lnTo>
                      <a:lnTo>
                        <a:pt x="2055" y="237"/>
                      </a:lnTo>
                      <a:lnTo>
                        <a:pt x="2047" y="238"/>
                      </a:lnTo>
                      <a:lnTo>
                        <a:pt x="2036" y="227"/>
                      </a:lnTo>
                      <a:lnTo>
                        <a:pt x="2030" y="217"/>
                      </a:lnTo>
                      <a:lnTo>
                        <a:pt x="2011" y="208"/>
                      </a:lnTo>
                      <a:lnTo>
                        <a:pt x="1995" y="210"/>
                      </a:lnTo>
                      <a:lnTo>
                        <a:pt x="1990" y="209"/>
                      </a:lnTo>
                      <a:lnTo>
                        <a:pt x="1983" y="216"/>
                      </a:lnTo>
                      <a:lnTo>
                        <a:pt x="1982" y="213"/>
                      </a:lnTo>
                      <a:lnTo>
                        <a:pt x="1983" y="200"/>
                      </a:lnTo>
                      <a:lnTo>
                        <a:pt x="1988" y="194"/>
                      </a:lnTo>
                      <a:lnTo>
                        <a:pt x="1995" y="190"/>
                      </a:lnTo>
                      <a:lnTo>
                        <a:pt x="2011" y="171"/>
                      </a:lnTo>
                      <a:lnTo>
                        <a:pt x="2020" y="165"/>
                      </a:lnTo>
                      <a:lnTo>
                        <a:pt x="2021" y="160"/>
                      </a:lnTo>
                      <a:lnTo>
                        <a:pt x="2018" y="159"/>
                      </a:lnTo>
                      <a:lnTo>
                        <a:pt x="2007" y="160"/>
                      </a:lnTo>
                      <a:lnTo>
                        <a:pt x="1996" y="163"/>
                      </a:lnTo>
                      <a:lnTo>
                        <a:pt x="1985" y="170"/>
                      </a:lnTo>
                      <a:lnTo>
                        <a:pt x="1969" y="179"/>
                      </a:lnTo>
                      <a:lnTo>
                        <a:pt x="1958" y="193"/>
                      </a:lnTo>
                      <a:lnTo>
                        <a:pt x="1947" y="199"/>
                      </a:lnTo>
                      <a:lnTo>
                        <a:pt x="1936" y="208"/>
                      </a:lnTo>
                      <a:lnTo>
                        <a:pt x="1921" y="211"/>
                      </a:lnTo>
                      <a:lnTo>
                        <a:pt x="1909" y="215"/>
                      </a:lnTo>
                      <a:lnTo>
                        <a:pt x="1890" y="229"/>
                      </a:lnTo>
                      <a:lnTo>
                        <a:pt x="1877" y="230"/>
                      </a:lnTo>
                      <a:lnTo>
                        <a:pt x="1856" y="227"/>
                      </a:lnTo>
                      <a:lnTo>
                        <a:pt x="1853" y="232"/>
                      </a:lnTo>
                      <a:lnTo>
                        <a:pt x="1851" y="230"/>
                      </a:lnTo>
                      <a:lnTo>
                        <a:pt x="1854" y="219"/>
                      </a:lnTo>
                      <a:lnTo>
                        <a:pt x="1854" y="209"/>
                      </a:lnTo>
                      <a:lnTo>
                        <a:pt x="1848" y="203"/>
                      </a:lnTo>
                      <a:lnTo>
                        <a:pt x="1811" y="226"/>
                      </a:lnTo>
                      <a:lnTo>
                        <a:pt x="1799" y="229"/>
                      </a:lnTo>
                      <a:lnTo>
                        <a:pt x="1790" y="227"/>
                      </a:lnTo>
                      <a:lnTo>
                        <a:pt x="1785" y="221"/>
                      </a:lnTo>
                      <a:lnTo>
                        <a:pt x="1792" y="213"/>
                      </a:lnTo>
                      <a:lnTo>
                        <a:pt x="1831" y="179"/>
                      </a:lnTo>
                      <a:lnTo>
                        <a:pt x="1872" y="145"/>
                      </a:lnTo>
                      <a:lnTo>
                        <a:pt x="1892" y="138"/>
                      </a:lnTo>
                      <a:lnTo>
                        <a:pt x="1915" y="118"/>
                      </a:lnTo>
                      <a:lnTo>
                        <a:pt x="1910" y="118"/>
                      </a:lnTo>
                      <a:lnTo>
                        <a:pt x="1896" y="111"/>
                      </a:lnTo>
                      <a:lnTo>
                        <a:pt x="1870" y="111"/>
                      </a:lnTo>
                      <a:lnTo>
                        <a:pt x="1853" y="103"/>
                      </a:lnTo>
                      <a:lnTo>
                        <a:pt x="1844" y="104"/>
                      </a:lnTo>
                      <a:lnTo>
                        <a:pt x="1831" y="111"/>
                      </a:lnTo>
                      <a:lnTo>
                        <a:pt x="1824" y="112"/>
                      </a:lnTo>
                      <a:lnTo>
                        <a:pt x="1812" y="106"/>
                      </a:lnTo>
                      <a:lnTo>
                        <a:pt x="1805" y="96"/>
                      </a:lnTo>
                      <a:lnTo>
                        <a:pt x="1792" y="92"/>
                      </a:lnTo>
                      <a:lnTo>
                        <a:pt x="1785" y="86"/>
                      </a:lnTo>
                      <a:lnTo>
                        <a:pt x="1776" y="84"/>
                      </a:lnTo>
                      <a:lnTo>
                        <a:pt x="1772" y="81"/>
                      </a:lnTo>
                      <a:lnTo>
                        <a:pt x="1765" y="74"/>
                      </a:lnTo>
                      <a:lnTo>
                        <a:pt x="1757" y="68"/>
                      </a:lnTo>
                      <a:lnTo>
                        <a:pt x="1747" y="64"/>
                      </a:lnTo>
                      <a:lnTo>
                        <a:pt x="1721" y="63"/>
                      </a:lnTo>
                      <a:lnTo>
                        <a:pt x="1713" y="68"/>
                      </a:lnTo>
                      <a:lnTo>
                        <a:pt x="1702" y="68"/>
                      </a:lnTo>
                      <a:lnTo>
                        <a:pt x="1695" y="66"/>
                      </a:lnTo>
                      <a:lnTo>
                        <a:pt x="1695" y="64"/>
                      </a:lnTo>
                      <a:lnTo>
                        <a:pt x="1693" y="63"/>
                      </a:lnTo>
                      <a:lnTo>
                        <a:pt x="1679" y="59"/>
                      </a:lnTo>
                      <a:lnTo>
                        <a:pt x="1675" y="55"/>
                      </a:lnTo>
                      <a:lnTo>
                        <a:pt x="1665" y="58"/>
                      </a:lnTo>
                      <a:lnTo>
                        <a:pt x="1661" y="58"/>
                      </a:lnTo>
                      <a:lnTo>
                        <a:pt x="1660" y="55"/>
                      </a:lnTo>
                      <a:lnTo>
                        <a:pt x="1651" y="57"/>
                      </a:lnTo>
                      <a:lnTo>
                        <a:pt x="1643" y="34"/>
                      </a:lnTo>
                      <a:lnTo>
                        <a:pt x="1640" y="33"/>
                      </a:lnTo>
                      <a:lnTo>
                        <a:pt x="1629" y="1"/>
                      </a:lnTo>
                      <a:lnTo>
                        <a:pt x="1622" y="0"/>
                      </a:lnTo>
                      <a:lnTo>
                        <a:pt x="1617" y="0"/>
                      </a:lnTo>
                      <a:lnTo>
                        <a:pt x="1617" y="36"/>
                      </a:lnTo>
                      <a:lnTo>
                        <a:pt x="1558" y="36"/>
                      </a:lnTo>
                      <a:lnTo>
                        <a:pt x="1503" y="36"/>
                      </a:lnTo>
                      <a:lnTo>
                        <a:pt x="1503" y="36"/>
                      </a:lnTo>
                      <a:lnTo>
                        <a:pt x="1491" y="36"/>
                      </a:lnTo>
                      <a:lnTo>
                        <a:pt x="1445" y="36"/>
                      </a:lnTo>
                      <a:lnTo>
                        <a:pt x="1397" y="36"/>
                      </a:lnTo>
                      <a:lnTo>
                        <a:pt x="1344" y="36"/>
                      </a:lnTo>
                      <a:lnTo>
                        <a:pt x="1294" y="36"/>
                      </a:lnTo>
                      <a:lnTo>
                        <a:pt x="1277" y="36"/>
                      </a:lnTo>
                      <a:lnTo>
                        <a:pt x="1130" y="36"/>
                      </a:lnTo>
                      <a:lnTo>
                        <a:pt x="1086" y="36"/>
                      </a:lnTo>
                      <a:lnTo>
                        <a:pt x="1032" y="36"/>
                      </a:lnTo>
                      <a:lnTo>
                        <a:pt x="983" y="36"/>
                      </a:lnTo>
                      <a:lnTo>
                        <a:pt x="936" y="36"/>
                      </a:lnTo>
                      <a:lnTo>
                        <a:pt x="888" y="36"/>
                      </a:lnTo>
                      <a:lnTo>
                        <a:pt x="834" y="36"/>
                      </a:lnTo>
                      <a:lnTo>
                        <a:pt x="802" y="36"/>
                      </a:lnTo>
                      <a:lnTo>
                        <a:pt x="753" y="34"/>
                      </a:lnTo>
                      <a:lnTo>
                        <a:pt x="699" y="34"/>
                      </a:lnTo>
                      <a:lnTo>
                        <a:pt x="649" y="34"/>
                      </a:lnTo>
                      <a:lnTo>
                        <a:pt x="580" y="34"/>
                      </a:lnTo>
                      <a:lnTo>
                        <a:pt x="471" y="34"/>
                      </a:lnTo>
                      <a:lnTo>
                        <a:pt x="418" y="34"/>
                      </a:lnTo>
                      <a:lnTo>
                        <a:pt x="365" y="34"/>
                      </a:lnTo>
                      <a:lnTo>
                        <a:pt x="320" y="34"/>
                      </a:lnTo>
                      <a:lnTo>
                        <a:pt x="270" y="34"/>
                      </a:lnTo>
                      <a:lnTo>
                        <a:pt x="218" y="34"/>
                      </a:lnTo>
                      <a:lnTo>
                        <a:pt x="167" y="34"/>
                      </a:lnTo>
                      <a:lnTo>
                        <a:pt x="105" y="34"/>
                      </a:lnTo>
                      <a:lnTo>
                        <a:pt x="108" y="43"/>
                      </a:lnTo>
                      <a:lnTo>
                        <a:pt x="113" y="50"/>
                      </a:lnTo>
                      <a:lnTo>
                        <a:pt x="121" y="50"/>
                      </a:lnTo>
                      <a:lnTo>
                        <a:pt x="129" y="53"/>
                      </a:lnTo>
                      <a:lnTo>
                        <a:pt x="133" y="58"/>
                      </a:lnTo>
                      <a:lnTo>
                        <a:pt x="132" y="59"/>
                      </a:lnTo>
                      <a:lnTo>
                        <a:pt x="128" y="57"/>
                      </a:lnTo>
                      <a:lnTo>
                        <a:pt x="124" y="58"/>
                      </a:lnTo>
                      <a:lnTo>
                        <a:pt x="124" y="66"/>
                      </a:lnTo>
                      <a:lnTo>
                        <a:pt x="119" y="74"/>
                      </a:lnTo>
                      <a:lnTo>
                        <a:pt x="116" y="75"/>
                      </a:lnTo>
                      <a:lnTo>
                        <a:pt x="116" y="76"/>
                      </a:lnTo>
                      <a:lnTo>
                        <a:pt x="122" y="81"/>
                      </a:lnTo>
                      <a:lnTo>
                        <a:pt x="127" y="84"/>
                      </a:lnTo>
                      <a:lnTo>
                        <a:pt x="128" y="87"/>
                      </a:lnTo>
                      <a:lnTo>
                        <a:pt x="133" y="103"/>
                      </a:lnTo>
                      <a:lnTo>
                        <a:pt x="133" y="119"/>
                      </a:lnTo>
                      <a:lnTo>
                        <a:pt x="132" y="133"/>
                      </a:lnTo>
                      <a:lnTo>
                        <a:pt x="130" y="133"/>
                      </a:lnTo>
                      <a:lnTo>
                        <a:pt x="127" y="125"/>
                      </a:lnTo>
                      <a:lnTo>
                        <a:pt x="124" y="125"/>
                      </a:lnTo>
                      <a:lnTo>
                        <a:pt x="118" y="127"/>
                      </a:lnTo>
                      <a:lnTo>
                        <a:pt x="111" y="143"/>
                      </a:lnTo>
                      <a:lnTo>
                        <a:pt x="101" y="150"/>
                      </a:lnTo>
                      <a:lnTo>
                        <a:pt x="98" y="155"/>
                      </a:lnTo>
                      <a:lnTo>
                        <a:pt x="101" y="156"/>
                      </a:lnTo>
                      <a:lnTo>
                        <a:pt x="101" y="162"/>
                      </a:lnTo>
                      <a:lnTo>
                        <a:pt x="92" y="162"/>
                      </a:lnTo>
                      <a:lnTo>
                        <a:pt x="92" y="151"/>
                      </a:lnTo>
                      <a:lnTo>
                        <a:pt x="101" y="130"/>
                      </a:lnTo>
                      <a:lnTo>
                        <a:pt x="103" y="127"/>
                      </a:lnTo>
                      <a:lnTo>
                        <a:pt x="109" y="124"/>
                      </a:lnTo>
                      <a:lnTo>
                        <a:pt x="111" y="122"/>
                      </a:lnTo>
                      <a:lnTo>
                        <a:pt x="112" y="112"/>
                      </a:lnTo>
                      <a:lnTo>
                        <a:pt x="109" y="104"/>
                      </a:lnTo>
                      <a:lnTo>
                        <a:pt x="98" y="106"/>
                      </a:lnTo>
                      <a:lnTo>
                        <a:pt x="84" y="100"/>
                      </a:lnTo>
                      <a:lnTo>
                        <a:pt x="70" y="101"/>
                      </a:lnTo>
                      <a:lnTo>
                        <a:pt x="58" y="98"/>
                      </a:lnTo>
                      <a:lnTo>
                        <a:pt x="48" y="98"/>
                      </a:lnTo>
                      <a:lnTo>
                        <a:pt x="19" y="87"/>
                      </a:lnTo>
                      <a:lnTo>
                        <a:pt x="9" y="81"/>
                      </a:lnTo>
                      <a:lnTo>
                        <a:pt x="4" y="86"/>
                      </a:lnTo>
                      <a:lnTo>
                        <a:pt x="1" y="96"/>
                      </a:lnTo>
                      <a:lnTo>
                        <a:pt x="0" y="106"/>
                      </a:lnTo>
                      <a:lnTo>
                        <a:pt x="3" y="113"/>
                      </a:lnTo>
                      <a:lnTo>
                        <a:pt x="6" y="122"/>
                      </a:lnTo>
                      <a:lnTo>
                        <a:pt x="15" y="131"/>
                      </a:lnTo>
                      <a:lnTo>
                        <a:pt x="21" y="147"/>
                      </a:lnTo>
                      <a:lnTo>
                        <a:pt x="28" y="181"/>
                      </a:lnTo>
                      <a:lnTo>
                        <a:pt x="32" y="193"/>
                      </a:lnTo>
                      <a:lnTo>
                        <a:pt x="33" y="194"/>
                      </a:lnTo>
                      <a:lnTo>
                        <a:pt x="38" y="188"/>
                      </a:lnTo>
                      <a:lnTo>
                        <a:pt x="42" y="193"/>
                      </a:lnTo>
                      <a:lnTo>
                        <a:pt x="41" y="199"/>
                      </a:lnTo>
                      <a:lnTo>
                        <a:pt x="37" y="205"/>
                      </a:lnTo>
                      <a:lnTo>
                        <a:pt x="37" y="211"/>
                      </a:lnTo>
                      <a:lnTo>
                        <a:pt x="38" y="215"/>
                      </a:lnTo>
                      <a:lnTo>
                        <a:pt x="42" y="216"/>
                      </a:lnTo>
                      <a:lnTo>
                        <a:pt x="46" y="215"/>
                      </a:lnTo>
                      <a:lnTo>
                        <a:pt x="47" y="217"/>
                      </a:lnTo>
                      <a:lnTo>
                        <a:pt x="46" y="225"/>
                      </a:lnTo>
                      <a:lnTo>
                        <a:pt x="47" y="236"/>
                      </a:lnTo>
                      <a:lnTo>
                        <a:pt x="46" y="240"/>
                      </a:lnTo>
                      <a:lnTo>
                        <a:pt x="43" y="238"/>
                      </a:lnTo>
                      <a:lnTo>
                        <a:pt x="42" y="229"/>
                      </a:lnTo>
                      <a:lnTo>
                        <a:pt x="38" y="225"/>
                      </a:lnTo>
                      <a:lnTo>
                        <a:pt x="37" y="238"/>
                      </a:lnTo>
                      <a:lnTo>
                        <a:pt x="39" y="246"/>
                      </a:lnTo>
                      <a:lnTo>
                        <a:pt x="47" y="252"/>
                      </a:lnTo>
                      <a:lnTo>
                        <a:pt x="68" y="251"/>
                      </a:lnTo>
                      <a:lnTo>
                        <a:pt x="74" y="257"/>
                      </a:lnTo>
                      <a:lnTo>
                        <a:pt x="81" y="260"/>
                      </a:lnTo>
                      <a:lnTo>
                        <a:pt x="80" y="264"/>
                      </a:lnTo>
                      <a:lnTo>
                        <a:pt x="68" y="259"/>
                      </a:lnTo>
                      <a:lnTo>
                        <a:pt x="48" y="262"/>
                      </a:lnTo>
                      <a:lnTo>
                        <a:pt x="46" y="264"/>
                      </a:lnTo>
                      <a:lnTo>
                        <a:pt x="44" y="269"/>
                      </a:lnTo>
                      <a:lnTo>
                        <a:pt x="43" y="285"/>
                      </a:lnTo>
                      <a:lnTo>
                        <a:pt x="43" y="291"/>
                      </a:lnTo>
                      <a:lnTo>
                        <a:pt x="47" y="295"/>
                      </a:lnTo>
                      <a:lnTo>
                        <a:pt x="44" y="301"/>
                      </a:lnTo>
                      <a:lnTo>
                        <a:pt x="46" y="312"/>
                      </a:lnTo>
                      <a:lnTo>
                        <a:pt x="42" y="321"/>
                      </a:lnTo>
                      <a:lnTo>
                        <a:pt x="41" y="353"/>
                      </a:lnTo>
                      <a:lnTo>
                        <a:pt x="37" y="366"/>
                      </a:lnTo>
                      <a:lnTo>
                        <a:pt x="38" y="409"/>
                      </a:lnTo>
                      <a:lnTo>
                        <a:pt x="36" y="419"/>
                      </a:lnTo>
                      <a:lnTo>
                        <a:pt x="36" y="431"/>
                      </a:lnTo>
                      <a:lnTo>
                        <a:pt x="30" y="457"/>
                      </a:lnTo>
                      <a:lnTo>
                        <a:pt x="28" y="464"/>
                      </a:lnTo>
                      <a:lnTo>
                        <a:pt x="30" y="466"/>
                      </a:lnTo>
                      <a:lnTo>
                        <a:pt x="31" y="466"/>
                      </a:lnTo>
                      <a:lnTo>
                        <a:pt x="32" y="474"/>
                      </a:lnTo>
                      <a:lnTo>
                        <a:pt x="26" y="478"/>
                      </a:lnTo>
                      <a:lnTo>
                        <a:pt x="20" y="488"/>
                      </a:lnTo>
                      <a:lnTo>
                        <a:pt x="15" y="515"/>
                      </a:lnTo>
                      <a:lnTo>
                        <a:pt x="17" y="529"/>
                      </a:lnTo>
                      <a:lnTo>
                        <a:pt x="20" y="555"/>
                      </a:lnTo>
                      <a:lnTo>
                        <a:pt x="27" y="576"/>
                      </a:lnTo>
                      <a:lnTo>
                        <a:pt x="28" y="580"/>
                      </a:lnTo>
                      <a:lnTo>
                        <a:pt x="31" y="590"/>
                      </a:lnTo>
                      <a:lnTo>
                        <a:pt x="39" y="624"/>
                      </a:lnTo>
                      <a:lnTo>
                        <a:pt x="36" y="646"/>
                      </a:lnTo>
                      <a:lnTo>
                        <a:pt x="36" y="667"/>
                      </a:lnTo>
                      <a:lnTo>
                        <a:pt x="30" y="678"/>
                      </a:lnTo>
                      <a:lnTo>
                        <a:pt x="22" y="688"/>
                      </a:lnTo>
                      <a:lnTo>
                        <a:pt x="22" y="697"/>
                      </a:lnTo>
                      <a:lnTo>
                        <a:pt x="24" y="701"/>
                      </a:lnTo>
                      <a:lnTo>
                        <a:pt x="30" y="706"/>
                      </a:lnTo>
                      <a:lnTo>
                        <a:pt x="54" y="747"/>
                      </a:lnTo>
                      <a:lnTo>
                        <a:pt x="55" y="752"/>
                      </a:lnTo>
                      <a:lnTo>
                        <a:pt x="54" y="758"/>
                      </a:lnTo>
                      <a:lnTo>
                        <a:pt x="54" y="769"/>
                      </a:lnTo>
                      <a:lnTo>
                        <a:pt x="63" y="806"/>
                      </a:lnTo>
                      <a:lnTo>
                        <a:pt x="69" y="813"/>
                      </a:lnTo>
                      <a:lnTo>
                        <a:pt x="78" y="824"/>
                      </a:lnTo>
                      <a:lnTo>
                        <a:pt x="95" y="841"/>
                      </a:lnTo>
                      <a:lnTo>
                        <a:pt x="98" y="850"/>
                      </a:lnTo>
                      <a:lnTo>
                        <a:pt x="98" y="857"/>
                      </a:lnTo>
                      <a:lnTo>
                        <a:pt x="100" y="862"/>
                      </a:lnTo>
                      <a:lnTo>
                        <a:pt x="108" y="868"/>
                      </a:lnTo>
                      <a:lnTo>
                        <a:pt x="114" y="868"/>
                      </a:lnTo>
                      <a:lnTo>
                        <a:pt x="116" y="872"/>
                      </a:lnTo>
                      <a:lnTo>
                        <a:pt x="119" y="872"/>
                      </a:lnTo>
                      <a:lnTo>
                        <a:pt x="122" y="870"/>
                      </a:lnTo>
                      <a:lnTo>
                        <a:pt x="123" y="868"/>
                      </a:lnTo>
                      <a:lnTo>
                        <a:pt x="124" y="854"/>
                      </a:lnTo>
                      <a:lnTo>
                        <a:pt x="138" y="854"/>
                      </a:lnTo>
                      <a:lnTo>
                        <a:pt x="150" y="859"/>
                      </a:lnTo>
                      <a:lnTo>
                        <a:pt x="144" y="864"/>
                      </a:lnTo>
                      <a:lnTo>
                        <a:pt x="138" y="865"/>
                      </a:lnTo>
                      <a:lnTo>
                        <a:pt x="133" y="870"/>
                      </a:lnTo>
                      <a:lnTo>
                        <a:pt x="134" y="876"/>
                      </a:lnTo>
                      <a:lnTo>
                        <a:pt x="144" y="894"/>
                      </a:lnTo>
                      <a:lnTo>
                        <a:pt x="145" y="899"/>
                      </a:lnTo>
                      <a:lnTo>
                        <a:pt x="137" y="893"/>
                      </a:lnTo>
                      <a:lnTo>
                        <a:pt x="130" y="886"/>
                      </a:lnTo>
                      <a:lnTo>
                        <a:pt x="129" y="881"/>
                      </a:lnTo>
                      <a:lnTo>
                        <a:pt x="124" y="880"/>
                      </a:lnTo>
                      <a:lnTo>
                        <a:pt x="123" y="887"/>
                      </a:lnTo>
                      <a:lnTo>
                        <a:pt x="124" y="894"/>
                      </a:lnTo>
                      <a:lnTo>
                        <a:pt x="129" y="905"/>
                      </a:lnTo>
                      <a:lnTo>
                        <a:pt x="133" y="925"/>
                      </a:lnTo>
                      <a:lnTo>
                        <a:pt x="143" y="934"/>
                      </a:lnTo>
                      <a:lnTo>
                        <a:pt x="155" y="936"/>
                      </a:lnTo>
                      <a:lnTo>
                        <a:pt x="161" y="946"/>
                      </a:lnTo>
                      <a:lnTo>
                        <a:pt x="161" y="958"/>
                      </a:lnTo>
                      <a:lnTo>
                        <a:pt x="155" y="963"/>
                      </a:lnTo>
                      <a:lnTo>
                        <a:pt x="155" y="977"/>
                      </a:lnTo>
                      <a:lnTo>
                        <a:pt x="157" y="980"/>
                      </a:lnTo>
                      <a:lnTo>
                        <a:pt x="180" y="1004"/>
                      </a:lnTo>
                      <a:lnTo>
                        <a:pt x="192" y="1023"/>
                      </a:lnTo>
                      <a:lnTo>
                        <a:pt x="207" y="1038"/>
                      </a:lnTo>
                      <a:lnTo>
                        <a:pt x="213" y="1042"/>
                      </a:lnTo>
                      <a:lnTo>
                        <a:pt x="214" y="1053"/>
                      </a:lnTo>
                      <a:lnTo>
                        <a:pt x="223" y="1056"/>
                      </a:lnTo>
                      <a:lnTo>
                        <a:pt x="227" y="1064"/>
                      </a:lnTo>
                      <a:lnTo>
                        <a:pt x="227" y="1066"/>
                      </a:lnTo>
                      <a:lnTo>
                        <a:pt x="226" y="1072"/>
                      </a:lnTo>
                      <a:lnTo>
                        <a:pt x="226" y="1081"/>
                      </a:lnTo>
                      <a:lnTo>
                        <a:pt x="229" y="1096"/>
                      </a:lnTo>
                      <a:lnTo>
                        <a:pt x="231" y="1099"/>
                      </a:lnTo>
                      <a:lnTo>
                        <a:pt x="238" y="1102"/>
                      </a:lnTo>
                      <a:lnTo>
                        <a:pt x="257" y="1104"/>
                      </a:lnTo>
                      <a:lnTo>
                        <a:pt x="268" y="1110"/>
                      </a:lnTo>
                      <a:lnTo>
                        <a:pt x="273" y="1108"/>
                      </a:lnTo>
                      <a:lnTo>
                        <a:pt x="280" y="1109"/>
                      </a:lnTo>
                      <a:lnTo>
                        <a:pt x="289" y="1114"/>
                      </a:lnTo>
                      <a:lnTo>
                        <a:pt x="299" y="1118"/>
                      </a:lnTo>
                      <a:lnTo>
                        <a:pt x="302" y="1124"/>
                      </a:lnTo>
                      <a:lnTo>
                        <a:pt x="318" y="1130"/>
                      </a:lnTo>
                      <a:lnTo>
                        <a:pt x="324" y="1134"/>
                      </a:lnTo>
                      <a:lnTo>
                        <a:pt x="328" y="1137"/>
                      </a:lnTo>
                      <a:lnTo>
                        <a:pt x="331" y="1131"/>
                      </a:lnTo>
                      <a:lnTo>
                        <a:pt x="336" y="1131"/>
                      </a:lnTo>
                      <a:lnTo>
                        <a:pt x="339" y="1134"/>
                      </a:lnTo>
                      <a:lnTo>
                        <a:pt x="348" y="1141"/>
                      </a:lnTo>
                      <a:lnTo>
                        <a:pt x="349" y="1151"/>
                      </a:lnTo>
                      <a:lnTo>
                        <a:pt x="350" y="1153"/>
                      </a:lnTo>
                      <a:lnTo>
                        <a:pt x="364" y="1155"/>
                      </a:lnTo>
                      <a:lnTo>
                        <a:pt x="376" y="1161"/>
                      </a:lnTo>
                      <a:lnTo>
                        <a:pt x="383" y="1167"/>
                      </a:lnTo>
                      <a:lnTo>
                        <a:pt x="397" y="1183"/>
                      </a:lnTo>
                      <a:lnTo>
                        <a:pt x="406" y="1192"/>
                      </a:lnTo>
                      <a:lnTo>
                        <a:pt x="412" y="1201"/>
                      </a:lnTo>
                      <a:lnTo>
                        <a:pt x="415" y="1227"/>
                      </a:lnTo>
                      <a:lnTo>
                        <a:pt x="417" y="1233"/>
                      </a:lnTo>
                      <a:lnTo>
                        <a:pt x="541" y="1223"/>
                      </a:lnTo>
                      <a:lnTo>
                        <a:pt x="542" y="1230"/>
                      </a:lnTo>
                      <a:lnTo>
                        <a:pt x="751" y="1307"/>
                      </a:lnTo>
                      <a:lnTo>
                        <a:pt x="854" y="1307"/>
                      </a:lnTo>
                      <a:lnTo>
                        <a:pt x="898" y="1307"/>
                      </a:lnTo>
                      <a:lnTo>
                        <a:pt x="899" y="1277"/>
                      </a:lnTo>
                      <a:lnTo>
                        <a:pt x="989" y="1276"/>
                      </a:lnTo>
                      <a:lnTo>
                        <a:pt x="999" y="1282"/>
                      </a:lnTo>
                      <a:lnTo>
                        <a:pt x="1004" y="1285"/>
                      </a:lnTo>
                      <a:lnTo>
                        <a:pt x="1011" y="1297"/>
                      </a:lnTo>
                      <a:lnTo>
                        <a:pt x="1023" y="1303"/>
                      </a:lnTo>
                      <a:lnTo>
                        <a:pt x="1032" y="1316"/>
                      </a:lnTo>
                      <a:lnTo>
                        <a:pt x="1052" y="1333"/>
                      </a:lnTo>
                      <a:lnTo>
                        <a:pt x="1081" y="1352"/>
                      </a:lnTo>
                      <a:lnTo>
                        <a:pt x="1095" y="1403"/>
                      </a:lnTo>
                      <a:lnTo>
                        <a:pt x="1109" y="1421"/>
                      </a:lnTo>
                      <a:lnTo>
                        <a:pt x="1128" y="1437"/>
                      </a:lnTo>
                      <a:lnTo>
                        <a:pt x="1152" y="1453"/>
                      </a:lnTo>
                      <a:lnTo>
                        <a:pt x="1176" y="1458"/>
                      </a:lnTo>
                      <a:lnTo>
                        <a:pt x="1199" y="1411"/>
                      </a:lnTo>
                      <a:lnTo>
                        <a:pt x="1202" y="1408"/>
                      </a:lnTo>
                      <a:lnTo>
                        <a:pt x="1213" y="1403"/>
                      </a:lnTo>
                      <a:lnTo>
                        <a:pt x="1224" y="1406"/>
                      </a:lnTo>
                      <a:lnTo>
                        <a:pt x="1269" y="1404"/>
                      </a:lnTo>
                      <a:lnTo>
                        <a:pt x="1277" y="1414"/>
                      </a:lnTo>
                      <a:lnTo>
                        <a:pt x="1294" y="1430"/>
                      </a:lnTo>
                      <a:lnTo>
                        <a:pt x="1300" y="1440"/>
                      </a:lnTo>
                      <a:lnTo>
                        <a:pt x="1311" y="1448"/>
                      </a:lnTo>
                      <a:lnTo>
                        <a:pt x="1331" y="1494"/>
                      </a:lnTo>
                      <a:lnTo>
                        <a:pt x="1347" y="1511"/>
                      </a:lnTo>
                      <a:lnTo>
                        <a:pt x="1355" y="1531"/>
                      </a:lnTo>
                      <a:lnTo>
                        <a:pt x="1372" y="1542"/>
                      </a:lnTo>
                      <a:lnTo>
                        <a:pt x="1387" y="1589"/>
                      </a:lnTo>
                      <a:lnTo>
                        <a:pt x="1404" y="1615"/>
                      </a:lnTo>
                      <a:lnTo>
                        <a:pt x="1421" y="1626"/>
                      </a:lnTo>
                      <a:lnTo>
                        <a:pt x="1435" y="1628"/>
                      </a:lnTo>
                      <a:lnTo>
                        <a:pt x="1450" y="1636"/>
                      </a:lnTo>
                      <a:lnTo>
                        <a:pt x="1477" y="1639"/>
                      </a:lnTo>
                      <a:lnTo>
                        <a:pt x="1495" y="1647"/>
                      </a:lnTo>
                      <a:lnTo>
                        <a:pt x="1512" y="1648"/>
                      </a:lnTo>
                      <a:lnTo>
                        <a:pt x="1514" y="1647"/>
                      </a:lnTo>
                      <a:lnTo>
                        <a:pt x="1509" y="1644"/>
                      </a:lnTo>
                      <a:lnTo>
                        <a:pt x="1505" y="1632"/>
                      </a:lnTo>
                      <a:lnTo>
                        <a:pt x="1503" y="1625"/>
                      </a:lnTo>
                      <a:lnTo>
                        <a:pt x="1501" y="1624"/>
                      </a:lnTo>
                      <a:lnTo>
                        <a:pt x="1495" y="1598"/>
                      </a:lnTo>
                      <a:lnTo>
                        <a:pt x="1494" y="1588"/>
                      </a:lnTo>
                      <a:lnTo>
                        <a:pt x="1499" y="1585"/>
                      </a:lnTo>
                      <a:lnTo>
                        <a:pt x="1499" y="1572"/>
                      </a:lnTo>
                      <a:lnTo>
                        <a:pt x="1498" y="1571"/>
                      </a:lnTo>
                      <a:lnTo>
                        <a:pt x="1491" y="1570"/>
                      </a:lnTo>
                      <a:lnTo>
                        <a:pt x="1489" y="1567"/>
                      </a:lnTo>
                      <a:lnTo>
                        <a:pt x="1490" y="1564"/>
                      </a:lnTo>
                      <a:lnTo>
                        <a:pt x="1498" y="1564"/>
                      </a:lnTo>
                      <a:lnTo>
                        <a:pt x="1500" y="1566"/>
                      </a:lnTo>
                      <a:lnTo>
                        <a:pt x="1505" y="1564"/>
                      </a:lnTo>
                      <a:lnTo>
                        <a:pt x="1506" y="1556"/>
                      </a:lnTo>
                      <a:lnTo>
                        <a:pt x="1506" y="1543"/>
                      </a:lnTo>
                      <a:lnTo>
                        <a:pt x="1501" y="1533"/>
                      </a:lnTo>
                      <a:lnTo>
                        <a:pt x="1516" y="1531"/>
                      </a:lnTo>
                      <a:lnTo>
                        <a:pt x="1521" y="1521"/>
                      </a:lnTo>
                      <a:lnTo>
                        <a:pt x="1520" y="1518"/>
                      </a:lnTo>
                      <a:lnTo>
                        <a:pt x="1515" y="1519"/>
                      </a:lnTo>
                      <a:lnTo>
                        <a:pt x="1515" y="1515"/>
                      </a:lnTo>
                      <a:lnTo>
                        <a:pt x="1525" y="1508"/>
                      </a:lnTo>
                      <a:lnTo>
                        <a:pt x="1528" y="1510"/>
                      </a:lnTo>
                      <a:lnTo>
                        <a:pt x="1533" y="1502"/>
                      </a:lnTo>
                      <a:lnTo>
                        <a:pt x="1534" y="1500"/>
                      </a:lnTo>
                      <a:lnTo>
                        <a:pt x="1537" y="1496"/>
                      </a:lnTo>
                      <a:lnTo>
                        <a:pt x="1547" y="1496"/>
                      </a:lnTo>
                      <a:lnTo>
                        <a:pt x="1550" y="1494"/>
                      </a:lnTo>
                      <a:lnTo>
                        <a:pt x="1552" y="1489"/>
                      </a:lnTo>
                      <a:lnTo>
                        <a:pt x="1546" y="1485"/>
                      </a:lnTo>
                      <a:lnTo>
                        <a:pt x="1546" y="1480"/>
                      </a:lnTo>
                      <a:lnTo>
                        <a:pt x="1547" y="1476"/>
                      </a:lnTo>
                      <a:lnTo>
                        <a:pt x="1552" y="1479"/>
                      </a:lnTo>
                      <a:lnTo>
                        <a:pt x="1555" y="1481"/>
                      </a:lnTo>
                      <a:lnTo>
                        <a:pt x="1557" y="1481"/>
                      </a:lnTo>
                      <a:lnTo>
                        <a:pt x="1557" y="1476"/>
                      </a:lnTo>
                      <a:lnTo>
                        <a:pt x="1558" y="1475"/>
                      </a:lnTo>
                      <a:lnTo>
                        <a:pt x="1559" y="1476"/>
                      </a:lnTo>
                      <a:lnTo>
                        <a:pt x="1563" y="1480"/>
                      </a:lnTo>
                      <a:lnTo>
                        <a:pt x="1564" y="1480"/>
                      </a:lnTo>
                      <a:lnTo>
                        <a:pt x="1566" y="1479"/>
                      </a:lnTo>
                      <a:lnTo>
                        <a:pt x="1569" y="1475"/>
                      </a:lnTo>
                      <a:lnTo>
                        <a:pt x="1570" y="1474"/>
                      </a:lnTo>
                      <a:lnTo>
                        <a:pt x="1571" y="1483"/>
                      </a:lnTo>
                      <a:lnTo>
                        <a:pt x="1587" y="1476"/>
                      </a:lnTo>
                      <a:lnTo>
                        <a:pt x="1590" y="1478"/>
                      </a:lnTo>
                      <a:lnTo>
                        <a:pt x="1590" y="1479"/>
                      </a:lnTo>
                      <a:lnTo>
                        <a:pt x="1585" y="1481"/>
                      </a:lnTo>
                      <a:lnTo>
                        <a:pt x="1575" y="1485"/>
                      </a:lnTo>
                      <a:lnTo>
                        <a:pt x="1566" y="1489"/>
                      </a:lnTo>
                      <a:lnTo>
                        <a:pt x="1565" y="1492"/>
                      </a:lnTo>
                      <a:lnTo>
                        <a:pt x="1568" y="1492"/>
                      </a:lnTo>
                      <a:lnTo>
                        <a:pt x="1584" y="1486"/>
                      </a:lnTo>
                      <a:lnTo>
                        <a:pt x="1598" y="1479"/>
                      </a:lnTo>
                      <a:lnTo>
                        <a:pt x="1606" y="1473"/>
                      </a:lnTo>
                      <a:lnTo>
                        <a:pt x="1619" y="1463"/>
                      </a:lnTo>
                      <a:lnTo>
                        <a:pt x="1622" y="1459"/>
                      </a:lnTo>
                      <a:lnTo>
                        <a:pt x="1628" y="1443"/>
                      </a:lnTo>
                      <a:lnTo>
                        <a:pt x="1629" y="1410"/>
                      </a:lnTo>
                      <a:lnTo>
                        <a:pt x="1632" y="1408"/>
                      </a:lnTo>
                      <a:lnTo>
                        <a:pt x="1635" y="1406"/>
                      </a:lnTo>
                      <a:lnTo>
                        <a:pt x="1638" y="1406"/>
                      </a:lnTo>
                      <a:lnTo>
                        <a:pt x="1638" y="1419"/>
                      </a:lnTo>
                      <a:lnTo>
                        <a:pt x="1645" y="1419"/>
                      </a:lnTo>
                      <a:lnTo>
                        <a:pt x="1643" y="1422"/>
                      </a:lnTo>
                      <a:lnTo>
                        <a:pt x="1636" y="1425"/>
                      </a:lnTo>
                      <a:lnTo>
                        <a:pt x="1639" y="1426"/>
                      </a:lnTo>
                      <a:lnTo>
                        <a:pt x="1659" y="1419"/>
                      </a:lnTo>
                      <a:lnTo>
                        <a:pt x="1671" y="1411"/>
                      </a:lnTo>
                      <a:lnTo>
                        <a:pt x="1688" y="1411"/>
                      </a:lnTo>
                      <a:lnTo>
                        <a:pt x="1719" y="1406"/>
                      </a:lnTo>
                      <a:lnTo>
                        <a:pt x="1740" y="1413"/>
                      </a:lnTo>
                      <a:lnTo>
                        <a:pt x="1751" y="1418"/>
                      </a:lnTo>
                      <a:lnTo>
                        <a:pt x="1763" y="1420"/>
                      </a:lnTo>
                      <a:lnTo>
                        <a:pt x="1775" y="1420"/>
                      </a:lnTo>
                      <a:lnTo>
                        <a:pt x="1781" y="1414"/>
                      </a:lnTo>
                      <a:lnTo>
                        <a:pt x="1781" y="1409"/>
                      </a:lnTo>
                      <a:lnTo>
                        <a:pt x="1784" y="1405"/>
                      </a:lnTo>
                      <a:lnTo>
                        <a:pt x="1794" y="1405"/>
                      </a:lnTo>
                      <a:lnTo>
                        <a:pt x="1810" y="1414"/>
                      </a:lnTo>
                      <a:lnTo>
                        <a:pt x="1816" y="1421"/>
                      </a:lnTo>
                      <a:lnTo>
                        <a:pt x="1822" y="1422"/>
                      </a:lnTo>
                      <a:lnTo>
                        <a:pt x="1833" y="1440"/>
                      </a:lnTo>
                      <a:lnTo>
                        <a:pt x="1845" y="1440"/>
                      </a:lnTo>
                      <a:lnTo>
                        <a:pt x="1848" y="1442"/>
                      </a:lnTo>
                      <a:lnTo>
                        <a:pt x="1856" y="1445"/>
                      </a:lnTo>
                      <a:lnTo>
                        <a:pt x="1864" y="1441"/>
                      </a:lnTo>
                      <a:lnTo>
                        <a:pt x="1870" y="1445"/>
                      </a:lnTo>
                      <a:lnTo>
                        <a:pt x="1875" y="1442"/>
                      </a:lnTo>
                      <a:lnTo>
                        <a:pt x="1880" y="1442"/>
                      </a:lnTo>
                      <a:lnTo>
                        <a:pt x="1890" y="1445"/>
                      </a:lnTo>
                      <a:lnTo>
                        <a:pt x="1897" y="1436"/>
                      </a:lnTo>
                      <a:lnTo>
                        <a:pt x="1898" y="1433"/>
                      </a:lnTo>
                      <a:lnTo>
                        <a:pt x="1897" y="1429"/>
                      </a:lnTo>
                      <a:lnTo>
                        <a:pt x="1899" y="1427"/>
                      </a:lnTo>
                      <a:lnTo>
                        <a:pt x="1904" y="1427"/>
                      </a:lnTo>
                      <a:lnTo>
                        <a:pt x="1912" y="1435"/>
                      </a:lnTo>
                      <a:lnTo>
                        <a:pt x="1923" y="1440"/>
                      </a:lnTo>
                      <a:lnTo>
                        <a:pt x="1934" y="1453"/>
                      </a:lnTo>
                      <a:lnTo>
                        <a:pt x="1937" y="1452"/>
                      </a:lnTo>
                      <a:lnTo>
                        <a:pt x="1945" y="1449"/>
                      </a:lnTo>
                      <a:lnTo>
                        <a:pt x="1946" y="1445"/>
                      </a:lnTo>
                      <a:lnTo>
                        <a:pt x="1941" y="1438"/>
                      </a:lnTo>
                      <a:lnTo>
                        <a:pt x="1925" y="1430"/>
                      </a:lnTo>
                      <a:lnTo>
                        <a:pt x="1918" y="1420"/>
                      </a:lnTo>
                      <a:lnTo>
                        <a:pt x="1918" y="1418"/>
                      </a:lnTo>
                      <a:lnTo>
                        <a:pt x="1923" y="1410"/>
                      </a:lnTo>
                      <a:lnTo>
                        <a:pt x="1934" y="1402"/>
                      </a:lnTo>
                      <a:lnTo>
                        <a:pt x="1936" y="1387"/>
                      </a:lnTo>
                      <a:lnTo>
                        <a:pt x="1934" y="1386"/>
                      </a:lnTo>
                      <a:lnTo>
                        <a:pt x="1933" y="1384"/>
                      </a:lnTo>
                      <a:lnTo>
                        <a:pt x="1920" y="1389"/>
                      </a:lnTo>
                      <a:lnTo>
                        <a:pt x="1914" y="1395"/>
                      </a:lnTo>
                      <a:lnTo>
                        <a:pt x="1910" y="1394"/>
                      </a:lnTo>
                      <a:lnTo>
                        <a:pt x="1908" y="1383"/>
                      </a:lnTo>
                      <a:lnTo>
                        <a:pt x="1905" y="1382"/>
                      </a:lnTo>
                      <a:lnTo>
                        <a:pt x="1902" y="1383"/>
                      </a:lnTo>
                      <a:lnTo>
                        <a:pt x="1893" y="1388"/>
                      </a:lnTo>
                      <a:lnTo>
                        <a:pt x="1883" y="1389"/>
                      </a:lnTo>
                      <a:lnTo>
                        <a:pt x="1876" y="1382"/>
                      </a:lnTo>
                      <a:lnTo>
                        <a:pt x="1878" y="1371"/>
                      </a:lnTo>
                      <a:lnTo>
                        <a:pt x="1891" y="1367"/>
                      </a:lnTo>
                      <a:lnTo>
                        <a:pt x="1905" y="1375"/>
                      </a:lnTo>
                      <a:lnTo>
                        <a:pt x="1921" y="1377"/>
                      </a:lnTo>
                      <a:lnTo>
                        <a:pt x="1934" y="1371"/>
                      </a:lnTo>
                      <a:lnTo>
                        <a:pt x="1942" y="1373"/>
                      </a:lnTo>
                      <a:lnTo>
                        <a:pt x="1953" y="1366"/>
                      </a:lnTo>
                      <a:lnTo>
                        <a:pt x="1987" y="1368"/>
                      </a:lnTo>
                      <a:lnTo>
                        <a:pt x="1995" y="1370"/>
                      </a:lnTo>
                      <a:lnTo>
                        <a:pt x="1999" y="1367"/>
                      </a:lnTo>
                      <a:lnTo>
                        <a:pt x="2007" y="1334"/>
                      </a:lnTo>
                      <a:lnTo>
                        <a:pt x="2010" y="1341"/>
                      </a:lnTo>
                      <a:lnTo>
                        <a:pt x="2010" y="1350"/>
                      </a:lnTo>
                      <a:lnTo>
                        <a:pt x="2012" y="1363"/>
                      </a:lnTo>
                      <a:lnTo>
                        <a:pt x="2012" y="1367"/>
                      </a:lnTo>
                      <a:lnTo>
                        <a:pt x="2010" y="1373"/>
                      </a:lnTo>
                      <a:lnTo>
                        <a:pt x="2011" y="1377"/>
                      </a:lnTo>
                      <a:lnTo>
                        <a:pt x="2020" y="1376"/>
                      </a:lnTo>
                      <a:lnTo>
                        <a:pt x="2041" y="1370"/>
                      </a:lnTo>
                      <a:lnTo>
                        <a:pt x="2049" y="1361"/>
                      </a:lnTo>
                      <a:lnTo>
                        <a:pt x="2054" y="1361"/>
                      </a:lnTo>
                      <a:lnTo>
                        <a:pt x="2059" y="1356"/>
                      </a:lnTo>
                      <a:lnTo>
                        <a:pt x="2061" y="1356"/>
                      </a:lnTo>
                      <a:lnTo>
                        <a:pt x="2061" y="1359"/>
                      </a:lnTo>
                      <a:lnTo>
                        <a:pt x="2058" y="1366"/>
                      </a:lnTo>
                      <a:lnTo>
                        <a:pt x="2065" y="1366"/>
                      </a:lnTo>
                      <a:lnTo>
                        <a:pt x="2087" y="1361"/>
                      </a:lnTo>
                      <a:lnTo>
                        <a:pt x="2098" y="1361"/>
                      </a:lnTo>
                      <a:lnTo>
                        <a:pt x="2103" y="1362"/>
                      </a:lnTo>
                      <a:lnTo>
                        <a:pt x="2102" y="1366"/>
                      </a:lnTo>
                      <a:lnTo>
                        <a:pt x="2100" y="1367"/>
                      </a:lnTo>
                      <a:lnTo>
                        <a:pt x="2100" y="1370"/>
                      </a:lnTo>
                      <a:lnTo>
                        <a:pt x="2107" y="1373"/>
                      </a:lnTo>
                      <a:lnTo>
                        <a:pt x="2117" y="1377"/>
                      </a:lnTo>
                      <a:lnTo>
                        <a:pt x="2143" y="1392"/>
                      </a:lnTo>
                      <a:lnTo>
                        <a:pt x="2147" y="1397"/>
                      </a:lnTo>
                      <a:lnTo>
                        <a:pt x="2152" y="1406"/>
                      </a:lnTo>
                      <a:lnTo>
                        <a:pt x="2157" y="1410"/>
                      </a:lnTo>
                      <a:lnTo>
                        <a:pt x="2171" y="1406"/>
                      </a:lnTo>
                      <a:lnTo>
                        <a:pt x="2186" y="1404"/>
                      </a:lnTo>
                      <a:lnTo>
                        <a:pt x="2199" y="1397"/>
                      </a:lnTo>
                      <a:lnTo>
                        <a:pt x="2205" y="1397"/>
                      </a:lnTo>
                      <a:lnTo>
                        <a:pt x="2206" y="1397"/>
                      </a:lnTo>
                      <a:lnTo>
                        <a:pt x="2208" y="1390"/>
                      </a:lnTo>
                      <a:lnTo>
                        <a:pt x="2213" y="1387"/>
                      </a:lnTo>
                      <a:lnTo>
                        <a:pt x="2221" y="1387"/>
                      </a:lnTo>
                      <a:lnTo>
                        <a:pt x="2226" y="1387"/>
                      </a:lnTo>
                      <a:lnTo>
                        <a:pt x="2236" y="1390"/>
                      </a:lnTo>
                      <a:lnTo>
                        <a:pt x="2243" y="1398"/>
                      </a:lnTo>
                      <a:lnTo>
                        <a:pt x="2253" y="1409"/>
                      </a:lnTo>
                      <a:lnTo>
                        <a:pt x="2258" y="1411"/>
                      </a:lnTo>
                      <a:lnTo>
                        <a:pt x="2259" y="1421"/>
                      </a:lnTo>
                      <a:lnTo>
                        <a:pt x="2264" y="1424"/>
                      </a:lnTo>
                      <a:lnTo>
                        <a:pt x="2274" y="1437"/>
                      </a:lnTo>
                      <a:lnTo>
                        <a:pt x="2280" y="1441"/>
                      </a:lnTo>
                      <a:lnTo>
                        <a:pt x="2292" y="1446"/>
                      </a:lnTo>
                      <a:lnTo>
                        <a:pt x="2295" y="1449"/>
                      </a:lnTo>
                      <a:lnTo>
                        <a:pt x="2296" y="1457"/>
                      </a:lnTo>
                      <a:lnTo>
                        <a:pt x="2297" y="1476"/>
                      </a:lnTo>
                      <a:lnTo>
                        <a:pt x="2292" y="1511"/>
                      </a:lnTo>
                      <a:lnTo>
                        <a:pt x="2292" y="1517"/>
                      </a:lnTo>
                      <a:lnTo>
                        <a:pt x="2295" y="1527"/>
                      </a:lnTo>
                      <a:lnTo>
                        <a:pt x="2295" y="1528"/>
                      </a:lnTo>
                      <a:lnTo>
                        <a:pt x="2300" y="1528"/>
                      </a:lnTo>
                      <a:lnTo>
                        <a:pt x="2301" y="1518"/>
                      </a:lnTo>
                      <a:lnTo>
                        <a:pt x="2305" y="1521"/>
                      </a:lnTo>
                      <a:lnTo>
                        <a:pt x="2308" y="1524"/>
                      </a:lnTo>
                      <a:lnTo>
                        <a:pt x="2305" y="1537"/>
                      </a:lnTo>
                      <a:lnTo>
                        <a:pt x="2303" y="1545"/>
                      </a:lnTo>
                      <a:lnTo>
                        <a:pt x="2305" y="1556"/>
                      </a:lnTo>
                      <a:lnTo>
                        <a:pt x="2310" y="1566"/>
                      </a:lnTo>
                      <a:lnTo>
                        <a:pt x="2323" y="1587"/>
                      </a:lnTo>
                      <a:lnTo>
                        <a:pt x="2326" y="1587"/>
                      </a:lnTo>
                      <a:lnTo>
                        <a:pt x="2333" y="1585"/>
                      </a:lnTo>
                      <a:lnTo>
                        <a:pt x="2335" y="1602"/>
                      </a:lnTo>
                      <a:lnTo>
                        <a:pt x="2340" y="1601"/>
                      </a:lnTo>
                      <a:lnTo>
                        <a:pt x="2340" y="1601"/>
                      </a:lnTo>
                      <a:lnTo>
                        <a:pt x="2338" y="1605"/>
                      </a:lnTo>
                      <a:lnTo>
                        <a:pt x="2337" y="1609"/>
                      </a:lnTo>
                      <a:lnTo>
                        <a:pt x="2345" y="1623"/>
                      </a:lnTo>
                      <a:lnTo>
                        <a:pt x="2349" y="1635"/>
                      </a:lnTo>
                      <a:lnTo>
                        <a:pt x="2353" y="1641"/>
                      </a:lnTo>
                      <a:lnTo>
                        <a:pt x="2358" y="1647"/>
                      </a:lnTo>
                      <a:lnTo>
                        <a:pt x="2366" y="1647"/>
                      </a:lnTo>
                      <a:lnTo>
                        <a:pt x="2371" y="1653"/>
                      </a:lnTo>
                      <a:lnTo>
                        <a:pt x="2381" y="1674"/>
                      </a:lnTo>
                      <a:lnTo>
                        <a:pt x="2381" y="1688"/>
                      </a:lnTo>
                      <a:lnTo>
                        <a:pt x="2382" y="1690"/>
                      </a:lnTo>
                      <a:lnTo>
                        <a:pt x="2386" y="1693"/>
                      </a:lnTo>
                      <a:lnTo>
                        <a:pt x="2399" y="1693"/>
                      </a:lnTo>
                      <a:lnTo>
                        <a:pt x="2409" y="1690"/>
                      </a:lnTo>
                      <a:lnTo>
                        <a:pt x="2421" y="1684"/>
                      </a:lnTo>
                      <a:lnTo>
                        <a:pt x="2429" y="1688"/>
                      </a:lnTo>
                      <a:lnTo>
                        <a:pt x="2432" y="1680"/>
                      </a:lnTo>
                      <a:lnTo>
                        <a:pt x="2429" y="1677"/>
                      </a:lnTo>
                      <a:lnTo>
                        <a:pt x="2434" y="1657"/>
                      </a:lnTo>
                      <a:lnTo>
                        <a:pt x="2440" y="1636"/>
                      </a:lnTo>
                      <a:lnTo>
                        <a:pt x="2442" y="1617"/>
                      </a:lnTo>
                      <a:lnTo>
                        <a:pt x="2440" y="1597"/>
                      </a:lnTo>
                      <a:lnTo>
                        <a:pt x="2441" y="1583"/>
                      </a:lnTo>
                      <a:lnTo>
                        <a:pt x="2424" y="1539"/>
                      </a:lnTo>
                      <a:lnTo>
                        <a:pt x="2414" y="1522"/>
                      </a:lnTo>
                      <a:lnTo>
                        <a:pt x="2412" y="1508"/>
                      </a:lnTo>
                      <a:lnTo>
                        <a:pt x="2414" y="1492"/>
                      </a:lnTo>
                      <a:lnTo>
                        <a:pt x="2412" y="1483"/>
                      </a:lnTo>
                      <a:lnTo>
                        <a:pt x="2404" y="1469"/>
                      </a:lnTo>
                      <a:lnTo>
                        <a:pt x="2387" y="1441"/>
                      </a:lnTo>
                      <a:lnTo>
                        <a:pt x="2374" y="1400"/>
                      </a:lnTo>
                      <a:lnTo>
                        <a:pt x="2362" y="1354"/>
                      </a:lnTo>
                      <a:lnTo>
                        <a:pt x="2365" y="1348"/>
                      </a:lnTo>
                      <a:lnTo>
                        <a:pt x="2365" y="1332"/>
                      </a:lnTo>
                      <a:lnTo>
                        <a:pt x="2371" y="1322"/>
                      </a:lnTo>
                      <a:lnTo>
                        <a:pt x="2374" y="1311"/>
                      </a:lnTo>
                      <a:lnTo>
                        <a:pt x="2377" y="1302"/>
                      </a:lnTo>
                      <a:lnTo>
                        <a:pt x="2389" y="1274"/>
                      </a:lnTo>
                      <a:lnTo>
                        <a:pt x="2396" y="1264"/>
                      </a:lnTo>
                      <a:lnTo>
                        <a:pt x="2398" y="1264"/>
                      </a:lnTo>
                      <a:lnTo>
                        <a:pt x="2398" y="1259"/>
                      </a:lnTo>
                      <a:lnTo>
                        <a:pt x="2399" y="1257"/>
                      </a:lnTo>
                      <a:lnTo>
                        <a:pt x="2408" y="1252"/>
                      </a:lnTo>
                      <a:lnTo>
                        <a:pt x="2413" y="1252"/>
                      </a:lnTo>
                      <a:lnTo>
                        <a:pt x="2417" y="1247"/>
                      </a:lnTo>
                      <a:lnTo>
                        <a:pt x="2414" y="1242"/>
                      </a:lnTo>
                      <a:lnTo>
                        <a:pt x="2409" y="1234"/>
                      </a:lnTo>
                      <a:lnTo>
                        <a:pt x="2409" y="1232"/>
                      </a:lnTo>
                      <a:lnTo>
                        <a:pt x="2409" y="1230"/>
                      </a:lnTo>
                      <a:lnTo>
                        <a:pt x="2425" y="1228"/>
                      </a:lnTo>
                      <a:lnTo>
                        <a:pt x="2441" y="1230"/>
                      </a:lnTo>
                      <a:lnTo>
                        <a:pt x="2446" y="1228"/>
                      </a:lnTo>
                      <a:lnTo>
                        <a:pt x="2468" y="1210"/>
                      </a:lnTo>
                      <a:lnTo>
                        <a:pt x="2471" y="1210"/>
                      </a:lnTo>
                      <a:lnTo>
                        <a:pt x="2475" y="1206"/>
                      </a:lnTo>
                      <a:lnTo>
                        <a:pt x="2478" y="1199"/>
                      </a:lnTo>
                      <a:lnTo>
                        <a:pt x="2487" y="1196"/>
                      </a:lnTo>
                      <a:lnTo>
                        <a:pt x="2493" y="1192"/>
                      </a:lnTo>
                      <a:lnTo>
                        <a:pt x="2495" y="1185"/>
                      </a:lnTo>
                      <a:lnTo>
                        <a:pt x="2493" y="1179"/>
                      </a:lnTo>
                      <a:lnTo>
                        <a:pt x="2499" y="1174"/>
                      </a:lnTo>
                      <a:lnTo>
                        <a:pt x="2505" y="1163"/>
                      </a:lnTo>
                      <a:lnTo>
                        <a:pt x="2512" y="1156"/>
                      </a:lnTo>
                      <a:lnTo>
                        <a:pt x="2526" y="1150"/>
                      </a:lnTo>
                      <a:lnTo>
                        <a:pt x="2527" y="1145"/>
                      </a:lnTo>
                      <a:lnTo>
                        <a:pt x="2533" y="1144"/>
                      </a:lnTo>
                      <a:lnTo>
                        <a:pt x="2550" y="1141"/>
                      </a:lnTo>
                      <a:lnTo>
                        <a:pt x="2569" y="1133"/>
                      </a:lnTo>
                      <a:lnTo>
                        <a:pt x="2571" y="1126"/>
                      </a:lnTo>
                      <a:lnTo>
                        <a:pt x="2574" y="1123"/>
                      </a:lnTo>
                      <a:lnTo>
                        <a:pt x="2579" y="1118"/>
                      </a:lnTo>
                      <a:lnTo>
                        <a:pt x="2585" y="1109"/>
                      </a:lnTo>
                      <a:lnTo>
                        <a:pt x="2592" y="1103"/>
                      </a:lnTo>
                      <a:lnTo>
                        <a:pt x="2611" y="1094"/>
                      </a:lnTo>
                      <a:lnTo>
                        <a:pt x="2631" y="1093"/>
                      </a:lnTo>
                      <a:lnTo>
                        <a:pt x="2646" y="1083"/>
                      </a:lnTo>
                      <a:lnTo>
                        <a:pt x="2649" y="1079"/>
                      </a:lnTo>
                      <a:lnTo>
                        <a:pt x="2649" y="1071"/>
                      </a:lnTo>
                      <a:lnTo>
                        <a:pt x="2640" y="1069"/>
                      </a:lnTo>
                      <a:lnTo>
                        <a:pt x="2635" y="1071"/>
                      </a:lnTo>
                      <a:lnTo>
                        <a:pt x="2634" y="1074"/>
                      </a:lnTo>
                      <a:lnTo>
                        <a:pt x="2634" y="1071"/>
                      </a:lnTo>
                      <a:lnTo>
                        <a:pt x="2634" y="1065"/>
                      </a:lnTo>
                      <a:lnTo>
                        <a:pt x="2639" y="1061"/>
                      </a:lnTo>
                      <a:lnTo>
                        <a:pt x="2640" y="1056"/>
                      </a:lnTo>
                      <a:lnTo>
                        <a:pt x="2645" y="1053"/>
                      </a:lnTo>
                      <a:lnTo>
                        <a:pt x="2641" y="1048"/>
                      </a:lnTo>
                      <a:lnTo>
                        <a:pt x="2625" y="1042"/>
                      </a:lnTo>
                      <a:lnTo>
                        <a:pt x="2639" y="1042"/>
                      </a:lnTo>
                      <a:lnTo>
                        <a:pt x="2645" y="1037"/>
                      </a:lnTo>
                      <a:lnTo>
                        <a:pt x="2647" y="1043"/>
                      </a:lnTo>
                      <a:lnTo>
                        <a:pt x="2651" y="1043"/>
                      </a:lnTo>
                      <a:lnTo>
                        <a:pt x="2655" y="1048"/>
                      </a:lnTo>
                      <a:lnTo>
                        <a:pt x="2665" y="1048"/>
                      </a:lnTo>
                      <a:lnTo>
                        <a:pt x="2671" y="1044"/>
                      </a:lnTo>
                      <a:lnTo>
                        <a:pt x="2679" y="1032"/>
                      </a:lnTo>
                      <a:lnTo>
                        <a:pt x="2686" y="1028"/>
                      </a:lnTo>
                      <a:lnTo>
                        <a:pt x="2686" y="1020"/>
                      </a:lnTo>
                      <a:lnTo>
                        <a:pt x="2684" y="1013"/>
                      </a:lnTo>
                      <a:lnTo>
                        <a:pt x="2679" y="1007"/>
                      </a:lnTo>
                      <a:lnTo>
                        <a:pt x="2674" y="1012"/>
                      </a:lnTo>
                      <a:lnTo>
                        <a:pt x="2670" y="1023"/>
                      </a:lnTo>
                      <a:lnTo>
                        <a:pt x="2670" y="1023"/>
                      </a:lnTo>
                      <a:lnTo>
                        <a:pt x="2667" y="1018"/>
                      </a:lnTo>
                      <a:lnTo>
                        <a:pt x="2666" y="1006"/>
                      </a:lnTo>
                      <a:lnTo>
                        <a:pt x="2641" y="1010"/>
                      </a:lnTo>
                      <a:lnTo>
                        <a:pt x="2635" y="1008"/>
                      </a:lnTo>
                      <a:lnTo>
                        <a:pt x="2634" y="1001"/>
                      </a:lnTo>
                      <a:lnTo>
                        <a:pt x="2634" y="986"/>
                      </a:lnTo>
                      <a:lnTo>
                        <a:pt x="2635" y="984"/>
                      </a:lnTo>
                      <a:lnTo>
                        <a:pt x="2639" y="997"/>
                      </a:lnTo>
                      <a:lnTo>
                        <a:pt x="2643" y="1000"/>
                      </a:lnTo>
                      <a:lnTo>
                        <a:pt x="2647" y="1000"/>
                      </a:lnTo>
                      <a:lnTo>
                        <a:pt x="2662" y="991"/>
                      </a:lnTo>
                      <a:lnTo>
                        <a:pt x="2666" y="993"/>
                      </a:lnTo>
                      <a:lnTo>
                        <a:pt x="2666" y="989"/>
                      </a:lnTo>
                      <a:lnTo>
                        <a:pt x="2672" y="991"/>
                      </a:lnTo>
                      <a:lnTo>
                        <a:pt x="2678" y="991"/>
                      </a:lnTo>
                      <a:lnTo>
                        <a:pt x="2682" y="999"/>
                      </a:lnTo>
                      <a:lnTo>
                        <a:pt x="2682" y="997"/>
                      </a:lnTo>
                      <a:lnTo>
                        <a:pt x="2679" y="990"/>
                      </a:lnTo>
                      <a:lnTo>
                        <a:pt x="2677" y="984"/>
                      </a:lnTo>
                      <a:lnTo>
                        <a:pt x="2674" y="975"/>
                      </a:lnTo>
                      <a:lnTo>
                        <a:pt x="2673" y="973"/>
                      </a:lnTo>
                      <a:lnTo>
                        <a:pt x="2676" y="957"/>
                      </a:lnTo>
                      <a:lnTo>
                        <a:pt x="2674" y="943"/>
                      </a:lnTo>
                      <a:lnTo>
                        <a:pt x="2657" y="938"/>
                      </a:lnTo>
                      <a:lnTo>
                        <a:pt x="2655" y="940"/>
                      </a:lnTo>
                      <a:lnTo>
                        <a:pt x="2654" y="942"/>
                      </a:lnTo>
                      <a:lnTo>
                        <a:pt x="2647" y="940"/>
                      </a:lnTo>
                      <a:lnTo>
                        <a:pt x="2643" y="936"/>
                      </a:lnTo>
                      <a:lnTo>
                        <a:pt x="2643" y="931"/>
                      </a:lnTo>
                      <a:lnTo>
                        <a:pt x="2652" y="931"/>
                      </a:lnTo>
                      <a:lnTo>
                        <a:pt x="2657" y="929"/>
                      </a:lnTo>
                      <a:lnTo>
                        <a:pt x="2656" y="925"/>
                      </a:lnTo>
                      <a:lnTo>
                        <a:pt x="2651" y="923"/>
                      </a:lnTo>
                      <a:lnTo>
                        <a:pt x="2649" y="916"/>
                      </a:lnTo>
                      <a:lnTo>
                        <a:pt x="2649" y="913"/>
                      </a:lnTo>
                      <a:lnTo>
                        <a:pt x="2654" y="910"/>
                      </a:lnTo>
                      <a:lnTo>
                        <a:pt x="2657" y="910"/>
                      </a:lnTo>
                      <a:lnTo>
                        <a:pt x="2654" y="903"/>
                      </a:lnTo>
                      <a:lnTo>
                        <a:pt x="2649" y="899"/>
                      </a:lnTo>
                      <a:lnTo>
                        <a:pt x="2647" y="892"/>
                      </a:lnTo>
                      <a:lnTo>
                        <a:pt x="2647" y="891"/>
                      </a:lnTo>
                      <a:lnTo>
                        <a:pt x="2651" y="889"/>
                      </a:lnTo>
                      <a:lnTo>
                        <a:pt x="2654" y="877"/>
                      </a:lnTo>
                      <a:lnTo>
                        <a:pt x="2654" y="871"/>
                      </a:lnTo>
                      <a:lnTo>
                        <a:pt x="2647" y="864"/>
                      </a:lnTo>
                      <a:lnTo>
                        <a:pt x="2635" y="857"/>
                      </a:lnTo>
                      <a:lnTo>
                        <a:pt x="2625" y="855"/>
                      </a:lnTo>
                      <a:lnTo>
                        <a:pt x="2616" y="846"/>
                      </a:lnTo>
                      <a:lnTo>
                        <a:pt x="2598" y="838"/>
                      </a:lnTo>
                      <a:lnTo>
                        <a:pt x="2597" y="835"/>
                      </a:lnTo>
                      <a:lnTo>
                        <a:pt x="2597" y="832"/>
                      </a:lnTo>
                      <a:lnTo>
                        <a:pt x="2600" y="825"/>
                      </a:lnTo>
                      <a:lnTo>
                        <a:pt x="2604" y="824"/>
                      </a:lnTo>
                      <a:lnTo>
                        <a:pt x="2604" y="827"/>
                      </a:lnTo>
                      <a:lnTo>
                        <a:pt x="2601" y="833"/>
                      </a:lnTo>
                      <a:lnTo>
                        <a:pt x="2603" y="835"/>
                      </a:lnTo>
                      <a:lnTo>
                        <a:pt x="2611" y="837"/>
                      </a:lnTo>
                      <a:lnTo>
                        <a:pt x="2622" y="843"/>
                      </a:lnTo>
                      <a:lnTo>
                        <a:pt x="2628" y="843"/>
                      </a:lnTo>
                      <a:lnTo>
                        <a:pt x="2631" y="846"/>
                      </a:lnTo>
                      <a:lnTo>
                        <a:pt x="2639" y="849"/>
                      </a:lnTo>
                      <a:lnTo>
                        <a:pt x="2644" y="854"/>
                      </a:lnTo>
                      <a:lnTo>
                        <a:pt x="2651" y="857"/>
                      </a:lnTo>
                      <a:lnTo>
                        <a:pt x="2646" y="841"/>
                      </a:lnTo>
                      <a:lnTo>
                        <a:pt x="2640" y="835"/>
                      </a:lnTo>
                      <a:lnTo>
                        <a:pt x="2645" y="834"/>
                      </a:lnTo>
                      <a:lnTo>
                        <a:pt x="2645" y="833"/>
                      </a:lnTo>
                      <a:lnTo>
                        <a:pt x="2643" y="828"/>
                      </a:lnTo>
                      <a:lnTo>
                        <a:pt x="2641" y="816"/>
                      </a:lnTo>
                      <a:lnTo>
                        <a:pt x="2644" y="790"/>
                      </a:lnTo>
                      <a:lnTo>
                        <a:pt x="2641" y="781"/>
                      </a:lnTo>
                      <a:lnTo>
                        <a:pt x="2649" y="778"/>
                      </a:lnTo>
                      <a:lnTo>
                        <a:pt x="2662" y="767"/>
                      </a:lnTo>
                      <a:lnTo>
                        <a:pt x="2666" y="760"/>
                      </a:lnTo>
                      <a:lnTo>
                        <a:pt x="2668" y="755"/>
                      </a:lnTo>
                      <a:lnTo>
                        <a:pt x="2671" y="755"/>
                      </a:lnTo>
                      <a:lnTo>
                        <a:pt x="2673" y="758"/>
                      </a:lnTo>
                      <a:lnTo>
                        <a:pt x="2674" y="760"/>
                      </a:lnTo>
                      <a:lnTo>
                        <a:pt x="2672" y="767"/>
                      </a:lnTo>
                      <a:lnTo>
                        <a:pt x="2670" y="770"/>
                      </a:lnTo>
                      <a:lnTo>
                        <a:pt x="2665" y="773"/>
                      </a:lnTo>
                      <a:lnTo>
                        <a:pt x="2661" y="778"/>
                      </a:lnTo>
                      <a:lnTo>
                        <a:pt x="2661" y="782"/>
                      </a:lnTo>
                      <a:lnTo>
                        <a:pt x="2663" y="789"/>
                      </a:lnTo>
                      <a:lnTo>
                        <a:pt x="2662" y="792"/>
                      </a:lnTo>
                      <a:lnTo>
                        <a:pt x="2655" y="801"/>
                      </a:lnTo>
                      <a:lnTo>
                        <a:pt x="2656" y="803"/>
                      </a:lnTo>
                      <a:lnTo>
                        <a:pt x="2662" y="803"/>
                      </a:lnTo>
                      <a:lnTo>
                        <a:pt x="2663" y="806"/>
                      </a:lnTo>
                      <a:lnTo>
                        <a:pt x="2663" y="812"/>
                      </a:lnTo>
                      <a:lnTo>
                        <a:pt x="2663" y="821"/>
                      </a:lnTo>
                      <a:lnTo>
                        <a:pt x="2660" y="823"/>
                      </a:lnTo>
                      <a:lnTo>
                        <a:pt x="2657" y="827"/>
                      </a:lnTo>
                      <a:lnTo>
                        <a:pt x="2656" y="832"/>
                      </a:lnTo>
                      <a:lnTo>
                        <a:pt x="2657" y="838"/>
                      </a:lnTo>
                      <a:lnTo>
                        <a:pt x="2663" y="845"/>
                      </a:lnTo>
                      <a:lnTo>
                        <a:pt x="2672" y="846"/>
                      </a:lnTo>
                      <a:lnTo>
                        <a:pt x="2676" y="848"/>
                      </a:lnTo>
                      <a:lnTo>
                        <a:pt x="2681" y="859"/>
                      </a:lnTo>
                      <a:lnTo>
                        <a:pt x="2682" y="865"/>
                      </a:lnTo>
                      <a:lnTo>
                        <a:pt x="2683" y="867"/>
                      </a:lnTo>
                      <a:lnTo>
                        <a:pt x="2688" y="870"/>
                      </a:lnTo>
                      <a:lnTo>
                        <a:pt x="2687" y="876"/>
                      </a:lnTo>
                      <a:lnTo>
                        <a:pt x="2682" y="877"/>
                      </a:lnTo>
                      <a:lnTo>
                        <a:pt x="2679" y="881"/>
                      </a:lnTo>
                      <a:lnTo>
                        <a:pt x="2671" y="903"/>
                      </a:lnTo>
                      <a:lnTo>
                        <a:pt x="2671" y="911"/>
                      </a:lnTo>
                      <a:lnTo>
                        <a:pt x="2672" y="923"/>
                      </a:lnTo>
                      <a:lnTo>
                        <a:pt x="2674" y="925"/>
                      </a:lnTo>
                      <a:lnTo>
                        <a:pt x="2679" y="924"/>
                      </a:lnTo>
                      <a:lnTo>
                        <a:pt x="2683" y="921"/>
                      </a:lnTo>
                      <a:lnTo>
                        <a:pt x="2686" y="916"/>
                      </a:lnTo>
                      <a:lnTo>
                        <a:pt x="2693" y="892"/>
                      </a:lnTo>
                      <a:lnTo>
                        <a:pt x="2709" y="862"/>
                      </a:lnTo>
                      <a:lnTo>
                        <a:pt x="2709" y="854"/>
                      </a:lnTo>
                      <a:lnTo>
                        <a:pt x="2717" y="843"/>
                      </a:lnTo>
                      <a:lnTo>
                        <a:pt x="2720" y="834"/>
                      </a:lnTo>
                      <a:lnTo>
                        <a:pt x="2722" y="828"/>
                      </a:lnTo>
                      <a:lnTo>
                        <a:pt x="2717" y="811"/>
                      </a:lnTo>
                      <a:lnTo>
                        <a:pt x="2708" y="796"/>
                      </a:lnTo>
                      <a:lnTo>
                        <a:pt x="2694" y="771"/>
                      </a:lnTo>
                      <a:lnTo>
                        <a:pt x="2692" y="763"/>
                      </a:lnTo>
                      <a:lnTo>
                        <a:pt x="2694" y="757"/>
                      </a:lnTo>
                      <a:lnTo>
                        <a:pt x="2700" y="764"/>
                      </a:lnTo>
                      <a:lnTo>
                        <a:pt x="2708" y="773"/>
                      </a:lnTo>
                      <a:lnTo>
                        <a:pt x="2715" y="775"/>
                      </a:lnTo>
                      <a:lnTo>
                        <a:pt x="2721" y="780"/>
                      </a:lnTo>
                      <a:lnTo>
                        <a:pt x="2732" y="781"/>
                      </a:lnTo>
                      <a:lnTo>
                        <a:pt x="2731" y="795"/>
                      </a:lnTo>
                      <a:lnTo>
                        <a:pt x="2732" y="797"/>
                      </a:lnTo>
                      <a:lnTo>
                        <a:pt x="2740" y="790"/>
                      </a:lnTo>
                      <a:lnTo>
                        <a:pt x="2751" y="773"/>
                      </a:lnTo>
                      <a:lnTo>
                        <a:pt x="2758" y="765"/>
                      </a:lnTo>
                      <a:lnTo>
                        <a:pt x="2762" y="759"/>
                      </a:lnTo>
                      <a:lnTo>
                        <a:pt x="2762" y="754"/>
                      </a:lnTo>
                      <a:lnTo>
                        <a:pt x="2767" y="752"/>
                      </a:lnTo>
                      <a:lnTo>
                        <a:pt x="2769" y="749"/>
                      </a:lnTo>
                      <a:lnTo>
                        <a:pt x="2773" y="730"/>
                      </a:lnTo>
                      <a:lnTo>
                        <a:pt x="2774" y="727"/>
                      </a:lnTo>
                      <a:lnTo>
                        <a:pt x="2776" y="728"/>
                      </a:lnTo>
                      <a:lnTo>
                        <a:pt x="2779" y="727"/>
                      </a:lnTo>
                      <a:lnTo>
                        <a:pt x="2783" y="712"/>
                      </a:lnTo>
                      <a:lnTo>
                        <a:pt x="2784" y="708"/>
                      </a:lnTo>
                      <a:lnTo>
                        <a:pt x="2781" y="703"/>
                      </a:lnTo>
                      <a:lnTo>
                        <a:pt x="2776" y="697"/>
                      </a:lnTo>
                      <a:lnTo>
                        <a:pt x="2769" y="693"/>
                      </a:lnTo>
                      <a:lnTo>
                        <a:pt x="2769" y="690"/>
                      </a:lnTo>
                      <a:lnTo>
                        <a:pt x="2769" y="687"/>
                      </a:lnTo>
                      <a:lnTo>
                        <a:pt x="2773" y="678"/>
                      </a:lnTo>
                      <a:lnTo>
                        <a:pt x="2775" y="674"/>
                      </a:lnTo>
                      <a:lnTo>
                        <a:pt x="2785" y="662"/>
                      </a:lnTo>
                      <a:lnTo>
                        <a:pt x="2790" y="662"/>
                      </a:lnTo>
                      <a:lnTo>
                        <a:pt x="2796" y="652"/>
                      </a:lnTo>
                      <a:lnTo>
                        <a:pt x="2807" y="650"/>
                      </a:lnTo>
                      <a:lnTo>
                        <a:pt x="2819" y="644"/>
                      </a:lnTo>
                      <a:lnTo>
                        <a:pt x="2830" y="641"/>
                      </a:lnTo>
                      <a:lnTo>
                        <a:pt x="2835" y="635"/>
                      </a:lnTo>
                      <a:lnTo>
                        <a:pt x="2843" y="631"/>
                      </a:lnTo>
                      <a:lnTo>
                        <a:pt x="2856" y="634"/>
                      </a:lnTo>
                      <a:lnTo>
                        <a:pt x="2869" y="631"/>
                      </a:lnTo>
                      <a:lnTo>
                        <a:pt x="2894" y="630"/>
                      </a:lnTo>
                      <a:lnTo>
                        <a:pt x="2913" y="625"/>
                      </a:lnTo>
                      <a:lnTo>
                        <a:pt x="2918" y="623"/>
                      </a:lnTo>
                      <a:lnTo>
                        <a:pt x="2923" y="619"/>
                      </a:lnTo>
                      <a:lnTo>
                        <a:pt x="2929" y="604"/>
                      </a:lnTo>
                      <a:lnTo>
                        <a:pt x="2931" y="602"/>
                      </a:lnTo>
                      <a:lnTo>
                        <a:pt x="2936" y="604"/>
                      </a:lnTo>
                      <a:lnTo>
                        <a:pt x="2937" y="614"/>
                      </a:lnTo>
                      <a:lnTo>
                        <a:pt x="2941" y="614"/>
                      </a:lnTo>
                      <a:lnTo>
                        <a:pt x="2948" y="613"/>
                      </a:lnTo>
                      <a:lnTo>
                        <a:pt x="2963" y="604"/>
                      </a:lnTo>
                      <a:lnTo>
                        <a:pt x="2967" y="604"/>
                      </a:lnTo>
                      <a:lnTo>
                        <a:pt x="2969" y="612"/>
                      </a:lnTo>
                      <a:lnTo>
                        <a:pt x="2974" y="613"/>
                      </a:lnTo>
                      <a:lnTo>
                        <a:pt x="2987" y="608"/>
                      </a:lnTo>
                      <a:lnTo>
                        <a:pt x="2993" y="609"/>
                      </a:lnTo>
                      <a:lnTo>
                        <a:pt x="3004" y="602"/>
                      </a:lnTo>
                      <a:lnTo>
                        <a:pt x="3006" y="599"/>
                      </a:lnTo>
                      <a:lnTo>
                        <a:pt x="3004" y="586"/>
                      </a:lnTo>
                      <a:lnTo>
                        <a:pt x="3002" y="583"/>
                      </a:lnTo>
                      <a:lnTo>
                        <a:pt x="3000" y="583"/>
                      </a:lnTo>
                      <a:lnTo>
                        <a:pt x="3000" y="596"/>
                      </a:lnTo>
                      <a:lnTo>
                        <a:pt x="2999" y="599"/>
                      </a:lnTo>
                      <a:lnTo>
                        <a:pt x="2991" y="602"/>
                      </a:lnTo>
                      <a:lnTo>
                        <a:pt x="2982" y="599"/>
                      </a:lnTo>
                      <a:lnTo>
                        <a:pt x="2972" y="593"/>
                      </a:lnTo>
                      <a:lnTo>
                        <a:pt x="2967" y="582"/>
                      </a:lnTo>
                      <a:lnTo>
                        <a:pt x="2963" y="580"/>
                      </a:lnTo>
                      <a:lnTo>
                        <a:pt x="2962" y="569"/>
                      </a:lnTo>
                      <a:lnTo>
                        <a:pt x="2957" y="564"/>
                      </a:lnTo>
                      <a:lnTo>
                        <a:pt x="2948" y="559"/>
                      </a:lnTo>
                      <a:lnTo>
                        <a:pt x="2947" y="558"/>
                      </a:lnTo>
                      <a:lnTo>
                        <a:pt x="2947" y="552"/>
                      </a:lnTo>
                      <a:lnTo>
                        <a:pt x="2950" y="548"/>
                      </a:lnTo>
                      <a:lnTo>
                        <a:pt x="2953" y="547"/>
                      </a:lnTo>
                      <a:lnTo>
                        <a:pt x="2957" y="538"/>
                      </a:lnTo>
                      <a:lnTo>
                        <a:pt x="2962" y="536"/>
                      </a:lnTo>
                      <a:lnTo>
                        <a:pt x="2957" y="528"/>
                      </a:lnTo>
                      <a:lnTo>
                        <a:pt x="2951" y="515"/>
                      </a:lnTo>
                      <a:lnTo>
                        <a:pt x="2956" y="500"/>
                      </a:lnTo>
                      <a:lnTo>
                        <a:pt x="2971" y="488"/>
                      </a:lnTo>
                      <a:lnTo>
                        <a:pt x="2982" y="470"/>
                      </a:lnTo>
                      <a:lnTo>
                        <a:pt x="2987" y="466"/>
                      </a:lnTo>
                      <a:lnTo>
                        <a:pt x="2989" y="455"/>
                      </a:lnTo>
                      <a:lnTo>
                        <a:pt x="2996" y="446"/>
                      </a:lnTo>
                      <a:lnTo>
                        <a:pt x="3005" y="442"/>
                      </a:lnTo>
                      <a:lnTo>
                        <a:pt x="3009" y="443"/>
                      </a:lnTo>
                      <a:lnTo>
                        <a:pt x="3011" y="451"/>
                      </a:lnTo>
                      <a:lnTo>
                        <a:pt x="3014" y="451"/>
                      </a:lnTo>
                      <a:lnTo>
                        <a:pt x="3017" y="447"/>
                      </a:lnTo>
                      <a:lnTo>
                        <a:pt x="3020" y="437"/>
                      </a:lnTo>
                      <a:lnTo>
                        <a:pt x="3022" y="437"/>
                      </a:lnTo>
                      <a:lnTo>
                        <a:pt x="3025" y="441"/>
                      </a:lnTo>
                      <a:lnTo>
                        <a:pt x="3027" y="441"/>
                      </a:lnTo>
                      <a:lnTo>
                        <a:pt x="3032" y="440"/>
                      </a:lnTo>
                      <a:lnTo>
                        <a:pt x="3036" y="432"/>
                      </a:lnTo>
                      <a:lnTo>
                        <a:pt x="3039" y="429"/>
                      </a:lnTo>
                      <a:lnTo>
                        <a:pt x="3045" y="431"/>
                      </a:lnTo>
                      <a:lnTo>
                        <a:pt x="3048" y="430"/>
                      </a:lnTo>
                      <a:lnTo>
                        <a:pt x="3053" y="421"/>
                      </a:lnTo>
                      <a:lnTo>
                        <a:pt x="3054" y="414"/>
                      </a:lnTo>
                      <a:lnTo>
                        <a:pt x="3058" y="408"/>
                      </a:lnTo>
                      <a:lnTo>
                        <a:pt x="3059" y="398"/>
                      </a:lnTo>
                      <a:lnTo>
                        <a:pt x="3065" y="393"/>
                      </a:lnTo>
                      <a:lnTo>
                        <a:pt x="3068" y="392"/>
                      </a:lnTo>
                      <a:lnTo>
                        <a:pt x="3070" y="393"/>
                      </a:lnTo>
                      <a:lnTo>
                        <a:pt x="3071" y="400"/>
                      </a:lnTo>
                      <a:lnTo>
                        <a:pt x="3072" y="405"/>
                      </a:lnTo>
                      <a:lnTo>
                        <a:pt x="3077" y="407"/>
                      </a:lnTo>
                      <a:lnTo>
                        <a:pt x="3082" y="404"/>
                      </a:lnTo>
                      <a:lnTo>
                        <a:pt x="3092" y="412"/>
                      </a:lnTo>
                      <a:lnTo>
                        <a:pt x="3097" y="410"/>
                      </a:lnTo>
                      <a:lnTo>
                        <a:pt x="3100" y="405"/>
                      </a:lnTo>
                      <a:lnTo>
                        <a:pt x="3107" y="399"/>
                      </a:lnTo>
                      <a:lnTo>
                        <a:pt x="3112" y="399"/>
                      </a:lnTo>
                      <a:lnTo>
                        <a:pt x="3118" y="396"/>
                      </a:lnTo>
                      <a:lnTo>
                        <a:pt x="3120" y="389"/>
                      </a:lnTo>
                      <a:lnTo>
                        <a:pt x="3133" y="388"/>
                      </a:lnTo>
                      <a:lnTo>
                        <a:pt x="3136" y="387"/>
                      </a:lnTo>
                      <a:lnTo>
                        <a:pt x="3141" y="383"/>
                      </a:lnTo>
                      <a:lnTo>
                        <a:pt x="3147" y="383"/>
                      </a:lnTo>
                      <a:lnTo>
                        <a:pt x="3151" y="380"/>
                      </a:lnTo>
                      <a:lnTo>
                        <a:pt x="3158" y="380"/>
                      </a:lnTo>
                      <a:lnTo>
                        <a:pt x="3165" y="375"/>
                      </a:lnTo>
                      <a:lnTo>
                        <a:pt x="3166" y="370"/>
                      </a:lnTo>
                      <a:lnTo>
                        <a:pt x="3165" y="36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en-US" sz="923" b="1" dirty="0">
                    <a:solidFill>
                      <a:srgbClr val="000000"/>
                    </a:solidFill>
                  </a:endParaRPr>
                </a:p>
              </p:txBody>
            </p:sp>
          </p:grpSp>
        </p:grpSp>
        <p:grpSp>
          <p:nvGrpSpPr>
            <p:cNvPr id="146" name="Canada"/>
            <p:cNvGrpSpPr>
              <a:grpSpLocks noChangeAspect="1"/>
            </p:cNvGrpSpPr>
            <p:nvPr/>
          </p:nvGrpSpPr>
          <p:grpSpPr bwMode="gray">
            <a:xfrm>
              <a:off x="832795" y="1055682"/>
              <a:ext cx="2268065" cy="2392148"/>
              <a:chOff x="969" y="960"/>
              <a:chExt cx="969" cy="1022"/>
            </a:xfrm>
            <a:grpFill/>
          </p:grpSpPr>
          <p:sp>
            <p:nvSpPr>
              <p:cNvPr id="186" name="Canada"/>
              <p:cNvSpPr>
                <a:spLocks noChangeAspect="1"/>
              </p:cNvSpPr>
              <p:nvPr>
                <p:custDataLst>
                  <p:tags r:id="rId174"/>
                </p:custDataLst>
              </p:nvPr>
            </p:nvSpPr>
            <p:spPr bwMode="gray">
              <a:xfrm>
                <a:off x="1903" y="179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3" y="2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7" name="Canada"/>
              <p:cNvSpPr>
                <a:spLocks noChangeAspect="1"/>
              </p:cNvSpPr>
              <p:nvPr>
                <p:custDataLst>
                  <p:tags r:id="rId175"/>
                </p:custDataLst>
              </p:nvPr>
            </p:nvSpPr>
            <p:spPr bwMode="gray">
              <a:xfrm>
                <a:off x="1865" y="1826"/>
                <a:ext cx="73" cy="84"/>
              </a:xfrm>
              <a:custGeom>
                <a:avLst/>
                <a:gdLst/>
                <a:ahLst/>
                <a:cxnLst>
                  <a:cxn ang="0">
                    <a:pos x="147" y="25"/>
                  </a:cxn>
                  <a:cxn ang="0">
                    <a:pos x="138" y="43"/>
                  </a:cxn>
                  <a:cxn ang="0">
                    <a:pos x="129" y="52"/>
                  </a:cxn>
                  <a:cxn ang="0">
                    <a:pos x="120" y="75"/>
                  </a:cxn>
                  <a:cxn ang="0">
                    <a:pos x="115" y="89"/>
                  </a:cxn>
                  <a:cxn ang="0">
                    <a:pos x="103" y="121"/>
                  </a:cxn>
                  <a:cxn ang="0">
                    <a:pos x="92" y="139"/>
                  </a:cxn>
                  <a:cxn ang="0">
                    <a:pos x="82" y="178"/>
                  </a:cxn>
                  <a:cxn ang="0">
                    <a:pos x="65" y="193"/>
                  </a:cxn>
                  <a:cxn ang="0">
                    <a:pos x="71" y="208"/>
                  </a:cxn>
                  <a:cxn ang="0">
                    <a:pos x="71" y="221"/>
                  </a:cxn>
                  <a:cxn ang="0">
                    <a:pos x="31" y="259"/>
                  </a:cxn>
                  <a:cxn ang="0">
                    <a:pos x="11" y="263"/>
                  </a:cxn>
                  <a:cxn ang="0">
                    <a:pos x="44" y="267"/>
                  </a:cxn>
                  <a:cxn ang="0">
                    <a:pos x="1" y="318"/>
                  </a:cxn>
                  <a:cxn ang="0">
                    <a:pos x="18" y="344"/>
                  </a:cxn>
                  <a:cxn ang="0">
                    <a:pos x="90" y="338"/>
                  </a:cxn>
                  <a:cxn ang="0">
                    <a:pos x="141" y="343"/>
                  </a:cxn>
                  <a:cxn ang="0">
                    <a:pos x="180" y="329"/>
                  </a:cxn>
                  <a:cxn ang="0">
                    <a:pos x="194" y="339"/>
                  </a:cxn>
                  <a:cxn ang="0">
                    <a:pos x="187" y="350"/>
                  </a:cxn>
                  <a:cxn ang="0">
                    <a:pos x="221" y="336"/>
                  </a:cxn>
                  <a:cxn ang="0">
                    <a:pos x="248" y="343"/>
                  </a:cxn>
                  <a:cxn ang="0">
                    <a:pos x="212" y="380"/>
                  </a:cxn>
                  <a:cxn ang="0">
                    <a:pos x="189" y="397"/>
                  </a:cxn>
                  <a:cxn ang="0">
                    <a:pos x="224" y="392"/>
                  </a:cxn>
                  <a:cxn ang="0">
                    <a:pos x="264" y="354"/>
                  </a:cxn>
                  <a:cxn ang="0">
                    <a:pos x="289" y="315"/>
                  </a:cxn>
                  <a:cxn ang="0">
                    <a:pos x="297" y="361"/>
                  </a:cxn>
                  <a:cxn ang="0">
                    <a:pos x="294" y="403"/>
                  </a:cxn>
                  <a:cxn ang="0">
                    <a:pos x="314" y="392"/>
                  </a:cxn>
                  <a:cxn ang="0">
                    <a:pos x="320" y="420"/>
                  </a:cxn>
                  <a:cxn ang="0">
                    <a:pos x="351" y="396"/>
                  </a:cxn>
                  <a:cxn ang="0">
                    <a:pos x="362" y="332"/>
                  </a:cxn>
                  <a:cxn ang="0">
                    <a:pos x="339" y="347"/>
                  </a:cxn>
                  <a:cxn ang="0">
                    <a:pos x="348" y="306"/>
                  </a:cxn>
                  <a:cxn ang="0">
                    <a:pos x="332" y="307"/>
                  </a:cxn>
                  <a:cxn ang="0">
                    <a:pos x="313" y="337"/>
                  </a:cxn>
                  <a:cxn ang="0">
                    <a:pos x="307" y="320"/>
                  </a:cxn>
                  <a:cxn ang="0">
                    <a:pos x="307" y="300"/>
                  </a:cxn>
                  <a:cxn ang="0">
                    <a:pos x="326" y="274"/>
                  </a:cxn>
                  <a:cxn ang="0">
                    <a:pos x="340" y="254"/>
                  </a:cxn>
                  <a:cxn ang="0">
                    <a:pos x="293" y="272"/>
                  </a:cxn>
                  <a:cxn ang="0">
                    <a:pos x="304" y="247"/>
                  </a:cxn>
                  <a:cxn ang="0">
                    <a:pos x="300" y="226"/>
                  </a:cxn>
                  <a:cxn ang="0">
                    <a:pos x="318" y="197"/>
                  </a:cxn>
                  <a:cxn ang="0">
                    <a:pos x="275" y="192"/>
                  </a:cxn>
                  <a:cxn ang="0">
                    <a:pos x="218" y="204"/>
                  </a:cxn>
                  <a:cxn ang="0">
                    <a:pos x="218" y="184"/>
                  </a:cxn>
                  <a:cxn ang="0">
                    <a:pos x="189" y="184"/>
                  </a:cxn>
                  <a:cxn ang="0">
                    <a:pos x="191" y="157"/>
                  </a:cxn>
                  <a:cxn ang="0">
                    <a:pos x="176" y="144"/>
                  </a:cxn>
                  <a:cxn ang="0">
                    <a:pos x="162" y="148"/>
                  </a:cxn>
                  <a:cxn ang="0">
                    <a:pos x="137" y="161"/>
                  </a:cxn>
                  <a:cxn ang="0">
                    <a:pos x="153" y="122"/>
                  </a:cxn>
                  <a:cxn ang="0">
                    <a:pos x="172" y="81"/>
                  </a:cxn>
                  <a:cxn ang="0">
                    <a:pos x="176" y="71"/>
                  </a:cxn>
                  <a:cxn ang="0">
                    <a:pos x="185" y="33"/>
                  </a:cxn>
                  <a:cxn ang="0">
                    <a:pos x="207" y="8"/>
                  </a:cxn>
                  <a:cxn ang="0">
                    <a:pos x="194" y="5"/>
                  </a:cxn>
                </a:cxnLst>
                <a:rect l="0" t="0" r="r" b="b"/>
                <a:pathLst>
                  <a:path w="362" h="420">
                    <a:moveTo>
                      <a:pt x="170" y="11"/>
                    </a:moveTo>
                    <a:lnTo>
                      <a:pt x="159" y="16"/>
                    </a:lnTo>
                    <a:lnTo>
                      <a:pt x="147" y="25"/>
                    </a:lnTo>
                    <a:lnTo>
                      <a:pt x="144" y="33"/>
                    </a:lnTo>
                    <a:lnTo>
                      <a:pt x="141" y="38"/>
                    </a:lnTo>
                    <a:lnTo>
                      <a:pt x="138" y="43"/>
                    </a:lnTo>
                    <a:lnTo>
                      <a:pt x="135" y="46"/>
                    </a:lnTo>
                    <a:lnTo>
                      <a:pt x="135" y="48"/>
                    </a:lnTo>
                    <a:lnTo>
                      <a:pt x="129" y="52"/>
                    </a:lnTo>
                    <a:lnTo>
                      <a:pt x="127" y="60"/>
                    </a:lnTo>
                    <a:lnTo>
                      <a:pt x="126" y="68"/>
                    </a:lnTo>
                    <a:lnTo>
                      <a:pt x="120" y="75"/>
                    </a:lnTo>
                    <a:lnTo>
                      <a:pt x="111" y="78"/>
                    </a:lnTo>
                    <a:lnTo>
                      <a:pt x="106" y="83"/>
                    </a:lnTo>
                    <a:lnTo>
                      <a:pt x="115" y="89"/>
                    </a:lnTo>
                    <a:lnTo>
                      <a:pt x="109" y="96"/>
                    </a:lnTo>
                    <a:lnTo>
                      <a:pt x="103" y="119"/>
                    </a:lnTo>
                    <a:lnTo>
                      <a:pt x="103" y="121"/>
                    </a:lnTo>
                    <a:lnTo>
                      <a:pt x="110" y="128"/>
                    </a:lnTo>
                    <a:lnTo>
                      <a:pt x="93" y="134"/>
                    </a:lnTo>
                    <a:lnTo>
                      <a:pt x="92" y="139"/>
                    </a:lnTo>
                    <a:lnTo>
                      <a:pt x="81" y="164"/>
                    </a:lnTo>
                    <a:lnTo>
                      <a:pt x="79" y="175"/>
                    </a:lnTo>
                    <a:lnTo>
                      <a:pt x="82" y="178"/>
                    </a:lnTo>
                    <a:lnTo>
                      <a:pt x="82" y="182"/>
                    </a:lnTo>
                    <a:lnTo>
                      <a:pt x="73" y="182"/>
                    </a:lnTo>
                    <a:lnTo>
                      <a:pt x="65" y="193"/>
                    </a:lnTo>
                    <a:lnTo>
                      <a:pt x="61" y="202"/>
                    </a:lnTo>
                    <a:lnTo>
                      <a:pt x="63" y="207"/>
                    </a:lnTo>
                    <a:lnTo>
                      <a:pt x="71" y="208"/>
                    </a:lnTo>
                    <a:lnTo>
                      <a:pt x="71" y="210"/>
                    </a:lnTo>
                    <a:lnTo>
                      <a:pt x="68" y="215"/>
                    </a:lnTo>
                    <a:lnTo>
                      <a:pt x="71" y="221"/>
                    </a:lnTo>
                    <a:lnTo>
                      <a:pt x="52" y="219"/>
                    </a:lnTo>
                    <a:lnTo>
                      <a:pt x="39" y="254"/>
                    </a:lnTo>
                    <a:lnTo>
                      <a:pt x="31" y="259"/>
                    </a:lnTo>
                    <a:lnTo>
                      <a:pt x="27" y="252"/>
                    </a:lnTo>
                    <a:lnTo>
                      <a:pt x="19" y="257"/>
                    </a:lnTo>
                    <a:lnTo>
                      <a:pt x="11" y="263"/>
                    </a:lnTo>
                    <a:lnTo>
                      <a:pt x="11" y="267"/>
                    </a:lnTo>
                    <a:lnTo>
                      <a:pt x="33" y="264"/>
                    </a:lnTo>
                    <a:lnTo>
                      <a:pt x="44" y="267"/>
                    </a:lnTo>
                    <a:lnTo>
                      <a:pt x="47" y="274"/>
                    </a:lnTo>
                    <a:lnTo>
                      <a:pt x="18" y="300"/>
                    </a:lnTo>
                    <a:lnTo>
                      <a:pt x="1" y="318"/>
                    </a:lnTo>
                    <a:lnTo>
                      <a:pt x="0" y="332"/>
                    </a:lnTo>
                    <a:lnTo>
                      <a:pt x="4" y="342"/>
                    </a:lnTo>
                    <a:lnTo>
                      <a:pt x="18" y="344"/>
                    </a:lnTo>
                    <a:lnTo>
                      <a:pt x="38" y="339"/>
                    </a:lnTo>
                    <a:lnTo>
                      <a:pt x="68" y="334"/>
                    </a:lnTo>
                    <a:lnTo>
                      <a:pt x="90" y="338"/>
                    </a:lnTo>
                    <a:lnTo>
                      <a:pt x="103" y="338"/>
                    </a:lnTo>
                    <a:lnTo>
                      <a:pt x="113" y="342"/>
                    </a:lnTo>
                    <a:lnTo>
                      <a:pt x="141" y="343"/>
                    </a:lnTo>
                    <a:lnTo>
                      <a:pt x="156" y="339"/>
                    </a:lnTo>
                    <a:lnTo>
                      <a:pt x="173" y="337"/>
                    </a:lnTo>
                    <a:lnTo>
                      <a:pt x="180" y="329"/>
                    </a:lnTo>
                    <a:lnTo>
                      <a:pt x="196" y="322"/>
                    </a:lnTo>
                    <a:lnTo>
                      <a:pt x="194" y="332"/>
                    </a:lnTo>
                    <a:lnTo>
                      <a:pt x="194" y="339"/>
                    </a:lnTo>
                    <a:lnTo>
                      <a:pt x="179" y="345"/>
                    </a:lnTo>
                    <a:lnTo>
                      <a:pt x="176" y="350"/>
                    </a:lnTo>
                    <a:lnTo>
                      <a:pt x="187" y="350"/>
                    </a:lnTo>
                    <a:lnTo>
                      <a:pt x="189" y="354"/>
                    </a:lnTo>
                    <a:lnTo>
                      <a:pt x="211" y="352"/>
                    </a:lnTo>
                    <a:lnTo>
                      <a:pt x="221" y="336"/>
                    </a:lnTo>
                    <a:lnTo>
                      <a:pt x="229" y="339"/>
                    </a:lnTo>
                    <a:lnTo>
                      <a:pt x="244" y="339"/>
                    </a:lnTo>
                    <a:lnTo>
                      <a:pt x="248" y="343"/>
                    </a:lnTo>
                    <a:lnTo>
                      <a:pt x="235" y="352"/>
                    </a:lnTo>
                    <a:lnTo>
                      <a:pt x="224" y="361"/>
                    </a:lnTo>
                    <a:lnTo>
                      <a:pt x="212" y="380"/>
                    </a:lnTo>
                    <a:lnTo>
                      <a:pt x="199" y="383"/>
                    </a:lnTo>
                    <a:lnTo>
                      <a:pt x="191" y="387"/>
                    </a:lnTo>
                    <a:lnTo>
                      <a:pt x="189" y="397"/>
                    </a:lnTo>
                    <a:lnTo>
                      <a:pt x="200" y="399"/>
                    </a:lnTo>
                    <a:lnTo>
                      <a:pt x="213" y="397"/>
                    </a:lnTo>
                    <a:lnTo>
                      <a:pt x="224" y="392"/>
                    </a:lnTo>
                    <a:lnTo>
                      <a:pt x="234" y="376"/>
                    </a:lnTo>
                    <a:lnTo>
                      <a:pt x="248" y="360"/>
                    </a:lnTo>
                    <a:lnTo>
                      <a:pt x="264" y="354"/>
                    </a:lnTo>
                    <a:lnTo>
                      <a:pt x="267" y="356"/>
                    </a:lnTo>
                    <a:lnTo>
                      <a:pt x="281" y="315"/>
                    </a:lnTo>
                    <a:lnTo>
                      <a:pt x="289" y="315"/>
                    </a:lnTo>
                    <a:lnTo>
                      <a:pt x="291" y="327"/>
                    </a:lnTo>
                    <a:lnTo>
                      <a:pt x="294" y="344"/>
                    </a:lnTo>
                    <a:lnTo>
                      <a:pt x="297" y="361"/>
                    </a:lnTo>
                    <a:lnTo>
                      <a:pt x="289" y="382"/>
                    </a:lnTo>
                    <a:lnTo>
                      <a:pt x="287" y="401"/>
                    </a:lnTo>
                    <a:lnTo>
                      <a:pt x="294" y="403"/>
                    </a:lnTo>
                    <a:lnTo>
                      <a:pt x="314" y="376"/>
                    </a:lnTo>
                    <a:lnTo>
                      <a:pt x="319" y="380"/>
                    </a:lnTo>
                    <a:lnTo>
                      <a:pt x="314" y="392"/>
                    </a:lnTo>
                    <a:lnTo>
                      <a:pt x="315" y="402"/>
                    </a:lnTo>
                    <a:lnTo>
                      <a:pt x="315" y="412"/>
                    </a:lnTo>
                    <a:lnTo>
                      <a:pt x="320" y="420"/>
                    </a:lnTo>
                    <a:lnTo>
                      <a:pt x="330" y="412"/>
                    </a:lnTo>
                    <a:lnTo>
                      <a:pt x="343" y="414"/>
                    </a:lnTo>
                    <a:lnTo>
                      <a:pt x="351" y="396"/>
                    </a:lnTo>
                    <a:lnTo>
                      <a:pt x="356" y="372"/>
                    </a:lnTo>
                    <a:lnTo>
                      <a:pt x="362" y="354"/>
                    </a:lnTo>
                    <a:lnTo>
                      <a:pt x="362" y="332"/>
                    </a:lnTo>
                    <a:lnTo>
                      <a:pt x="357" y="329"/>
                    </a:lnTo>
                    <a:lnTo>
                      <a:pt x="343" y="353"/>
                    </a:lnTo>
                    <a:lnTo>
                      <a:pt x="339" y="347"/>
                    </a:lnTo>
                    <a:lnTo>
                      <a:pt x="339" y="332"/>
                    </a:lnTo>
                    <a:lnTo>
                      <a:pt x="343" y="317"/>
                    </a:lnTo>
                    <a:lnTo>
                      <a:pt x="348" y="306"/>
                    </a:lnTo>
                    <a:lnTo>
                      <a:pt x="353" y="301"/>
                    </a:lnTo>
                    <a:lnTo>
                      <a:pt x="353" y="293"/>
                    </a:lnTo>
                    <a:lnTo>
                      <a:pt x="332" y="307"/>
                    </a:lnTo>
                    <a:lnTo>
                      <a:pt x="324" y="323"/>
                    </a:lnTo>
                    <a:lnTo>
                      <a:pt x="319" y="337"/>
                    </a:lnTo>
                    <a:lnTo>
                      <a:pt x="313" y="337"/>
                    </a:lnTo>
                    <a:lnTo>
                      <a:pt x="307" y="333"/>
                    </a:lnTo>
                    <a:lnTo>
                      <a:pt x="304" y="327"/>
                    </a:lnTo>
                    <a:lnTo>
                      <a:pt x="307" y="320"/>
                    </a:lnTo>
                    <a:lnTo>
                      <a:pt x="310" y="306"/>
                    </a:lnTo>
                    <a:lnTo>
                      <a:pt x="308" y="305"/>
                    </a:lnTo>
                    <a:lnTo>
                      <a:pt x="307" y="300"/>
                    </a:lnTo>
                    <a:lnTo>
                      <a:pt x="298" y="291"/>
                    </a:lnTo>
                    <a:lnTo>
                      <a:pt x="319" y="284"/>
                    </a:lnTo>
                    <a:lnTo>
                      <a:pt x="326" y="274"/>
                    </a:lnTo>
                    <a:lnTo>
                      <a:pt x="336" y="270"/>
                    </a:lnTo>
                    <a:lnTo>
                      <a:pt x="342" y="259"/>
                    </a:lnTo>
                    <a:lnTo>
                      <a:pt x="340" y="254"/>
                    </a:lnTo>
                    <a:lnTo>
                      <a:pt x="314" y="267"/>
                    </a:lnTo>
                    <a:lnTo>
                      <a:pt x="308" y="266"/>
                    </a:lnTo>
                    <a:lnTo>
                      <a:pt x="293" y="272"/>
                    </a:lnTo>
                    <a:lnTo>
                      <a:pt x="291" y="268"/>
                    </a:lnTo>
                    <a:lnTo>
                      <a:pt x="297" y="259"/>
                    </a:lnTo>
                    <a:lnTo>
                      <a:pt x="304" y="247"/>
                    </a:lnTo>
                    <a:lnTo>
                      <a:pt x="300" y="242"/>
                    </a:lnTo>
                    <a:lnTo>
                      <a:pt x="294" y="241"/>
                    </a:lnTo>
                    <a:lnTo>
                      <a:pt x="300" y="226"/>
                    </a:lnTo>
                    <a:lnTo>
                      <a:pt x="312" y="215"/>
                    </a:lnTo>
                    <a:lnTo>
                      <a:pt x="319" y="202"/>
                    </a:lnTo>
                    <a:lnTo>
                      <a:pt x="318" y="197"/>
                    </a:lnTo>
                    <a:lnTo>
                      <a:pt x="313" y="196"/>
                    </a:lnTo>
                    <a:lnTo>
                      <a:pt x="293" y="189"/>
                    </a:lnTo>
                    <a:lnTo>
                      <a:pt x="275" y="192"/>
                    </a:lnTo>
                    <a:lnTo>
                      <a:pt x="267" y="184"/>
                    </a:lnTo>
                    <a:lnTo>
                      <a:pt x="229" y="203"/>
                    </a:lnTo>
                    <a:lnTo>
                      <a:pt x="218" y="204"/>
                    </a:lnTo>
                    <a:lnTo>
                      <a:pt x="228" y="186"/>
                    </a:lnTo>
                    <a:lnTo>
                      <a:pt x="229" y="178"/>
                    </a:lnTo>
                    <a:lnTo>
                      <a:pt x="218" y="184"/>
                    </a:lnTo>
                    <a:lnTo>
                      <a:pt x="216" y="189"/>
                    </a:lnTo>
                    <a:lnTo>
                      <a:pt x="210" y="186"/>
                    </a:lnTo>
                    <a:lnTo>
                      <a:pt x="189" y="184"/>
                    </a:lnTo>
                    <a:lnTo>
                      <a:pt x="190" y="172"/>
                    </a:lnTo>
                    <a:lnTo>
                      <a:pt x="179" y="168"/>
                    </a:lnTo>
                    <a:lnTo>
                      <a:pt x="191" y="157"/>
                    </a:lnTo>
                    <a:lnTo>
                      <a:pt x="210" y="149"/>
                    </a:lnTo>
                    <a:lnTo>
                      <a:pt x="202" y="145"/>
                    </a:lnTo>
                    <a:lnTo>
                      <a:pt x="176" y="144"/>
                    </a:lnTo>
                    <a:lnTo>
                      <a:pt x="179" y="132"/>
                    </a:lnTo>
                    <a:lnTo>
                      <a:pt x="172" y="132"/>
                    </a:lnTo>
                    <a:lnTo>
                      <a:pt x="162" y="148"/>
                    </a:lnTo>
                    <a:lnTo>
                      <a:pt x="149" y="159"/>
                    </a:lnTo>
                    <a:lnTo>
                      <a:pt x="142" y="173"/>
                    </a:lnTo>
                    <a:lnTo>
                      <a:pt x="137" y="161"/>
                    </a:lnTo>
                    <a:lnTo>
                      <a:pt x="142" y="149"/>
                    </a:lnTo>
                    <a:lnTo>
                      <a:pt x="142" y="137"/>
                    </a:lnTo>
                    <a:lnTo>
                      <a:pt x="153" y="122"/>
                    </a:lnTo>
                    <a:lnTo>
                      <a:pt x="160" y="105"/>
                    </a:lnTo>
                    <a:lnTo>
                      <a:pt x="170" y="91"/>
                    </a:lnTo>
                    <a:lnTo>
                      <a:pt x="172" y="81"/>
                    </a:lnTo>
                    <a:lnTo>
                      <a:pt x="170" y="75"/>
                    </a:lnTo>
                    <a:lnTo>
                      <a:pt x="172" y="64"/>
                    </a:lnTo>
                    <a:lnTo>
                      <a:pt x="176" y="71"/>
                    </a:lnTo>
                    <a:lnTo>
                      <a:pt x="187" y="64"/>
                    </a:lnTo>
                    <a:lnTo>
                      <a:pt x="195" y="42"/>
                    </a:lnTo>
                    <a:lnTo>
                      <a:pt x="185" y="33"/>
                    </a:lnTo>
                    <a:lnTo>
                      <a:pt x="186" y="26"/>
                    </a:lnTo>
                    <a:lnTo>
                      <a:pt x="200" y="25"/>
                    </a:lnTo>
                    <a:lnTo>
                      <a:pt x="207" y="8"/>
                    </a:lnTo>
                    <a:lnTo>
                      <a:pt x="207" y="0"/>
                    </a:lnTo>
                    <a:lnTo>
                      <a:pt x="199" y="8"/>
                    </a:lnTo>
                    <a:lnTo>
                      <a:pt x="194" y="5"/>
                    </a:lnTo>
                    <a:lnTo>
                      <a:pt x="183" y="5"/>
                    </a:lnTo>
                    <a:lnTo>
                      <a:pt x="170" y="1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8" name="Canada"/>
              <p:cNvSpPr>
                <a:spLocks noChangeAspect="1"/>
              </p:cNvSpPr>
              <p:nvPr>
                <p:custDataLst>
                  <p:tags r:id="rId176"/>
                </p:custDataLst>
              </p:nvPr>
            </p:nvSpPr>
            <p:spPr bwMode="gray">
              <a:xfrm>
                <a:off x="1108" y="1839"/>
                <a:ext cx="55" cy="43"/>
              </a:xfrm>
              <a:custGeom>
                <a:avLst/>
                <a:gdLst/>
                <a:ahLst/>
                <a:cxnLst>
                  <a:cxn ang="0">
                    <a:pos x="48" y="41"/>
                  </a:cxn>
                  <a:cxn ang="0">
                    <a:pos x="48" y="41"/>
                  </a:cxn>
                  <a:cxn ang="0">
                    <a:pos x="45" y="22"/>
                  </a:cxn>
                  <a:cxn ang="0">
                    <a:pos x="19" y="15"/>
                  </a:cxn>
                  <a:cxn ang="0">
                    <a:pos x="13" y="27"/>
                  </a:cxn>
                  <a:cxn ang="0">
                    <a:pos x="0" y="19"/>
                  </a:cxn>
                  <a:cxn ang="0">
                    <a:pos x="2" y="6"/>
                  </a:cxn>
                  <a:cxn ang="0">
                    <a:pos x="18" y="0"/>
                  </a:cxn>
                  <a:cxn ang="0">
                    <a:pos x="38" y="9"/>
                  </a:cxn>
                  <a:cxn ang="0">
                    <a:pos x="56" y="18"/>
                  </a:cxn>
                  <a:cxn ang="0">
                    <a:pos x="119" y="38"/>
                  </a:cxn>
                  <a:cxn ang="0">
                    <a:pos x="148" y="46"/>
                  </a:cxn>
                  <a:cxn ang="0">
                    <a:pos x="157" y="57"/>
                  </a:cxn>
                  <a:cxn ang="0">
                    <a:pos x="188" y="99"/>
                  </a:cxn>
                  <a:cxn ang="0">
                    <a:pos x="188" y="106"/>
                  </a:cxn>
                  <a:cxn ang="0">
                    <a:pos x="194" y="116"/>
                  </a:cxn>
                  <a:cxn ang="0">
                    <a:pos x="215" y="129"/>
                  </a:cxn>
                  <a:cxn ang="0">
                    <a:pos x="228" y="134"/>
                  </a:cxn>
                  <a:cxn ang="0">
                    <a:pos x="250" y="151"/>
                  </a:cxn>
                  <a:cxn ang="0">
                    <a:pos x="260" y="174"/>
                  </a:cxn>
                  <a:cxn ang="0">
                    <a:pos x="264" y="189"/>
                  </a:cxn>
                  <a:cxn ang="0">
                    <a:pos x="269" y="188"/>
                  </a:cxn>
                  <a:cxn ang="0">
                    <a:pos x="272" y="203"/>
                  </a:cxn>
                  <a:cxn ang="0">
                    <a:pos x="264" y="214"/>
                  </a:cxn>
                  <a:cxn ang="0">
                    <a:pos x="239" y="207"/>
                  </a:cxn>
                  <a:cxn ang="0">
                    <a:pos x="222" y="196"/>
                  </a:cxn>
                  <a:cxn ang="0">
                    <a:pos x="211" y="196"/>
                  </a:cxn>
                  <a:cxn ang="0">
                    <a:pos x="196" y="185"/>
                  </a:cxn>
                  <a:cxn ang="0">
                    <a:pos x="202" y="175"/>
                  </a:cxn>
                  <a:cxn ang="0">
                    <a:pos x="196" y="182"/>
                  </a:cxn>
                  <a:cxn ang="0">
                    <a:pos x="182" y="176"/>
                  </a:cxn>
                  <a:cxn ang="0">
                    <a:pos x="179" y="167"/>
                  </a:cxn>
                  <a:cxn ang="0">
                    <a:pos x="190" y="160"/>
                  </a:cxn>
                  <a:cxn ang="0">
                    <a:pos x="178" y="155"/>
                  </a:cxn>
                  <a:cxn ang="0">
                    <a:pos x="166" y="160"/>
                  </a:cxn>
                  <a:cxn ang="0">
                    <a:pos x="143" y="154"/>
                  </a:cxn>
                  <a:cxn ang="0">
                    <a:pos x="157" y="153"/>
                  </a:cxn>
                  <a:cxn ang="0">
                    <a:pos x="143" y="135"/>
                  </a:cxn>
                  <a:cxn ang="0">
                    <a:pos x="130" y="129"/>
                  </a:cxn>
                  <a:cxn ang="0">
                    <a:pos x="109" y="126"/>
                  </a:cxn>
                  <a:cxn ang="0">
                    <a:pos x="100" y="112"/>
                  </a:cxn>
                  <a:cxn ang="0">
                    <a:pos x="118" y="110"/>
                  </a:cxn>
                  <a:cxn ang="0">
                    <a:pos x="119" y="100"/>
                  </a:cxn>
                  <a:cxn ang="0">
                    <a:pos x="107" y="100"/>
                  </a:cxn>
                  <a:cxn ang="0">
                    <a:pos x="99" y="99"/>
                  </a:cxn>
                  <a:cxn ang="0">
                    <a:pos x="86" y="83"/>
                  </a:cxn>
                  <a:cxn ang="0">
                    <a:pos x="80" y="80"/>
                  </a:cxn>
                  <a:cxn ang="0">
                    <a:pos x="65" y="80"/>
                  </a:cxn>
                  <a:cxn ang="0">
                    <a:pos x="70" y="65"/>
                  </a:cxn>
                  <a:cxn ang="0">
                    <a:pos x="60" y="61"/>
                  </a:cxn>
                  <a:cxn ang="0">
                    <a:pos x="49" y="61"/>
                  </a:cxn>
                  <a:cxn ang="0">
                    <a:pos x="40" y="59"/>
                  </a:cxn>
                  <a:cxn ang="0">
                    <a:pos x="29" y="64"/>
                  </a:cxn>
                  <a:cxn ang="0">
                    <a:pos x="29" y="57"/>
                  </a:cxn>
                  <a:cxn ang="0">
                    <a:pos x="24" y="45"/>
                  </a:cxn>
                  <a:cxn ang="0">
                    <a:pos x="33" y="35"/>
                  </a:cxn>
                  <a:cxn ang="0">
                    <a:pos x="45" y="41"/>
                  </a:cxn>
                </a:cxnLst>
                <a:rect l="0" t="0" r="r" b="b"/>
                <a:pathLst>
                  <a:path w="275" h="214">
                    <a:moveTo>
                      <a:pt x="45" y="41"/>
                    </a:moveTo>
                    <a:lnTo>
                      <a:pt x="48" y="41"/>
                    </a:lnTo>
                    <a:lnTo>
                      <a:pt x="48" y="42"/>
                    </a:lnTo>
                    <a:lnTo>
                      <a:pt x="48" y="41"/>
                    </a:lnTo>
                    <a:lnTo>
                      <a:pt x="45" y="31"/>
                    </a:lnTo>
                    <a:lnTo>
                      <a:pt x="45" y="22"/>
                    </a:lnTo>
                    <a:lnTo>
                      <a:pt x="24" y="20"/>
                    </a:lnTo>
                    <a:lnTo>
                      <a:pt x="19" y="15"/>
                    </a:lnTo>
                    <a:lnTo>
                      <a:pt x="16" y="21"/>
                    </a:lnTo>
                    <a:lnTo>
                      <a:pt x="13" y="27"/>
                    </a:lnTo>
                    <a:lnTo>
                      <a:pt x="6" y="24"/>
                    </a:lnTo>
                    <a:lnTo>
                      <a:pt x="0" y="19"/>
                    </a:lnTo>
                    <a:lnTo>
                      <a:pt x="0" y="11"/>
                    </a:lnTo>
                    <a:lnTo>
                      <a:pt x="2" y="6"/>
                    </a:lnTo>
                    <a:lnTo>
                      <a:pt x="8" y="2"/>
                    </a:lnTo>
                    <a:lnTo>
                      <a:pt x="18" y="0"/>
                    </a:lnTo>
                    <a:lnTo>
                      <a:pt x="28" y="4"/>
                    </a:lnTo>
                    <a:lnTo>
                      <a:pt x="38" y="9"/>
                    </a:lnTo>
                    <a:lnTo>
                      <a:pt x="46" y="10"/>
                    </a:lnTo>
                    <a:lnTo>
                      <a:pt x="56" y="18"/>
                    </a:lnTo>
                    <a:lnTo>
                      <a:pt x="89" y="31"/>
                    </a:lnTo>
                    <a:lnTo>
                      <a:pt x="119" y="38"/>
                    </a:lnTo>
                    <a:lnTo>
                      <a:pt x="134" y="43"/>
                    </a:lnTo>
                    <a:lnTo>
                      <a:pt x="148" y="46"/>
                    </a:lnTo>
                    <a:lnTo>
                      <a:pt x="153" y="51"/>
                    </a:lnTo>
                    <a:lnTo>
                      <a:pt x="157" y="57"/>
                    </a:lnTo>
                    <a:lnTo>
                      <a:pt x="158" y="65"/>
                    </a:lnTo>
                    <a:lnTo>
                      <a:pt x="188" y="99"/>
                    </a:lnTo>
                    <a:lnTo>
                      <a:pt x="189" y="101"/>
                    </a:lnTo>
                    <a:lnTo>
                      <a:pt x="188" y="106"/>
                    </a:lnTo>
                    <a:lnTo>
                      <a:pt x="190" y="112"/>
                    </a:lnTo>
                    <a:lnTo>
                      <a:pt x="194" y="116"/>
                    </a:lnTo>
                    <a:lnTo>
                      <a:pt x="206" y="126"/>
                    </a:lnTo>
                    <a:lnTo>
                      <a:pt x="215" y="129"/>
                    </a:lnTo>
                    <a:lnTo>
                      <a:pt x="225" y="131"/>
                    </a:lnTo>
                    <a:lnTo>
                      <a:pt x="228" y="134"/>
                    </a:lnTo>
                    <a:lnTo>
                      <a:pt x="236" y="137"/>
                    </a:lnTo>
                    <a:lnTo>
                      <a:pt x="250" y="151"/>
                    </a:lnTo>
                    <a:lnTo>
                      <a:pt x="253" y="160"/>
                    </a:lnTo>
                    <a:lnTo>
                      <a:pt x="260" y="174"/>
                    </a:lnTo>
                    <a:lnTo>
                      <a:pt x="261" y="180"/>
                    </a:lnTo>
                    <a:lnTo>
                      <a:pt x="264" y="189"/>
                    </a:lnTo>
                    <a:lnTo>
                      <a:pt x="266" y="194"/>
                    </a:lnTo>
                    <a:lnTo>
                      <a:pt x="269" y="188"/>
                    </a:lnTo>
                    <a:lnTo>
                      <a:pt x="275" y="202"/>
                    </a:lnTo>
                    <a:lnTo>
                      <a:pt x="272" y="203"/>
                    </a:lnTo>
                    <a:lnTo>
                      <a:pt x="271" y="209"/>
                    </a:lnTo>
                    <a:lnTo>
                      <a:pt x="264" y="214"/>
                    </a:lnTo>
                    <a:lnTo>
                      <a:pt x="258" y="214"/>
                    </a:lnTo>
                    <a:lnTo>
                      <a:pt x="239" y="207"/>
                    </a:lnTo>
                    <a:lnTo>
                      <a:pt x="222" y="198"/>
                    </a:lnTo>
                    <a:lnTo>
                      <a:pt x="222" y="196"/>
                    </a:lnTo>
                    <a:lnTo>
                      <a:pt x="217" y="193"/>
                    </a:lnTo>
                    <a:lnTo>
                      <a:pt x="211" y="196"/>
                    </a:lnTo>
                    <a:lnTo>
                      <a:pt x="196" y="189"/>
                    </a:lnTo>
                    <a:lnTo>
                      <a:pt x="196" y="185"/>
                    </a:lnTo>
                    <a:lnTo>
                      <a:pt x="200" y="180"/>
                    </a:lnTo>
                    <a:lnTo>
                      <a:pt x="202" y="175"/>
                    </a:lnTo>
                    <a:lnTo>
                      <a:pt x="199" y="176"/>
                    </a:lnTo>
                    <a:lnTo>
                      <a:pt x="196" y="182"/>
                    </a:lnTo>
                    <a:lnTo>
                      <a:pt x="190" y="183"/>
                    </a:lnTo>
                    <a:lnTo>
                      <a:pt x="182" y="176"/>
                    </a:lnTo>
                    <a:lnTo>
                      <a:pt x="179" y="172"/>
                    </a:lnTo>
                    <a:lnTo>
                      <a:pt x="179" y="167"/>
                    </a:lnTo>
                    <a:lnTo>
                      <a:pt x="184" y="165"/>
                    </a:lnTo>
                    <a:lnTo>
                      <a:pt x="190" y="160"/>
                    </a:lnTo>
                    <a:lnTo>
                      <a:pt x="184" y="159"/>
                    </a:lnTo>
                    <a:lnTo>
                      <a:pt x="178" y="155"/>
                    </a:lnTo>
                    <a:lnTo>
                      <a:pt x="173" y="161"/>
                    </a:lnTo>
                    <a:lnTo>
                      <a:pt x="166" y="160"/>
                    </a:lnTo>
                    <a:lnTo>
                      <a:pt x="153" y="162"/>
                    </a:lnTo>
                    <a:lnTo>
                      <a:pt x="143" y="154"/>
                    </a:lnTo>
                    <a:lnTo>
                      <a:pt x="147" y="155"/>
                    </a:lnTo>
                    <a:lnTo>
                      <a:pt x="157" y="153"/>
                    </a:lnTo>
                    <a:lnTo>
                      <a:pt x="153" y="145"/>
                    </a:lnTo>
                    <a:lnTo>
                      <a:pt x="143" y="135"/>
                    </a:lnTo>
                    <a:lnTo>
                      <a:pt x="132" y="134"/>
                    </a:lnTo>
                    <a:lnTo>
                      <a:pt x="130" y="129"/>
                    </a:lnTo>
                    <a:lnTo>
                      <a:pt x="120" y="124"/>
                    </a:lnTo>
                    <a:lnTo>
                      <a:pt x="109" y="126"/>
                    </a:lnTo>
                    <a:lnTo>
                      <a:pt x="104" y="124"/>
                    </a:lnTo>
                    <a:lnTo>
                      <a:pt x="100" y="112"/>
                    </a:lnTo>
                    <a:lnTo>
                      <a:pt x="105" y="108"/>
                    </a:lnTo>
                    <a:lnTo>
                      <a:pt x="118" y="110"/>
                    </a:lnTo>
                    <a:lnTo>
                      <a:pt x="129" y="105"/>
                    </a:lnTo>
                    <a:lnTo>
                      <a:pt x="119" y="100"/>
                    </a:lnTo>
                    <a:lnTo>
                      <a:pt x="109" y="102"/>
                    </a:lnTo>
                    <a:lnTo>
                      <a:pt x="107" y="100"/>
                    </a:lnTo>
                    <a:lnTo>
                      <a:pt x="105" y="94"/>
                    </a:lnTo>
                    <a:lnTo>
                      <a:pt x="99" y="99"/>
                    </a:lnTo>
                    <a:lnTo>
                      <a:pt x="96" y="89"/>
                    </a:lnTo>
                    <a:lnTo>
                      <a:pt x="86" y="83"/>
                    </a:lnTo>
                    <a:lnTo>
                      <a:pt x="82" y="84"/>
                    </a:lnTo>
                    <a:lnTo>
                      <a:pt x="80" y="80"/>
                    </a:lnTo>
                    <a:lnTo>
                      <a:pt x="72" y="86"/>
                    </a:lnTo>
                    <a:lnTo>
                      <a:pt x="65" y="80"/>
                    </a:lnTo>
                    <a:lnTo>
                      <a:pt x="66" y="70"/>
                    </a:lnTo>
                    <a:lnTo>
                      <a:pt x="70" y="65"/>
                    </a:lnTo>
                    <a:lnTo>
                      <a:pt x="66" y="65"/>
                    </a:lnTo>
                    <a:lnTo>
                      <a:pt x="60" y="61"/>
                    </a:lnTo>
                    <a:lnTo>
                      <a:pt x="56" y="70"/>
                    </a:lnTo>
                    <a:lnTo>
                      <a:pt x="49" y="61"/>
                    </a:lnTo>
                    <a:lnTo>
                      <a:pt x="45" y="62"/>
                    </a:lnTo>
                    <a:lnTo>
                      <a:pt x="40" y="59"/>
                    </a:lnTo>
                    <a:lnTo>
                      <a:pt x="34" y="67"/>
                    </a:lnTo>
                    <a:lnTo>
                      <a:pt x="29" y="64"/>
                    </a:lnTo>
                    <a:lnTo>
                      <a:pt x="27" y="62"/>
                    </a:lnTo>
                    <a:lnTo>
                      <a:pt x="29" y="57"/>
                    </a:lnTo>
                    <a:lnTo>
                      <a:pt x="30" y="48"/>
                    </a:lnTo>
                    <a:lnTo>
                      <a:pt x="24" y="45"/>
                    </a:lnTo>
                    <a:lnTo>
                      <a:pt x="23" y="37"/>
                    </a:lnTo>
                    <a:lnTo>
                      <a:pt x="33" y="35"/>
                    </a:lnTo>
                    <a:lnTo>
                      <a:pt x="41" y="36"/>
                    </a:lnTo>
                    <a:lnTo>
                      <a:pt x="45" y="4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9" name="Canada"/>
              <p:cNvSpPr>
                <a:spLocks noChangeAspect="1"/>
              </p:cNvSpPr>
              <p:nvPr>
                <p:custDataLst>
                  <p:tags r:id="rId177"/>
                </p:custDataLst>
              </p:nvPr>
            </p:nvSpPr>
            <p:spPr bwMode="gray">
              <a:xfrm>
                <a:off x="1425" y="1404"/>
                <a:ext cx="47" cy="44"/>
              </a:xfrm>
              <a:custGeom>
                <a:avLst/>
                <a:gdLst/>
                <a:ahLst/>
                <a:cxnLst>
                  <a:cxn ang="0">
                    <a:pos x="132" y="38"/>
                  </a:cxn>
                  <a:cxn ang="0">
                    <a:pos x="118" y="33"/>
                  </a:cxn>
                  <a:cxn ang="0">
                    <a:pos x="118" y="18"/>
                  </a:cxn>
                  <a:cxn ang="0">
                    <a:pos x="104" y="4"/>
                  </a:cxn>
                  <a:cxn ang="0">
                    <a:pos x="86" y="0"/>
                  </a:cxn>
                  <a:cxn ang="0">
                    <a:pos x="73" y="20"/>
                  </a:cxn>
                  <a:cxn ang="0">
                    <a:pos x="71" y="52"/>
                  </a:cxn>
                  <a:cxn ang="0">
                    <a:pos x="66" y="51"/>
                  </a:cxn>
                  <a:cxn ang="0">
                    <a:pos x="53" y="57"/>
                  </a:cxn>
                  <a:cxn ang="0">
                    <a:pos x="53" y="73"/>
                  </a:cxn>
                  <a:cxn ang="0">
                    <a:pos x="50" y="98"/>
                  </a:cxn>
                  <a:cxn ang="0">
                    <a:pos x="40" y="109"/>
                  </a:cxn>
                  <a:cxn ang="0">
                    <a:pos x="11" y="119"/>
                  </a:cxn>
                  <a:cxn ang="0">
                    <a:pos x="0" y="136"/>
                  </a:cxn>
                  <a:cxn ang="0">
                    <a:pos x="10" y="163"/>
                  </a:cxn>
                  <a:cxn ang="0">
                    <a:pos x="21" y="158"/>
                  </a:cxn>
                  <a:cxn ang="0">
                    <a:pos x="32" y="152"/>
                  </a:cxn>
                  <a:cxn ang="0">
                    <a:pos x="44" y="167"/>
                  </a:cxn>
                  <a:cxn ang="0">
                    <a:pos x="55" y="175"/>
                  </a:cxn>
                  <a:cxn ang="0">
                    <a:pos x="62" y="165"/>
                  </a:cxn>
                  <a:cxn ang="0">
                    <a:pos x="71" y="180"/>
                  </a:cxn>
                  <a:cxn ang="0">
                    <a:pos x="89" y="180"/>
                  </a:cxn>
                  <a:cxn ang="0">
                    <a:pos x="109" y="202"/>
                  </a:cxn>
                  <a:cxn ang="0">
                    <a:pos x="132" y="210"/>
                  </a:cxn>
                  <a:cxn ang="0">
                    <a:pos x="136" y="202"/>
                  </a:cxn>
                  <a:cxn ang="0">
                    <a:pos x="167" y="221"/>
                  </a:cxn>
                  <a:cxn ang="0">
                    <a:pos x="186" y="195"/>
                  </a:cxn>
                  <a:cxn ang="0">
                    <a:pos x="209" y="179"/>
                  </a:cxn>
                  <a:cxn ang="0">
                    <a:pos x="216" y="186"/>
                  </a:cxn>
                  <a:cxn ang="0">
                    <a:pos x="233" y="174"/>
                  </a:cxn>
                  <a:cxn ang="0">
                    <a:pos x="231" y="163"/>
                  </a:cxn>
                  <a:cxn ang="0">
                    <a:pos x="207" y="153"/>
                  </a:cxn>
                  <a:cxn ang="0">
                    <a:pos x="202" y="132"/>
                  </a:cxn>
                  <a:cxn ang="0">
                    <a:pos x="179" y="100"/>
                  </a:cxn>
                  <a:cxn ang="0">
                    <a:pos x="143" y="60"/>
                  </a:cxn>
                </a:cxnLst>
                <a:rect l="0" t="0" r="r" b="b"/>
                <a:pathLst>
                  <a:path w="236" h="221">
                    <a:moveTo>
                      <a:pt x="141" y="55"/>
                    </a:moveTo>
                    <a:lnTo>
                      <a:pt x="132" y="38"/>
                    </a:lnTo>
                    <a:lnTo>
                      <a:pt x="126" y="33"/>
                    </a:lnTo>
                    <a:lnTo>
                      <a:pt x="118" y="33"/>
                    </a:lnTo>
                    <a:lnTo>
                      <a:pt x="120" y="24"/>
                    </a:lnTo>
                    <a:lnTo>
                      <a:pt x="118" y="18"/>
                    </a:lnTo>
                    <a:lnTo>
                      <a:pt x="108" y="14"/>
                    </a:lnTo>
                    <a:lnTo>
                      <a:pt x="104" y="4"/>
                    </a:lnTo>
                    <a:lnTo>
                      <a:pt x="96" y="0"/>
                    </a:lnTo>
                    <a:lnTo>
                      <a:pt x="86" y="0"/>
                    </a:lnTo>
                    <a:lnTo>
                      <a:pt x="84" y="11"/>
                    </a:lnTo>
                    <a:lnTo>
                      <a:pt x="73" y="20"/>
                    </a:lnTo>
                    <a:lnTo>
                      <a:pt x="65" y="44"/>
                    </a:lnTo>
                    <a:lnTo>
                      <a:pt x="71" y="52"/>
                    </a:lnTo>
                    <a:lnTo>
                      <a:pt x="71" y="57"/>
                    </a:lnTo>
                    <a:lnTo>
                      <a:pt x="66" y="51"/>
                    </a:lnTo>
                    <a:lnTo>
                      <a:pt x="56" y="51"/>
                    </a:lnTo>
                    <a:lnTo>
                      <a:pt x="53" y="57"/>
                    </a:lnTo>
                    <a:lnTo>
                      <a:pt x="54" y="62"/>
                    </a:lnTo>
                    <a:lnTo>
                      <a:pt x="53" y="73"/>
                    </a:lnTo>
                    <a:lnTo>
                      <a:pt x="57" y="90"/>
                    </a:lnTo>
                    <a:lnTo>
                      <a:pt x="50" y="98"/>
                    </a:lnTo>
                    <a:lnTo>
                      <a:pt x="48" y="108"/>
                    </a:lnTo>
                    <a:lnTo>
                      <a:pt x="40" y="109"/>
                    </a:lnTo>
                    <a:lnTo>
                      <a:pt x="24" y="117"/>
                    </a:lnTo>
                    <a:lnTo>
                      <a:pt x="11" y="119"/>
                    </a:lnTo>
                    <a:lnTo>
                      <a:pt x="2" y="125"/>
                    </a:lnTo>
                    <a:lnTo>
                      <a:pt x="0" y="136"/>
                    </a:lnTo>
                    <a:lnTo>
                      <a:pt x="0" y="152"/>
                    </a:lnTo>
                    <a:lnTo>
                      <a:pt x="10" y="163"/>
                    </a:lnTo>
                    <a:lnTo>
                      <a:pt x="21" y="168"/>
                    </a:lnTo>
                    <a:lnTo>
                      <a:pt x="21" y="158"/>
                    </a:lnTo>
                    <a:lnTo>
                      <a:pt x="24" y="153"/>
                    </a:lnTo>
                    <a:lnTo>
                      <a:pt x="32" y="152"/>
                    </a:lnTo>
                    <a:lnTo>
                      <a:pt x="41" y="158"/>
                    </a:lnTo>
                    <a:lnTo>
                      <a:pt x="44" y="167"/>
                    </a:lnTo>
                    <a:lnTo>
                      <a:pt x="51" y="170"/>
                    </a:lnTo>
                    <a:lnTo>
                      <a:pt x="55" y="175"/>
                    </a:lnTo>
                    <a:lnTo>
                      <a:pt x="60" y="172"/>
                    </a:lnTo>
                    <a:lnTo>
                      <a:pt x="62" y="165"/>
                    </a:lnTo>
                    <a:lnTo>
                      <a:pt x="71" y="172"/>
                    </a:lnTo>
                    <a:lnTo>
                      <a:pt x="71" y="180"/>
                    </a:lnTo>
                    <a:lnTo>
                      <a:pt x="77" y="183"/>
                    </a:lnTo>
                    <a:lnTo>
                      <a:pt x="89" y="180"/>
                    </a:lnTo>
                    <a:lnTo>
                      <a:pt x="99" y="196"/>
                    </a:lnTo>
                    <a:lnTo>
                      <a:pt x="109" y="202"/>
                    </a:lnTo>
                    <a:lnTo>
                      <a:pt x="129" y="206"/>
                    </a:lnTo>
                    <a:lnTo>
                      <a:pt x="132" y="210"/>
                    </a:lnTo>
                    <a:lnTo>
                      <a:pt x="134" y="202"/>
                    </a:lnTo>
                    <a:lnTo>
                      <a:pt x="136" y="202"/>
                    </a:lnTo>
                    <a:lnTo>
                      <a:pt x="152" y="213"/>
                    </a:lnTo>
                    <a:lnTo>
                      <a:pt x="167" y="221"/>
                    </a:lnTo>
                    <a:lnTo>
                      <a:pt x="177" y="216"/>
                    </a:lnTo>
                    <a:lnTo>
                      <a:pt x="186" y="195"/>
                    </a:lnTo>
                    <a:lnTo>
                      <a:pt x="194" y="194"/>
                    </a:lnTo>
                    <a:lnTo>
                      <a:pt x="209" y="179"/>
                    </a:lnTo>
                    <a:lnTo>
                      <a:pt x="216" y="178"/>
                    </a:lnTo>
                    <a:lnTo>
                      <a:pt x="216" y="186"/>
                    </a:lnTo>
                    <a:lnTo>
                      <a:pt x="223" y="183"/>
                    </a:lnTo>
                    <a:lnTo>
                      <a:pt x="233" y="174"/>
                    </a:lnTo>
                    <a:lnTo>
                      <a:pt x="236" y="164"/>
                    </a:lnTo>
                    <a:lnTo>
                      <a:pt x="231" y="163"/>
                    </a:lnTo>
                    <a:lnTo>
                      <a:pt x="220" y="169"/>
                    </a:lnTo>
                    <a:lnTo>
                      <a:pt x="207" y="153"/>
                    </a:lnTo>
                    <a:lnTo>
                      <a:pt x="202" y="142"/>
                    </a:lnTo>
                    <a:lnTo>
                      <a:pt x="202" y="132"/>
                    </a:lnTo>
                    <a:lnTo>
                      <a:pt x="190" y="110"/>
                    </a:lnTo>
                    <a:lnTo>
                      <a:pt x="179" y="100"/>
                    </a:lnTo>
                    <a:lnTo>
                      <a:pt x="174" y="89"/>
                    </a:lnTo>
                    <a:lnTo>
                      <a:pt x="143" y="60"/>
                    </a:lnTo>
                    <a:lnTo>
                      <a:pt x="141" y="5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0" name="Canada"/>
              <p:cNvSpPr>
                <a:spLocks noChangeAspect="1"/>
              </p:cNvSpPr>
              <p:nvPr>
                <p:custDataLst>
                  <p:tags r:id="rId178"/>
                </p:custDataLst>
              </p:nvPr>
            </p:nvSpPr>
            <p:spPr bwMode="gray">
              <a:xfrm>
                <a:off x="1134" y="1234"/>
                <a:ext cx="117" cy="130"/>
              </a:xfrm>
              <a:custGeom>
                <a:avLst/>
                <a:gdLst/>
                <a:ahLst/>
                <a:cxnLst>
                  <a:cxn ang="0">
                    <a:pos x="109" y="137"/>
                  </a:cxn>
                  <a:cxn ang="0">
                    <a:pos x="97" y="189"/>
                  </a:cxn>
                  <a:cxn ang="0">
                    <a:pos x="84" y="213"/>
                  </a:cxn>
                  <a:cxn ang="0">
                    <a:pos x="72" y="242"/>
                  </a:cxn>
                  <a:cxn ang="0">
                    <a:pos x="66" y="272"/>
                  </a:cxn>
                  <a:cxn ang="0">
                    <a:pos x="55" y="288"/>
                  </a:cxn>
                  <a:cxn ang="0">
                    <a:pos x="66" y="305"/>
                  </a:cxn>
                  <a:cxn ang="0">
                    <a:pos x="72" y="321"/>
                  </a:cxn>
                  <a:cxn ang="0">
                    <a:pos x="41" y="333"/>
                  </a:cxn>
                  <a:cxn ang="0">
                    <a:pos x="46" y="358"/>
                  </a:cxn>
                  <a:cxn ang="0">
                    <a:pos x="44" y="380"/>
                  </a:cxn>
                  <a:cxn ang="0">
                    <a:pos x="44" y="391"/>
                  </a:cxn>
                  <a:cxn ang="0">
                    <a:pos x="40" y="409"/>
                  </a:cxn>
                  <a:cxn ang="0">
                    <a:pos x="27" y="430"/>
                  </a:cxn>
                  <a:cxn ang="0">
                    <a:pos x="30" y="449"/>
                  </a:cxn>
                  <a:cxn ang="0">
                    <a:pos x="18" y="465"/>
                  </a:cxn>
                  <a:cxn ang="0">
                    <a:pos x="11" y="479"/>
                  </a:cxn>
                  <a:cxn ang="0">
                    <a:pos x="0" y="500"/>
                  </a:cxn>
                  <a:cxn ang="0">
                    <a:pos x="49" y="504"/>
                  </a:cxn>
                  <a:cxn ang="0">
                    <a:pos x="41" y="511"/>
                  </a:cxn>
                  <a:cxn ang="0">
                    <a:pos x="66" y="519"/>
                  </a:cxn>
                  <a:cxn ang="0">
                    <a:pos x="99" y="541"/>
                  </a:cxn>
                  <a:cxn ang="0">
                    <a:pos x="124" y="585"/>
                  </a:cxn>
                  <a:cxn ang="0">
                    <a:pos x="163" y="650"/>
                  </a:cxn>
                  <a:cxn ang="0">
                    <a:pos x="215" y="603"/>
                  </a:cxn>
                  <a:cxn ang="0">
                    <a:pos x="238" y="587"/>
                  </a:cxn>
                  <a:cxn ang="0">
                    <a:pos x="249" y="601"/>
                  </a:cxn>
                  <a:cxn ang="0">
                    <a:pos x="264" y="581"/>
                  </a:cxn>
                  <a:cxn ang="0">
                    <a:pos x="279" y="587"/>
                  </a:cxn>
                  <a:cxn ang="0">
                    <a:pos x="298" y="549"/>
                  </a:cxn>
                  <a:cxn ang="0">
                    <a:pos x="299" y="511"/>
                  </a:cxn>
                  <a:cxn ang="0">
                    <a:pos x="313" y="461"/>
                  </a:cxn>
                  <a:cxn ang="0">
                    <a:pos x="328" y="455"/>
                  </a:cxn>
                  <a:cxn ang="0">
                    <a:pos x="362" y="433"/>
                  </a:cxn>
                  <a:cxn ang="0">
                    <a:pos x="371" y="381"/>
                  </a:cxn>
                  <a:cxn ang="0">
                    <a:pos x="406" y="357"/>
                  </a:cxn>
                  <a:cxn ang="0">
                    <a:pos x="462" y="309"/>
                  </a:cxn>
                  <a:cxn ang="0">
                    <a:pos x="514" y="267"/>
                  </a:cxn>
                  <a:cxn ang="0">
                    <a:pos x="581" y="203"/>
                  </a:cxn>
                  <a:cxn ang="0">
                    <a:pos x="552" y="176"/>
                  </a:cxn>
                  <a:cxn ang="0">
                    <a:pos x="506" y="119"/>
                  </a:cxn>
                  <a:cxn ang="0">
                    <a:pos x="462" y="69"/>
                  </a:cxn>
                  <a:cxn ang="0">
                    <a:pos x="385" y="78"/>
                  </a:cxn>
                  <a:cxn ang="0">
                    <a:pos x="384" y="105"/>
                  </a:cxn>
                  <a:cxn ang="0">
                    <a:pos x="368" y="108"/>
                  </a:cxn>
                  <a:cxn ang="0">
                    <a:pos x="373" y="78"/>
                  </a:cxn>
                  <a:cxn ang="0">
                    <a:pos x="352" y="86"/>
                  </a:cxn>
                  <a:cxn ang="0">
                    <a:pos x="338" y="102"/>
                  </a:cxn>
                  <a:cxn ang="0">
                    <a:pos x="304" y="52"/>
                  </a:cxn>
                  <a:cxn ang="0">
                    <a:pos x="276" y="13"/>
                  </a:cxn>
                  <a:cxn ang="0">
                    <a:pos x="224" y="14"/>
                  </a:cxn>
                  <a:cxn ang="0">
                    <a:pos x="157" y="19"/>
                  </a:cxn>
                  <a:cxn ang="0">
                    <a:pos x="158" y="46"/>
                  </a:cxn>
                  <a:cxn ang="0">
                    <a:pos x="150" y="21"/>
                  </a:cxn>
                  <a:cxn ang="0">
                    <a:pos x="139" y="27"/>
                  </a:cxn>
                  <a:cxn ang="0">
                    <a:pos x="120" y="27"/>
                  </a:cxn>
                  <a:cxn ang="0">
                    <a:pos x="99" y="31"/>
                  </a:cxn>
                  <a:cxn ang="0">
                    <a:pos x="75" y="42"/>
                  </a:cxn>
                  <a:cxn ang="0">
                    <a:pos x="84" y="78"/>
                  </a:cxn>
                </a:cxnLst>
                <a:rect l="0" t="0" r="r" b="b"/>
                <a:pathLst>
                  <a:path w="582" h="653">
                    <a:moveTo>
                      <a:pt x="93" y="117"/>
                    </a:moveTo>
                    <a:lnTo>
                      <a:pt x="100" y="129"/>
                    </a:lnTo>
                    <a:lnTo>
                      <a:pt x="109" y="137"/>
                    </a:lnTo>
                    <a:lnTo>
                      <a:pt x="113" y="148"/>
                    </a:lnTo>
                    <a:lnTo>
                      <a:pt x="105" y="161"/>
                    </a:lnTo>
                    <a:lnTo>
                      <a:pt x="97" y="189"/>
                    </a:lnTo>
                    <a:lnTo>
                      <a:pt x="93" y="198"/>
                    </a:lnTo>
                    <a:lnTo>
                      <a:pt x="84" y="208"/>
                    </a:lnTo>
                    <a:lnTo>
                      <a:pt x="84" y="213"/>
                    </a:lnTo>
                    <a:lnTo>
                      <a:pt x="81" y="225"/>
                    </a:lnTo>
                    <a:lnTo>
                      <a:pt x="76" y="229"/>
                    </a:lnTo>
                    <a:lnTo>
                      <a:pt x="72" y="242"/>
                    </a:lnTo>
                    <a:lnTo>
                      <a:pt x="72" y="251"/>
                    </a:lnTo>
                    <a:lnTo>
                      <a:pt x="65" y="263"/>
                    </a:lnTo>
                    <a:lnTo>
                      <a:pt x="66" y="272"/>
                    </a:lnTo>
                    <a:lnTo>
                      <a:pt x="64" y="275"/>
                    </a:lnTo>
                    <a:lnTo>
                      <a:pt x="60" y="284"/>
                    </a:lnTo>
                    <a:lnTo>
                      <a:pt x="55" y="288"/>
                    </a:lnTo>
                    <a:lnTo>
                      <a:pt x="57" y="299"/>
                    </a:lnTo>
                    <a:lnTo>
                      <a:pt x="64" y="298"/>
                    </a:lnTo>
                    <a:lnTo>
                      <a:pt x="66" y="305"/>
                    </a:lnTo>
                    <a:lnTo>
                      <a:pt x="72" y="309"/>
                    </a:lnTo>
                    <a:lnTo>
                      <a:pt x="73" y="315"/>
                    </a:lnTo>
                    <a:lnTo>
                      <a:pt x="72" y="321"/>
                    </a:lnTo>
                    <a:lnTo>
                      <a:pt x="51" y="331"/>
                    </a:lnTo>
                    <a:lnTo>
                      <a:pt x="43" y="327"/>
                    </a:lnTo>
                    <a:lnTo>
                      <a:pt x="41" y="333"/>
                    </a:lnTo>
                    <a:lnTo>
                      <a:pt x="44" y="342"/>
                    </a:lnTo>
                    <a:lnTo>
                      <a:pt x="46" y="345"/>
                    </a:lnTo>
                    <a:lnTo>
                      <a:pt x="46" y="358"/>
                    </a:lnTo>
                    <a:lnTo>
                      <a:pt x="48" y="359"/>
                    </a:lnTo>
                    <a:lnTo>
                      <a:pt x="48" y="366"/>
                    </a:lnTo>
                    <a:lnTo>
                      <a:pt x="44" y="380"/>
                    </a:lnTo>
                    <a:lnTo>
                      <a:pt x="49" y="377"/>
                    </a:lnTo>
                    <a:lnTo>
                      <a:pt x="50" y="387"/>
                    </a:lnTo>
                    <a:lnTo>
                      <a:pt x="44" y="391"/>
                    </a:lnTo>
                    <a:lnTo>
                      <a:pt x="38" y="400"/>
                    </a:lnTo>
                    <a:lnTo>
                      <a:pt x="45" y="404"/>
                    </a:lnTo>
                    <a:lnTo>
                      <a:pt x="40" y="409"/>
                    </a:lnTo>
                    <a:lnTo>
                      <a:pt x="33" y="406"/>
                    </a:lnTo>
                    <a:lnTo>
                      <a:pt x="27" y="418"/>
                    </a:lnTo>
                    <a:lnTo>
                      <a:pt x="27" y="430"/>
                    </a:lnTo>
                    <a:lnTo>
                      <a:pt x="21" y="435"/>
                    </a:lnTo>
                    <a:lnTo>
                      <a:pt x="22" y="441"/>
                    </a:lnTo>
                    <a:lnTo>
                      <a:pt x="30" y="449"/>
                    </a:lnTo>
                    <a:lnTo>
                      <a:pt x="12" y="455"/>
                    </a:lnTo>
                    <a:lnTo>
                      <a:pt x="17" y="457"/>
                    </a:lnTo>
                    <a:lnTo>
                      <a:pt x="18" y="465"/>
                    </a:lnTo>
                    <a:lnTo>
                      <a:pt x="13" y="463"/>
                    </a:lnTo>
                    <a:lnTo>
                      <a:pt x="10" y="471"/>
                    </a:lnTo>
                    <a:lnTo>
                      <a:pt x="11" y="479"/>
                    </a:lnTo>
                    <a:lnTo>
                      <a:pt x="16" y="482"/>
                    </a:lnTo>
                    <a:lnTo>
                      <a:pt x="8" y="499"/>
                    </a:lnTo>
                    <a:lnTo>
                      <a:pt x="0" y="500"/>
                    </a:lnTo>
                    <a:lnTo>
                      <a:pt x="3" y="509"/>
                    </a:lnTo>
                    <a:lnTo>
                      <a:pt x="30" y="499"/>
                    </a:lnTo>
                    <a:lnTo>
                      <a:pt x="49" y="504"/>
                    </a:lnTo>
                    <a:lnTo>
                      <a:pt x="51" y="509"/>
                    </a:lnTo>
                    <a:lnTo>
                      <a:pt x="41" y="505"/>
                    </a:lnTo>
                    <a:lnTo>
                      <a:pt x="41" y="511"/>
                    </a:lnTo>
                    <a:lnTo>
                      <a:pt x="60" y="522"/>
                    </a:lnTo>
                    <a:lnTo>
                      <a:pt x="66" y="530"/>
                    </a:lnTo>
                    <a:lnTo>
                      <a:pt x="66" y="519"/>
                    </a:lnTo>
                    <a:lnTo>
                      <a:pt x="75" y="520"/>
                    </a:lnTo>
                    <a:lnTo>
                      <a:pt x="75" y="531"/>
                    </a:lnTo>
                    <a:lnTo>
                      <a:pt x="99" y="541"/>
                    </a:lnTo>
                    <a:lnTo>
                      <a:pt x="113" y="560"/>
                    </a:lnTo>
                    <a:lnTo>
                      <a:pt x="116" y="575"/>
                    </a:lnTo>
                    <a:lnTo>
                      <a:pt x="124" y="585"/>
                    </a:lnTo>
                    <a:lnTo>
                      <a:pt x="139" y="632"/>
                    </a:lnTo>
                    <a:lnTo>
                      <a:pt x="151" y="653"/>
                    </a:lnTo>
                    <a:lnTo>
                      <a:pt x="163" y="650"/>
                    </a:lnTo>
                    <a:lnTo>
                      <a:pt x="180" y="628"/>
                    </a:lnTo>
                    <a:lnTo>
                      <a:pt x="194" y="624"/>
                    </a:lnTo>
                    <a:lnTo>
                      <a:pt x="215" y="603"/>
                    </a:lnTo>
                    <a:lnTo>
                      <a:pt x="223" y="592"/>
                    </a:lnTo>
                    <a:lnTo>
                      <a:pt x="229" y="580"/>
                    </a:lnTo>
                    <a:lnTo>
                      <a:pt x="238" y="587"/>
                    </a:lnTo>
                    <a:lnTo>
                      <a:pt x="239" y="592"/>
                    </a:lnTo>
                    <a:lnTo>
                      <a:pt x="238" y="600"/>
                    </a:lnTo>
                    <a:lnTo>
                      <a:pt x="249" y="601"/>
                    </a:lnTo>
                    <a:lnTo>
                      <a:pt x="259" y="600"/>
                    </a:lnTo>
                    <a:lnTo>
                      <a:pt x="263" y="591"/>
                    </a:lnTo>
                    <a:lnTo>
                      <a:pt x="264" y="581"/>
                    </a:lnTo>
                    <a:lnTo>
                      <a:pt x="269" y="590"/>
                    </a:lnTo>
                    <a:lnTo>
                      <a:pt x="272" y="591"/>
                    </a:lnTo>
                    <a:lnTo>
                      <a:pt x="279" y="587"/>
                    </a:lnTo>
                    <a:lnTo>
                      <a:pt x="291" y="575"/>
                    </a:lnTo>
                    <a:lnTo>
                      <a:pt x="298" y="562"/>
                    </a:lnTo>
                    <a:lnTo>
                      <a:pt x="298" y="549"/>
                    </a:lnTo>
                    <a:lnTo>
                      <a:pt x="301" y="542"/>
                    </a:lnTo>
                    <a:lnTo>
                      <a:pt x="298" y="537"/>
                    </a:lnTo>
                    <a:lnTo>
                      <a:pt x="299" y="511"/>
                    </a:lnTo>
                    <a:lnTo>
                      <a:pt x="297" y="501"/>
                    </a:lnTo>
                    <a:lnTo>
                      <a:pt x="310" y="474"/>
                    </a:lnTo>
                    <a:lnTo>
                      <a:pt x="313" y="461"/>
                    </a:lnTo>
                    <a:lnTo>
                      <a:pt x="314" y="449"/>
                    </a:lnTo>
                    <a:lnTo>
                      <a:pt x="317" y="446"/>
                    </a:lnTo>
                    <a:lnTo>
                      <a:pt x="328" y="455"/>
                    </a:lnTo>
                    <a:lnTo>
                      <a:pt x="336" y="446"/>
                    </a:lnTo>
                    <a:lnTo>
                      <a:pt x="346" y="444"/>
                    </a:lnTo>
                    <a:lnTo>
                      <a:pt x="362" y="433"/>
                    </a:lnTo>
                    <a:lnTo>
                      <a:pt x="366" y="412"/>
                    </a:lnTo>
                    <a:lnTo>
                      <a:pt x="371" y="395"/>
                    </a:lnTo>
                    <a:lnTo>
                      <a:pt x="371" y="381"/>
                    </a:lnTo>
                    <a:lnTo>
                      <a:pt x="379" y="370"/>
                    </a:lnTo>
                    <a:lnTo>
                      <a:pt x="392" y="361"/>
                    </a:lnTo>
                    <a:lnTo>
                      <a:pt x="406" y="357"/>
                    </a:lnTo>
                    <a:lnTo>
                      <a:pt x="416" y="343"/>
                    </a:lnTo>
                    <a:lnTo>
                      <a:pt x="438" y="330"/>
                    </a:lnTo>
                    <a:lnTo>
                      <a:pt x="462" y="309"/>
                    </a:lnTo>
                    <a:lnTo>
                      <a:pt x="474" y="304"/>
                    </a:lnTo>
                    <a:lnTo>
                      <a:pt x="481" y="294"/>
                    </a:lnTo>
                    <a:lnTo>
                      <a:pt x="514" y="267"/>
                    </a:lnTo>
                    <a:lnTo>
                      <a:pt x="550" y="251"/>
                    </a:lnTo>
                    <a:lnTo>
                      <a:pt x="582" y="224"/>
                    </a:lnTo>
                    <a:lnTo>
                      <a:pt x="581" y="203"/>
                    </a:lnTo>
                    <a:lnTo>
                      <a:pt x="573" y="198"/>
                    </a:lnTo>
                    <a:lnTo>
                      <a:pt x="561" y="180"/>
                    </a:lnTo>
                    <a:lnTo>
                      <a:pt x="552" y="176"/>
                    </a:lnTo>
                    <a:lnTo>
                      <a:pt x="535" y="150"/>
                    </a:lnTo>
                    <a:lnTo>
                      <a:pt x="512" y="129"/>
                    </a:lnTo>
                    <a:lnTo>
                      <a:pt x="506" y="119"/>
                    </a:lnTo>
                    <a:lnTo>
                      <a:pt x="487" y="95"/>
                    </a:lnTo>
                    <a:lnTo>
                      <a:pt x="478" y="89"/>
                    </a:lnTo>
                    <a:lnTo>
                      <a:pt x="462" y="69"/>
                    </a:lnTo>
                    <a:lnTo>
                      <a:pt x="420" y="59"/>
                    </a:lnTo>
                    <a:lnTo>
                      <a:pt x="390" y="73"/>
                    </a:lnTo>
                    <a:lnTo>
                      <a:pt x="385" y="78"/>
                    </a:lnTo>
                    <a:lnTo>
                      <a:pt x="382" y="86"/>
                    </a:lnTo>
                    <a:lnTo>
                      <a:pt x="389" y="96"/>
                    </a:lnTo>
                    <a:lnTo>
                      <a:pt x="384" y="105"/>
                    </a:lnTo>
                    <a:lnTo>
                      <a:pt x="382" y="115"/>
                    </a:lnTo>
                    <a:lnTo>
                      <a:pt x="371" y="121"/>
                    </a:lnTo>
                    <a:lnTo>
                      <a:pt x="368" y="108"/>
                    </a:lnTo>
                    <a:lnTo>
                      <a:pt x="374" y="101"/>
                    </a:lnTo>
                    <a:lnTo>
                      <a:pt x="374" y="85"/>
                    </a:lnTo>
                    <a:lnTo>
                      <a:pt x="373" y="78"/>
                    </a:lnTo>
                    <a:lnTo>
                      <a:pt x="358" y="75"/>
                    </a:lnTo>
                    <a:lnTo>
                      <a:pt x="352" y="81"/>
                    </a:lnTo>
                    <a:lnTo>
                      <a:pt x="352" y="86"/>
                    </a:lnTo>
                    <a:lnTo>
                      <a:pt x="345" y="92"/>
                    </a:lnTo>
                    <a:lnTo>
                      <a:pt x="340" y="111"/>
                    </a:lnTo>
                    <a:lnTo>
                      <a:pt x="338" y="102"/>
                    </a:lnTo>
                    <a:lnTo>
                      <a:pt x="336" y="90"/>
                    </a:lnTo>
                    <a:lnTo>
                      <a:pt x="345" y="76"/>
                    </a:lnTo>
                    <a:lnTo>
                      <a:pt x="304" y="52"/>
                    </a:lnTo>
                    <a:lnTo>
                      <a:pt x="291" y="33"/>
                    </a:lnTo>
                    <a:lnTo>
                      <a:pt x="279" y="24"/>
                    </a:lnTo>
                    <a:lnTo>
                      <a:pt x="276" y="13"/>
                    </a:lnTo>
                    <a:lnTo>
                      <a:pt x="244" y="0"/>
                    </a:lnTo>
                    <a:lnTo>
                      <a:pt x="231" y="3"/>
                    </a:lnTo>
                    <a:lnTo>
                      <a:pt x="224" y="14"/>
                    </a:lnTo>
                    <a:lnTo>
                      <a:pt x="213" y="9"/>
                    </a:lnTo>
                    <a:lnTo>
                      <a:pt x="197" y="16"/>
                    </a:lnTo>
                    <a:lnTo>
                      <a:pt x="157" y="19"/>
                    </a:lnTo>
                    <a:lnTo>
                      <a:pt x="156" y="24"/>
                    </a:lnTo>
                    <a:lnTo>
                      <a:pt x="158" y="36"/>
                    </a:lnTo>
                    <a:lnTo>
                      <a:pt x="158" y="46"/>
                    </a:lnTo>
                    <a:lnTo>
                      <a:pt x="154" y="36"/>
                    </a:lnTo>
                    <a:lnTo>
                      <a:pt x="151" y="31"/>
                    </a:lnTo>
                    <a:lnTo>
                      <a:pt x="150" y="21"/>
                    </a:lnTo>
                    <a:lnTo>
                      <a:pt x="146" y="19"/>
                    </a:lnTo>
                    <a:lnTo>
                      <a:pt x="141" y="29"/>
                    </a:lnTo>
                    <a:lnTo>
                      <a:pt x="139" y="27"/>
                    </a:lnTo>
                    <a:lnTo>
                      <a:pt x="136" y="20"/>
                    </a:lnTo>
                    <a:lnTo>
                      <a:pt x="120" y="24"/>
                    </a:lnTo>
                    <a:lnTo>
                      <a:pt x="120" y="27"/>
                    </a:lnTo>
                    <a:lnTo>
                      <a:pt x="105" y="24"/>
                    </a:lnTo>
                    <a:lnTo>
                      <a:pt x="99" y="25"/>
                    </a:lnTo>
                    <a:lnTo>
                      <a:pt x="99" y="31"/>
                    </a:lnTo>
                    <a:lnTo>
                      <a:pt x="83" y="33"/>
                    </a:lnTo>
                    <a:lnTo>
                      <a:pt x="70" y="40"/>
                    </a:lnTo>
                    <a:lnTo>
                      <a:pt x="75" y="42"/>
                    </a:lnTo>
                    <a:lnTo>
                      <a:pt x="80" y="63"/>
                    </a:lnTo>
                    <a:lnTo>
                      <a:pt x="93" y="73"/>
                    </a:lnTo>
                    <a:lnTo>
                      <a:pt x="84" y="78"/>
                    </a:lnTo>
                    <a:lnTo>
                      <a:pt x="83" y="89"/>
                    </a:lnTo>
                    <a:lnTo>
                      <a:pt x="93" y="1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1" name="Canada"/>
              <p:cNvSpPr>
                <a:spLocks noChangeAspect="1"/>
              </p:cNvSpPr>
              <p:nvPr>
                <p:custDataLst>
                  <p:tags r:id="rId179"/>
                </p:custDataLst>
              </p:nvPr>
            </p:nvSpPr>
            <p:spPr bwMode="gray">
              <a:xfrm>
                <a:off x="1210" y="1283"/>
                <a:ext cx="200" cy="164"/>
              </a:xfrm>
              <a:custGeom>
                <a:avLst/>
                <a:gdLst/>
                <a:ahLst/>
                <a:cxnLst>
                  <a:cxn ang="0">
                    <a:pos x="126" y="657"/>
                  </a:cxn>
                  <a:cxn ang="0">
                    <a:pos x="169" y="549"/>
                  </a:cxn>
                  <a:cxn ang="0">
                    <a:pos x="358" y="544"/>
                  </a:cxn>
                  <a:cxn ang="0">
                    <a:pos x="368" y="506"/>
                  </a:cxn>
                  <a:cxn ang="0">
                    <a:pos x="282" y="473"/>
                  </a:cxn>
                  <a:cxn ang="0">
                    <a:pos x="101" y="478"/>
                  </a:cxn>
                  <a:cxn ang="0">
                    <a:pos x="62" y="396"/>
                  </a:cxn>
                  <a:cxn ang="0">
                    <a:pos x="178" y="361"/>
                  </a:cxn>
                  <a:cxn ang="0">
                    <a:pos x="133" y="340"/>
                  </a:cxn>
                  <a:cxn ang="0">
                    <a:pos x="79" y="345"/>
                  </a:cxn>
                  <a:cxn ang="0">
                    <a:pos x="47" y="338"/>
                  </a:cxn>
                  <a:cxn ang="0">
                    <a:pos x="29" y="309"/>
                  </a:cxn>
                  <a:cxn ang="0">
                    <a:pos x="52" y="209"/>
                  </a:cxn>
                  <a:cxn ang="0">
                    <a:pos x="46" y="135"/>
                  </a:cxn>
                  <a:cxn ang="0">
                    <a:pos x="239" y="0"/>
                  </a:cxn>
                  <a:cxn ang="0">
                    <a:pos x="272" y="94"/>
                  </a:cxn>
                  <a:cxn ang="0">
                    <a:pos x="244" y="146"/>
                  </a:cxn>
                  <a:cxn ang="0">
                    <a:pos x="300" y="81"/>
                  </a:cxn>
                  <a:cxn ang="0">
                    <a:pos x="406" y="106"/>
                  </a:cxn>
                  <a:cxn ang="0">
                    <a:pos x="415" y="173"/>
                  </a:cxn>
                  <a:cxn ang="0">
                    <a:pos x="446" y="157"/>
                  </a:cxn>
                  <a:cxn ang="0">
                    <a:pos x="486" y="144"/>
                  </a:cxn>
                  <a:cxn ang="0">
                    <a:pos x="503" y="123"/>
                  </a:cxn>
                  <a:cxn ang="0">
                    <a:pos x="504" y="76"/>
                  </a:cxn>
                  <a:cxn ang="0">
                    <a:pos x="546" y="121"/>
                  </a:cxn>
                  <a:cxn ang="0">
                    <a:pos x="570" y="205"/>
                  </a:cxn>
                  <a:cxn ang="0">
                    <a:pos x="606" y="310"/>
                  </a:cxn>
                  <a:cxn ang="0">
                    <a:pos x="627" y="247"/>
                  </a:cxn>
                  <a:cxn ang="0">
                    <a:pos x="617" y="166"/>
                  </a:cxn>
                  <a:cxn ang="0">
                    <a:pos x="600" y="49"/>
                  </a:cxn>
                  <a:cxn ang="0">
                    <a:pos x="602" y="8"/>
                  </a:cxn>
                  <a:cxn ang="0">
                    <a:pos x="669" y="31"/>
                  </a:cxn>
                  <a:cxn ang="0">
                    <a:pos x="691" y="44"/>
                  </a:cxn>
                  <a:cxn ang="0">
                    <a:pos x="751" y="110"/>
                  </a:cxn>
                  <a:cxn ang="0">
                    <a:pos x="766" y="200"/>
                  </a:cxn>
                  <a:cxn ang="0">
                    <a:pos x="805" y="336"/>
                  </a:cxn>
                  <a:cxn ang="0">
                    <a:pos x="815" y="428"/>
                  </a:cxn>
                  <a:cxn ang="0">
                    <a:pos x="881" y="478"/>
                  </a:cxn>
                  <a:cxn ang="0">
                    <a:pos x="963" y="543"/>
                  </a:cxn>
                  <a:cxn ang="0">
                    <a:pos x="999" y="584"/>
                  </a:cxn>
                  <a:cxn ang="0">
                    <a:pos x="961" y="616"/>
                  </a:cxn>
                  <a:cxn ang="0">
                    <a:pos x="934" y="597"/>
                  </a:cxn>
                  <a:cxn ang="0">
                    <a:pos x="906" y="632"/>
                  </a:cxn>
                  <a:cxn ang="0">
                    <a:pos x="880" y="677"/>
                  </a:cxn>
                  <a:cxn ang="0">
                    <a:pos x="940" y="671"/>
                  </a:cxn>
                  <a:cxn ang="0">
                    <a:pos x="933" y="711"/>
                  </a:cxn>
                  <a:cxn ang="0">
                    <a:pos x="949" y="734"/>
                  </a:cxn>
                  <a:cxn ang="0">
                    <a:pos x="893" y="767"/>
                  </a:cxn>
                  <a:cxn ang="0">
                    <a:pos x="809" y="749"/>
                  </a:cxn>
                  <a:cxn ang="0">
                    <a:pos x="758" y="724"/>
                  </a:cxn>
                  <a:cxn ang="0">
                    <a:pos x="697" y="677"/>
                  </a:cxn>
                  <a:cxn ang="0">
                    <a:pos x="655" y="718"/>
                  </a:cxn>
                  <a:cxn ang="0">
                    <a:pos x="521" y="796"/>
                  </a:cxn>
                  <a:cxn ang="0">
                    <a:pos x="425" y="805"/>
                  </a:cxn>
                  <a:cxn ang="0">
                    <a:pos x="320" y="819"/>
                  </a:cxn>
                  <a:cxn ang="0">
                    <a:pos x="300" y="732"/>
                  </a:cxn>
                  <a:cxn ang="0">
                    <a:pos x="230" y="698"/>
                  </a:cxn>
                </a:cxnLst>
                <a:rect l="0" t="0" r="r" b="b"/>
                <a:pathLst>
                  <a:path w="999" h="819">
                    <a:moveTo>
                      <a:pt x="230" y="698"/>
                    </a:moveTo>
                    <a:lnTo>
                      <a:pt x="225" y="704"/>
                    </a:lnTo>
                    <a:lnTo>
                      <a:pt x="203" y="704"/>
                    </a:lnTo>
                    <a:lnTo>
                      <a:pt x="196" y="698"/>
                    </a:lnTo>
                    <a:lnTo>
                      <a:pt x="173" y="697"/>
                    </a:lnTo>
                    <a:lnTo>
                      <a:pt x="137" y="671"/>
                    </a:lnTo>
                    <a:lnTo>
                      <a:pt x="137" y="660"/>
                    </a:lnTo>
                    <a:lnTo>
                      <a:pt x="126" y="657"/>
                    </a:lnTo>
                    <a:lnTo>
                      <a:pt x="118" y="650"/>
                    </a:lnTo>
                    <a:lnTo>
                      <a:pt x="116" y="630"/>
                    </a:lnTo>
                    <a:lnTo>
                      <a:pt x="105" y="622"/>
                    </a:lnTo>
                    <a:lnTo>
                      <a:pt x="101" y="613"/>
                    </a:lnTo>
                    <a:lnTo>
                      <a:pt x="94" y="593"/>
                    </a:lnTo>
                    <a:lnTo>
                      <a:pt x="91" y="581"/>
                    </a:lnTo>
                    <a:lnTo>
                      <a:pt x="112" y="571"/>
                    </a:lnTo>
                    <a:lnTo>
                      <a:pt x="169" y="549"/>
                    </a:lnTo>
                    <a:lnTo>
                      <a:pt x="209" y="539"/>
                    </a:lnTo>
                    <a:lnTo>
                      <a:pt x="232" y="538"/>
                    </a:lnTo>
                    <a:lnTo>
                      <a:pt x="253" y="530"/>
                    </a:lnTo>
                    <a:lnTo>
                      <a:pt x="266" y="528"/>
                    </a:lnTo>
                    <a:lnTo>
                      <a:pt x="279" y="536"/>
                    </a:lnTo>
                    <a:lnTo>
                      <a:pt x="318" y="539"/>
                    </a:lnTo>
                    <a:lnTo>
                      <a:pt x="339" y="546"/>
                    </a:lnTo>
                    <a:lnTo>
                      <a:pt x="358" y="544"/>
                    </a:lnTo>
                    <a:lnTo>
                      <a:pt x="369" y="533"/>
                    </a:lnTo>
                    <a:lnTo>
                      <a:pt x="365" y="526"/>
                    </a:lnTo>
                    <a:lnTo>
                      <a:pt x="365" y="522"/>
                    </a:lnTo>
                    <a:lnTo>
                      <a:pt x="374" y="527"/>
                    </a:lnTo>
                    <a:lnTo>
                      <a:pt x="382" y="525"/>
                    </a:lnTo>
                    <a:lnTo>
                      <a:pt x="381" y="520"/>
                    </a:lnTo>
                    <a:lnTo>
                      <a:pt x="375" y="510"/>
                    </a:lnTo>
                    <a:lnTo>
                      <a:pt x="368" y="506"/>
                    </a:lnTo>
                    <a:lnTo>
                      <a:pt x="348" y="503"/>
                    </a:lnTo>
                    <a:lnTo>
                      <a:pt x="344" y="495"/>
                    </a:lnTo>
                    <a:lnTo>
                      <a:pt x="332" y="495"/>
                    </a:lnTo>
                    <a:lnTo>
                      <a:pt x="317" y="488"/>
                    </a:lnTo>
                    <a:lnTo>
                      <a:pt x="312" y="482"/>
                    </a:lnTo>
                    <a:lnTo>
                      <a:pt x="296" y="479"/>
                    </a:lnTo>
                    <a:lnTo>
                      <a:pt x="289" y="480"/>
                    </a:lnTo>
                    <a:lnTo>
                      <a:pt x="282" y="473"/>
                    </a:lnTo>
                    <a:lnTo>
                      <a:pt x="248" y="479"/>
                    </a:lnTo>
                    <a:lnTo>
                      <a:pt x="196" y="499"/>
                    </a:lnTo>
                    <a:lnTo>
                      <a:pt x="188" y="493"/>
                    </a:lnTo>
                    <a:lnTo>
                      <a:pt x="172" y="493"/>
                    </a:lnTo>
                    <a:lnTo>
                      <a:pt x="162" y="488"/>
                    </a:lnTo>
                    <a:lnTo>
                      <a:pt x="158" y="480"/>
                    </a:lnTo>
                    <a:lnTo>
                      <a:pt x="118" y="489"/>
                    </a:lnTo>
                    <a:lnTo>
                      <a:pt x="101" y="478"/>
                    </a:lnTo>
                    <a:lnTo>
                      <a:pt x="83" y="482"/>
                    </a:lnTo>
                    <a:lnTo>
                      <a:pt x="81" y="476"/>
                    </a:lnTo>
                    <a:lnTo>
                      <a:pt x="81" y="472"/>
                    </a:lnTo>
                    <a:lnTo>
                      <a:pt x="68" y="467"/>
                    </a:lnTo>
                    <a:lnTo>
                      <a:pt x="57" y="452"/>
                    </a:lnTo>
                    <a:lnTo>
                      <a:pt x="46" y="434"/>
                    </a:lnTo>
                    <a:lnTo>
                      <a:pt x="42" y="418"/>
                    </a:lnTo>
                    <a:lnTo>
                      <a:pt x="62" y="396"/>
                    </a:lnTo>
                    <a:lnTo>
                      <a:pt x="83" y="387"/>
                    </a:lnTo>
                    <a:lnTo>
                      <a:pt x="103" y="385"/>
                    </a:lnTo>
                    <a:lnTo>
                      <a:pt x="122" y="377"/>
                    </a:lnTo>
                    <a:lnTo>
                      <a:pt x="142" y="363"/>
                    </a:lnTo>
                    <a:lnTo>
                      <a:pt x="161" y="358"/>
                    </a:lnTo>
                    <a:lnTo>
                      <a:pt x="160" y="361"/>
                    </a:lnTo>
                    <a:lnTo>
                      <a:pt x="165" y="364"/>
                    </a:lnTo>
                    <a:lnTo>
                      <a:pt x="178" y="361"/>
                    </a:lnTo>
                    <a:lnTo>
                      <a:pt x="185" y="358"/>
                    </a:lnTo>
                    <a:lnTo>
                      <a:pt x="181" y="353"/>
                    </a:lnTo>
                    <a:lnTo>
                      <a:pt x="165" y="352"/>
                    </a:lnTo>
                    <a:lnTo>
                      <a:pt x="173" y="342"/>
                    </a:lnTo>
                    <a:lnTo>
                      <a:pt x="187" y="339"/>
                    </a:lnTo>
                    <a:lnTo>
                      <a:pt x="193" y="334"/>
                    </a:lnTo>
                    <a:lnTo>
                      <a:pt x="194" y="329"/>
                    </a:lnTo>
                    <a:lnTo>
                      <a:pt x="133" y="340"/>
                    </a:lnTo>
                    <a:lnTo>
                      <a:pt x="122" y="345"/>
                    </a:lnTo>
                    <a:lnTo>
                      <a:pt x="111" y="347"/>
                    </a:lnTo>
                    <a:lnTo>
                      <a:pt x="105" y="352"/>
                    </a:lnTo>
                    <a:lnTo>
                      <a:pt x="96" y="352"/>
                    </a:lnTo>
                    <a:lnTo>
                      <a:pt x="91" y="348"/>
                    </a:lnTo>
                    <a:lnTo>
                      <a:pt x="90" y="344"/>
                    </a:lnTo>
                    <a:lnTo>
                      <a:pt x="83" y="343"/>
                    </a:lnTo>
                    <a:lnTo>
                      <a:pt x="79" y="345"/>
                    </a:lnTo>
                    <a:lnTo>
                      <a:pt x="83" y="348"/>
                    </a:lnTo>
                    <a:lnTo>
                      <a:pt x="83" y="354"/>
                    </a:lnTo>
                    <a:lnTo>
                      <a:pt x="68" y="354"/>
                    </a:lnTo>
                    <a:lnTo>
                      <a:pt x="64" y="359"/>
                    </a:lnTo>
                    <a:lnTo>
                      <a:pt x="51" y="360"/>
                    </a:lnTo>
                    <a:lnTo>
                      <a:pt x="45" y="355"/>
                    </a:lnTo>
                    <a:lnTo>
                      <a:pt x="43" y="347"/>
                    </a:lnTo>
                    <a:lnTo>
                      <a:pt x="47" y="338"/>
                    </a:lnTo>
                    <a:lnTo>
                      <a:pt x="53" y="333"/>
                    </a:lnTo>
                    <a:lnTo>
                      <a:pt x="69" y="332"/>
                    </a:lnTo>
                    <a:lnTo>
                      <a:pt x="67" y="310"/>
                    </a:lnTo>
                    <a:lnTo>
                      <a:pt x="53" y="313"/>
                    </a:lnTo>
                    <a:lnTo>
                      <a:pt x="41" y="322"/>
                    </a:lnTo>
                    <a:lnTo>
                      <a:pt x="35" y="320"/>
                    </a:lnTo>
                    <a:lnTo>
                      <a:pt x="33" y="311"/>
                    </a:lnTo>
                    <a:lnTo>
                      <a:pt x="29" y="309"/>
                    </a:lnTo>
                    <a:lnTo>
                      <a:pt x="8" y="313"/>
                    </a:lnTo>
                    <a:lnTo>
                      <a:pt x="6" y="304"/>
                    </a:lnTo>
                    <a:lnTo>
                      <a:pt x="2" y="290"/>
                    </a:lnTo>
                    <a:lnTo>
                      <a:pt x="0" y="273"/>
                    </a:lnTo>
                    <a:lnTo>
                      <a:pt x="6" y="256"/>
                    </a:lnTo>
                    <a:lnTo>
                      <a:pt x="22" y="234"/>
                    </a:lnTo>
                    <a:lnTo>
                      <a:pt x="32" y="218"/>
                    </a:lnTo>
                    <a:lnTo>
                      <a:pt x="52" y="209"/>
                    </a:lnTo>
                    <a:lnTo>
                      <a:pt x="53" y="202"/>
                    </a:lnTo>
                    <a:lnTo>
                      <a:pt x="51" y="194"/>
                    </a:lnTo>
                    <a:lnTo>
                      <a:pt x="48" y="189"/>
                    </a:lnTo>
                    <a:lnTo>
                      <a:pt x="36" y="189"/>
                    </a:lnTo>
                    <a:lnTo>
                      <a:pt x="32" y="182"/>
                    </a:lnTo>
                    <a:lnTo>
                      <a:pt x="31" y="165"/>
                    </a:lnTo>
                    <a:lnTo>
                      <a:pt x="36" y="151"/>
                    </a:lnTo>
                    <a:lnTo>
                      <a:pt x="46" y="135"/>
                    </a:lnTo>
                    <a:lnTo>
                      <a:pt x="85" y="94"/>
                    </a:lnTo>
                    <a:lnTo>
                      <a:pt x="122" y="68"/>
                    </a:lnTo>
                    <a:lnTo>
                      <a:pt x="129" y="59"/>
                    </a:lnTo>
                    <a:lnTo>
                      <a:pt x="142" y="55"/>
                    </a:lnTo>
                    <a:lnTo>
                      <a:pt x="148" y="44"/>
                    </a:lnTo>
                    <a:lnTo>
                      <a:pt x="162" y="42"/>
                    </a:lnTo>
                    <a:lnTo>
                      <a:pt x="194" y="22"/>
                    </a:lnTo>
                    <a:lnTo>
                      <a:pt x="239" y="0"/>
                    </a:lnTo>
                    <a:lnTo>
                      <a:pt x="252" y="3"/>
                    </a:lnTo>
                    <a:lnTo>
                      <a:pt x="255" y="10"/>
                    </a:lnTo>
                    <a:lnTo>
                      <a:pt x="261" y="14"/>
                    </a:lnTo>
                    <a:lnTo>
                      <a:pt x="262" y="21"/>
                    </a:lnTo>
                    <a:lnTo>
                      <a:pt x="269" y="31"/>
                    </a:lnTo>
                    <a:lnTo>
                      <a:pt x="272" y="43"/>
                    </a:lnTo>
                    <a:lnTo>
                      <a:pt x="273" y="71"/>
                    </a:lnTo>
                    <a:lnTo>
                      <a:pt x="272" y="94"/>
                    </a:lnTo>
                    <a:lnTo>
                      <a:pt x="259" y="101"/>
                    </a:lnTo>
                    <a:lnTo>
                      <a:pt x="255" y="111"/>
                    </a:lnTo>
                    <a:lnTo>
                      <a:pt x="253" y="117"/>
                    </a:lnTo>
                    <a:lnTo>
                      <a:pt x="255" y="121"/>
                    </a:lnTo>
                    <a:lnTo>
                      <a:pt x="252" y="127"/>
                    </a:lnTo>
                    <a:lnTo>
                      <a:pt x="239" y="133"/>
                    </a:lnTo>
                    <a:lnTo>
                      <a:pt x="237" y="138"/>
                    </a:lnTo>
                    <a:lnTo>
                      <a:pt x="244" y="146"/>
                    </a:lnTo>
                    <a:lnTo>
                      <a:pt x="268" y="126"/>
                    </a:lnTo>
                    <a:lnTo>
                      <a:pt x="274" y="126"/>
                    </a:lnTo>
                    <a:lnTo>
                      <a:pt x="277" y="135"/>
                    </a:lnTo>
                    <a:lnTo>
                      <a:pt x="295" y="127"/>
                    </a:lnTo>
                    <a:lnTo>
                      <a:pt x="300" y="113"/>
                    </a:lnTo>
                    <a:lnTo>
                      <a:pt x="294" y="110"/>
                    </a:lnTo>
                    <a:lnTo>
                      <a:pt x="294" y="97"/>
                    </a:lnTo>
                    <a:lnTo>
                      <a:pt x="300" y="81"/>
                    </a:lnTo>
                    <a:lnTo>
                      <a:pt x="309" y="76"/>
                    </a:lnTo>
                    <a:lnTo>
                      <a:pt x="310" y="69"/>
                    </a:lnTo>
                    <a:lnTo>
                      <a:pt x="315" y="64"/>
                    </a:lnTo>
                    <a:lnTo>
                      <a:pt x="329" y="62"/>
                    </a:lnTo>
                    <a:lnTo>
                      <a:pt x="355" y="80"/>
                    </a:lnTo>
                    <a:lnTo>
                      <a:pt x="388" y="91"/>
                    </a:lnTo>
                    <a:lnTo>
                      <a:pt x="396" y="101"/>
                    </a:lnTo>
                    <a:lnTo>
                      <a:pt x="406" y="106"/>
                    </a:lnTo>
                    <a:lnTo>
                      <a:pt x="415" y="113"/>
                    </a:lnTo>
                    <a:lnTo>
                      <a:pt x="424" y="128"/>
                    </a:lnTo>
                    <a:lnTo>
                      <a:pt x="427" y="145"/>
                    </a:lnTo>
                    <a:lnTo>
                      <a:pt x="408" y="171"/>
                    </a:lnTo>
                    <a:lnTo>
                      <a:pt x="388" y="189"/>
                    </a:lnTo>
                    <a:lnTo>
                      <a:pt x="388" y="192"/>
                    </a:lnTo>
                    <a:lnTo>
                      <a:pt x="406" y="188"/>
                    </a:lnTo>
                    <a:lnTo>
                      <a:pt x="415" y="173"/>
                    </a:lnTo>
                    <a:lnTo>
                      <a:pt x="427" y="166"/>
                    </a:lnTo>
                    <a:lnTo>
                      <a:pt x="425" y="173"/>
                    </a:lnTo>
                    <a:lnTo>
                      <a:pt x="420" y="187"/>
                    </a:lnTo>
                    <a:lnTo>
                      <a:pt x="433" y="192"/>
                    </a:lnTo>
                    <a:lnTo>
                      <a:pt x="435" y="187"/>
                    </a:lnTo>
                    <a:lnTo>
                      <a:pt x="439" y="167"/>
                    </a:lnTo>
                    <a:lnTo>
                      <a:pt x="440" y="161"/>
                    </a:lnTo>
                    <a:lnTo>
                      <a:pt x="446" y="157"/>
                    </a:lnTo>
                    <a:lnTo>
                      <a:pt x="454" y="148"/>
                    </a:lnTo>
                    <a:lnTo>
                      <a:pt x="465" y="150"/>
                    </a:lnTo>
                    <a:lnTo>
                      <a:pt x="472" y="146"/>
                    </a:lnTo>
                    <a:lnTo>
                      <a:pt x="486" y="164"/>
                    </a:lnTo>
                    <a:lnTo>
                      <a:pt x="488" y="157"/>
                    </a:lnTo>
                    <a:lnTo>
                      <a:pt x="486" y="148"/>
                    </a:lnTo>
                    <a:lnTo>
                      <a:pt x="483" y="145"/>
                    </a:lnTo>
                    <a:lnTo>
                      <a:pt x="486" y="144"/>
                    </a:lnTo>
                    <a:lnTo>
                      <a:pt x="494" y="151"/>
                    </a:lnTo>
                    <a:lnTo>
                      <a:pt x="499" y="148"/>
                    </a:lnTo>
                    <a:lnTo>
                      <a:pt x="497" y="138"/>
                    </a:lnTo>
                    <a:lnTo>
                      <a:pt x="484" y="129"/>
                    </a:lnTo>
                    <a:lnTo>
                      <a:pt x="484" y="123"/>
                    </a:lnTo>
                    <a:lnTo>
                      <a:pt x="486" y="122"/>
                    </a:lnTo>
                    <a:lnTo>
                      <a:pt x="498" y="132"/>
                    </a:lnTo>
                    <a:lnTo>
                      <a:pt x="503" y="123"/>
                    </a:lnTo>
                    <a:lnTo>
                      <a:pt x="488" y="103"/>
                    </a:lnTo>
                    <a:lnTo>
                      <a:pt x="481" y="100"/>
                    </a:lnTo>
                    <a:lnTo>
                      <a:pt x="473" y="90"/>
                    </a:lnTo>
                    <a:lnTo>
                      <a:pt x="470" y="78"/>
                    </a:lnTo>
                    <a:lnTo>
                      <a:pt x="468" y="68"/>
                    </a:lnTo>
                    <a:lnTo>
                      <a:pt x="477" y="67"/>
                    </a:lnTo>
                    <a:lnTo>
                      <a:pt x="494" y="71"/>
                    </a:lnTo>
                    <a:lnTo>
                      <a:pt x="504" y="76"/>
                    </a:lnTo>
                    <a:lnTo>
                      <a:pt x="508" y="87"/>
                    </a:lnTo>
                    <a:lnTo>
                      <a:pt x="519" y="86"/>
                    </a:lnTo>
                    <a:lnTo>
                      <a:pt x="519" y="92"/>
                    </a:lnTo>
                    <a:lnTo>
                      <a:pt x="526" y="108"/>
                    </a:lnTo>
                    <a:lnTo>
                      <a:pt x="533" y="113"/>
                    </a:lnTo>
                    <a:lnTo>
                      <a:pt x="540" y="111"/>
                    </a:lnTo>
                    <a:lnTo>
                      <a:pt x="546" y="117"/>
                    </a:lnTo>
                    <a:lnTo>
                      <a:pt x="546" y="121"/>
                    </a:lnTo>
                    <a:lnTo>
                      <a:pt x="554" y="127"/>
                    </a:lnTo>
                    <a:lnTo>
                      <a:pt x="553" y="133"/>
                    </a:lnTo>
                    <a:lnTo>
                      <a:pt x="551" y="135"/>
                    </a:lnTo>
                    <a:lnTo>
                      <a:pt x="560" y="139"/>
                    </a:lnTo>
                    <a:lnTo>
                      <a:pt x="568" y="155"/>
                    </a:lnTo>
                    <a:lnTo>
                      <a:pt x="567" y="186"/>
                    </a:lnTo>
                    <a:lnTo>
                      <a:pt x="568" y="197"/>
                    </a:lnTo>
                    <a:lnTo>
                      <a:pt x="570" y="205"/>
                    </a:lnTo>
                    <a:lnTo>
                      <a:pt x="575" y="214"/>
                    </a:lnTo>
                    <a:lnTo>
                      <a:pt x="578" y="243"/>
                    </a:lnTo>
                    <a:lnTo>
                      <a:pt x="592" y="258"/>
                    </a:lnTo>
                    <a:lnTo>
                      <a:pt x="585" y="273"/>
                    </a:lnTo>
                    <a:lnTo>
                      <a:pt x="585" y="295"/>
                    </a:lnTo>
                    <a:lnTo>
                      <a:pt x="591" y="296"/>
                    </a:lnTo>
                    <a:lnTo>
                      <a:pt x="600" y="311"/>
                    </a:lnTo>
                    <a:lnTo>
                      <a:pt x="606" y="310"/>
                    </a:lnTo>
                    <a:lnTo>
                      <a:pt x="608" y="301"/>
                    </a:lnTo>
                    <a:lnTo>
                      <a:pt x="616" y="297"/>
                    </a:lnTo>
                    <a:lnTo>
                      <a:pt x="622" y="295"/>
                    </a:lnTo>
                    <a:lnTo>
                      <a:pt x="629" y="285"/>
                    </a:lnTo>
                    <a:lnTo>
                      <a:pt x="630" y="274"/>
                    </a:lnTo>
                    <a:lnTo>
                      <a:pt x="639" y="270"/>
                    </a:lnTo>
                    <a:lnTo>
                      <a:pt x="639" y="264"/>
                    </a:lnTo>
                    <a:lnTo>
                      <a:pt x="627" y="247"/>
                    </a:lnTo>
                    <a:lnTo>
                      <a:pt x="624" y="236"/>
                    </a:lnTo>
                    <a:lnTo>
                      <a:pt x="624" y="225"/>
                    </a:lnTo>
                    <a:lnTo>
                      <a:pt x="619" y="220"/>
                    </a:lnTo>
                    <a:lnTo>
                      <a:pt x="617" y="203"/>
                    </a:lnTo>
                    <a:lnTo>
                      <a:pt x="614" y="187"/>
                    </a:lnTo>
                    <a:lnTo>
                      <a:pt x="618" y="186"/>
                    </a:lnTo>
                    <a:lnTo>
                      <a:pt x="617" y="177"/>
                    </a:lnTo>
                    <a:lnTo>
                      <a:pt x="617" y="166"/>
                    </a:lnTo>
                    <a:lnTo>
                      <a:pt x="613" y="160"/>
                    </a:lnTo>
                    <a:lnTo>
                      <a:pt x="612" y="139"/>
                    </a:lnTo>
                    <a:lnTo>
                      <a:pt x="610" y="121"/>
                    </a:lnTo>
                    <a:lnTo>
                      <a:pt x="605" y="103"/>
                    </a:lnTo>
                    <a:lnTo>
                      <a:pt x="597" y="68"/>
                    </a:lnTo>
                    <a:lnTo>
                      <a:pt x="595" y="62"/>
                    </a:lnTo>
                    <a:lnTo>
                      <a:pt x="599" y="62"/>
                    </a:lnTo>
                    <a:lnTo>
                      <a:pt x="600" y="49"/>
                    </a:lnTo>
                    <a:lnTo>
                      <a:pt x="596" y="49"/>
                    </a:lnTo>
                    <a:lnTo>
                      <a:pt x="592" y="38"/>
                    </a:lnTo>
                    <a:lnTo>
                      <a:pt x="596" y="33"/>
                    </a:lnTo>
                    <a:lnTo>
                      <a:pt x="606" y="33"/>
                    </a:lnTo>
                    <a:lnTo>
                      <a:pt x="608" y="27"/>
                    </a:lnTo>
                    <a:lnTo>
                      <a:pt x="597" y="16"/>
                    </a:lnTo>
                    <a:lnTo>
                      <a:pt x="599" y="8"/>
                    </a:lnTo>
                    <a:lnTo>
                      <a:pt x="602" y="8"/>
                    </a:lnTo>
                    <a:lnTo>
                      <a:pt x="602" y="3"/>
                    </a:lnTo>
                    <a:lnTo>
                      <a:pt x="608" y="3"/>
                    </a:lnTo>
                    <a:lnTo>
                      <a:pt x="630" y="9"/>
                    </a:lnTo>
                    <a:lnTo>
                      <a:pt x="632" y="15"/>
                    </a:lnTo>
                    <a:lnTo>
                      <a:pt x="650" y="33"/>
                    </a:lnTo>
                    <a:lnTo>
                      <a:pt x="665" y="40"/>
                    </a:lnTo>
                    <a:lnTo>
                      <a:pt x="667" y="37"/>
                    </a:lnTo>
                    <a:lnTo>
                      <a:pt x="669" y="31"/>
                    </a:lnTo>
                    <a:lnTo>
                      <a:pt x="662" y="28"/>
                    </a:lnTo>
                    <a:lnTo>
                      <a:pt x="661" y="21"/>
                    </a:lnTo>
                    <a:lnTo>
                      <a:pt x="661" y="15"/>
                    </a:lnTo>
                    <a:lnTo>
                      <a:pt x="666" y="14"/>
                    </a:lnTo>
                    <a:lnTo>
                      <a:pt x="676" y="19"/>
                    </a:lnTo>
                    <a:lnTo>
                      <a:pt x="678" y="25"/>
                    </a:lnTo>
                    <a:lnTo>
                      <a:pt x="687" y="28"/>
                    </a:lnTo>
                    <a:lnTo>
                      <a:pt x="691" y="44"/>
                    </a:lnTo>
                    <a:lnTo>
                      <a:pt x="696" y="52"/>
                    </a:lnTo>
                    <a:lnTo>
                      <a:pt x="720" y="67"/>
                    </a:lnTo>
                    <a:lnTo>
                      <a:pt x="720" y="74"/>
                    </a:lnTo>
                    <a:lnTo>
                      <a:pt x="734" y="81"/>
                    </a:lnTo>
                    <a:lnTo>
                      <a:pt x="741" y="91"/>
                    </a:lnTo>
                    <a:lnTo>
                      <a:pt x="742" y="96"/>
                    </a:lnTo>
                    <a:lnTo>
                      <a:pt x="750" y="102"/>
                    </a:lnTo>
                    <a:lnTo>
                      <a:pt x="751" y="110"/>
                    </a:lnTo>
                    <a:lnTo>
                      <a:pt x="745" y="123"/>
                    </a:lnTo>
                    <a:lnTo>
                      <a:pt x="751" y="123"/>
                    </a:lnTo>
                    <a:lnTo>
                      <a:pt x="756" y="140"/>
                    </a:lnTo>
                    <a:lnTo>
                      <a:pt x="756" y="151"/>
                    </a:lnTo>
                    <a:lnTo>
                      <a:pt x="755" y="156"/>
                    </a:lnTo>
                    <a:lnTo>
                      <a:pt x="758" y="166"/>
                    </a:lnTo>
                    <a:lnTo>
                      <a:pt x="759" y="177"/>
                    </a:lnTo>
                    <a:lnTo>
                      <a:pt x="766" y="200"/>
                    </a:lnTo>
                    <a:lnTo>
                      <a:pt x="768" y="246"/>
                    </a:lnTo>
                    <a:lnTo>
                      <a:pt x="771" y="250"/>
                    </a:lnTo>
                    <a:lnTo>
                      <a:pt x="775" y="273"/>
                    </a:lnTo>
                    <a:lnTo>
                      <a:pt x="791" y="294"/>
                    </a:lnTo>
                    <a:lnTo>
                      <a:pt x="799" y="306"/>
                    </a:lnTo>
                    <a:lnTo>
                      <a:pt x="804" y="322"/>
                    </a:lnTo>
                    <a:lnTo>
                      <a:pt x="802" y="329"/>
                    </a:lnTo>
                    <a:lnTo>
                      <a:pt x="805" y="336"/>
                    </a:lnTo>
                    <a:lnTo>
                      <a:pt x="806" y="353"/>
                    </a:lnTo>
                    <a:lnTo>
                      <a:pt x="804" y="353"/>
                    </a:lnTo>
                    <a:lnTo>
                      <a:pt x="796" y="358"/>
                    </a:lnTo>
                    <a:lnTo>
                      <a:pt x="798" y="383"/>
                    </a:lnTo>
                    <a:lnTo>
                      <a:pt x="794" y="396"/>
                    </a:lnTo>
                    <a:lnTo>
                      <a:pt x="798" y="409"/>
                    </a:lnTo>
                    <a:lnTo>
                      <a:pt x="812" y="419"/>
                    </a:lnTo>
                    <a:lnTo>
                      <a:pt x="815" y="428"/>
                    </a:lnTo>
                    <a:lnTo>
                      <a:pt x="829" y="455"/>
                    </a:lnTo>
                    <a:lnTo>
                      <a:pt x="847" y="460"/>
                    </a:lnTo>
                    <a:lnTo>
                      <a:pt x="854" y="479"/>
                    </a:lnTo>
                    <a:lnTo>
                      <a:pt x="860" y="483"/>
                    </a:lnTo>
                    <a:lnTo>
                      <a:pt x="870" y="484"/>
                    </a:lnTo>
                    <a:lnTo>
                      <a:pt x="876" y="492"/>
                    </a:lnTo>
                    <a:lnTo>
                      <a:pt x="881" y="487"/>
                    </a:lnTo>
                    <a:lnTo>
                      <a:pt x="881" y="478"/>
                    </a:lnTo>
                    <a:lnTo>
                      <a:pt x="885" y="476"/>
                    </a:lnTo>
                    <a:lnTo>
                      <a:pt x="896" y="480"/>
                    </a:lnTo>
                    <a:lnTo>
                      <a:pt x="901" y="485"/>
                    </a:lnTo>
                    <a:lnTo>
                      <a:pt x="898" y="494"/>
                    </a:lnTo>
                    <a:lnTo>
                      <a:pt x="938" y="531"/>
                    </a:lnTo>
                    <a:lnTo>
                      <a:pt x="946" y="536"/>
                    </a:lnTo>
                    <a:lnTo>
                      <a:pt x="958" y="536"/>
                    </a:lnTo>
                    <a:lnTo>
                      <a:pt x="963" y="543"/>
                    </a:lnTo>
                    <a:lnTo>
                      <a:pt x="962" y="552"/>
                    </a:lnTo>
                    <a:lnTo>
                      <a:pt x="963" y="560"/>
                    </a:lnTo>
                    <a:lnTo>
                      <a:pt x="972" y="562"/>
                    </a:lnTo>
                    <a:lnTo>
                      <a:pt x="978" y="558"/>
                    </a:lnTo>
                    <a:lnTo>
                      <a:pt x="981" y="562"/>
                    </a:lnTo>
                    <a:lnTo>
                      <a:pt x="989" y="558"/>
                    </a:lnTo>
                    <a:lnTo>
                      <a:pt x="994" y="560"/>
                    </a:lnTo>
                    <a:lnTo>
                      <a:pt x="999" y="584"/>
                    </a:lnTo>
                    <a:lnTo>
                      <a:pt x="994" y="596"/>
                    </a:lnTo>
                    <a:lnTo>
                      <a:pt x="997" y="622"/>
                    </a:lnTo>
                    <a:lnTo>
                      <a:pt x="992" y="635"/>
                    </a:lnTo>
                    <a:lnTo>
                      <a:pt x="984" y="638"/>
                    </a:lnTo>
                    <a:lnTo>
                      <a:pt x="977" y="635"/>
                    </a:lnTo>
                    <a:lnTo>
                      <a:pt x="967" y="617"/>
                    </a:lnTo>
                    <a:lnTo>
                      <a:pt x="967" y="595"/>
                    </a:lnTo>
                    <a:lnTo>
                      <a:pt x="961" y="616"/>
                    </a:lnTo>
                    <a:lnTo>
                      <a:pt x="958" y="635"/>
                    </a:lnTo>
                    <a:lnTo>
                      <a:pt x="956" y="640"/>
                    </a:lnTo>
                    <a:lnTo>
                      <a:pt x="952" y="629"/>
                    </a:lnTo>
                    <a:lnTo>
                      <a:pt x="946" y="627"/>
                    </a:lnTo>
                    <a:lnTo>
                      <a:pt x="944" y="633"/>
                    </a:lnTo>
                    <a:lnTo>
                      <a:pt x="938" y="623"/>
                    </a:lnTo>
                    <a:lnTo>
                      <a:pt x="934" y="611"/>
                    </a:lnTo>
                    <a:lnTo>
                      <a:pt x="934" y="597"/>
                    </a:lnTo>
                    <a:lnTo>
                      <a:pt x="931" y="605"/>
                    </a:lnTo>
                    <a:lnTo>
                      <a:pt x="925" y="606"/>
                    </a:lnTo>
                    <a:lnTo>
                      <a:pt x="924" y="602"/>
                    </a:lnTo>
                    <a:lnTo>
                      <a:pt x="918" y="617"/>
                    </a:lnTo>
                    <a:lnTo>
                      <a:pt x="914" y="617"/>
                    </a:lnTo>
                    <a:lnTo>
                      <a:pt x="902" y="624"/>
                    </a:lnTo>
                    <a:lnTo>
                      <a:pt x="902" y="632"/>
                    </a:lnTo>
                    <a:lnTo>
                      <a:pt x="906" y="632"/>
                    </a:lnTo>
                    <a:lnTo>
                      <a:pt x="907" y="656"/>
                    </a:lnTo>
                    <a:lnTo>
                      <a:pt x="899" y="657"/>
                    </a:lnTo>
                    <a:lnTo>
                      <a:pt x="895" y="652"/>
                    </a:lnTo>
                    <a:lnTo>
                      <a:pt x="881" y="651"/>
                    </a:lnTo>
                    <a:lnTo>
                      <a:pt x="874" y="654"/>
                    </a:lnTo>
                    <a:lnTo>
                      <a:pt x="872" y="657"/>
                    </a:lnTo>
                    <a:lnTo>
                      <a:pt x="879" y="670"/>
                    </a:lnTo>
                    <a:lnTo>
                      <a:pt x="880" y="677"/>
                    </a:lnTo>
                    <a:lnTo>
                      <a:pt x="877" y="694"/>
                    </a:lnTo>
                    <a:lnTo>
                      <a:pt x="879" y="700"/>
                    </a:lnTo>
                    <a:lnTo>
                      <a:pt x="888" y="681"/>
                    </a:lnTo>
                    <a:lnTo>
                      <a:pt x="902" y="672"/>
                    </a:lnTo>
                    <a:lnTo>
                      <a:pt x="906" y="663"/>
                    </a:lnTo>
                    <a:lnTo>
                      <a:pt x="929" y="662"/>
                    </a:lnTo>
                    <a:lnTo>
                      <a:pt x="931" y="668"/>
                    </a:lnTo>
                    <a:lnTo>
                      <a:pt x="940" y="671"/>
                    </a:lnTo>
                    <a:lnTo>
                      <a:pt x="936" y="677"/>
                    </a:lnTo>
                    <a:lnTo>
                      <a:pt x="935" y="684"/>
                    </a:lnTo>
                    <a:lnTo>
                      <a:pt x="929" y="691"/>
                    </a:lnTo>
                    <a:lnTo>
                      <a:pt x="930" y="695"/>
                    </a:lnTo>
                    <a:lnTo>
                      <a:pt x="925" y="694"/>
                    </a:lnTo>
                    <a:lnTo>
                      <a:pt x="923" y="700"/>
                    </a:lnTo>
                    <a:lnTo>
                      <a:pt x="927" y="710"/>
                    </a:lnTo>
                    <a:lnTo>
                      <a:pt x="933" y="711"/>
                    </a:lnTo>
                    <a:lnTo>
                      <a:pt x="935" y="700"/>
                    </a:lnTo>
                    <a:lnTo>
                      <a:pt x="947" y="706"/>
                    </a:lnTo>
                    <a:lnTo>
                      <a:pt x="958" y="708"/>
                    </a:lnTo>
                    <a:lnTo>
                      <a:pt x="961" y="719"/>
                    </a:lnTo>
                    <a:lnTo>
                      <a:pt x="960" y="727"/>
                    </a:lnTo>
                    <a:lnTo>
                      <a:pt x="954" y="729"/>
                    </a:lnTo>
                    <a:lnTo>
                      <a:pt x="951" y="726"/>
                    </a:lnTo>
                    <a:lnTo>
                      <a:pt x="949" y="734"/>
                    </a:lnTo>
                    <a:lnTo>
                      <a:pt x="944" y="740"/>
                    </a:lnTo>
                    <a:lnTo>
                      <a:pt x="944" y="745"/>
                    </a:lnTo>
                    <a:lnTo>
                      <a:pt x="936" y="743"/>
                    </a:lnTo>
                    <a:lnTo>
                      <a:pt x="917" y="751"/>
                    </a:lnTo>
                    <a:lnTo>
                      <a:pt x="914" y="761"/>
                    </a:lnTo>
                    <a:lnTo>
                      <a:pt x="901" y="761"/>
                    </a:lnTo>
                    <a:lnTo>
                      <a:pt x="895" y="757"/>
                    </a:lnTo>
                    <a:lnTo>
                      <a:pt x="893" y="767"/>
                    </a:lnTo>
                    <a:lnTo>
                      <a:pt x="887" y="770"/>
                    </a:lnTo>
                    <a:lnTo>
                      <a:pt x="885" y="774"/>
                    </a:lnTo>
                    <a:lnTo>
                      <a:pt x="876" y="769"/>
                    </a:lnTo>
                    <a:lnTo>
                      <a:pt x="861" y="775"/>
                    </a:lnTo>
                    <a:lnTo>
                      <a:pt x="836" y="769"/>
                    </a:lnTo>
                    <a:lnTo>
                      <a:pt x="831" y="761"/>
                    </a:lnTo>
                    <a:lnTo>
                      <a:pt x="814" y="756"/>
                    </a:lnTo>
                    <a:lnTo>
                      <a:pt x="809" y="749"/>
                    </a:lnTo>
                    <a:lnTo>
                      <a:pt x="800" y="749"/>
                    </a:lnTo>
                    <a:lnTo>
                      <a:pt x="795" y="758"/>
                    </a:lnTo>
                    <a:lnTo>
                      <a:pt x="771" y="754"/>
                    </a:lnTo>
                    <a:lnTo>
                      <a:pt x="758" y="749"/>
                    </a:lnTo>
                    <a:lnTo>
                      <a:pt x="757" y="742"/>
                    </a:lnTo>
                    <a:lnTo>
                      <a:pt x="773" y="726"/>
                    </a:lnTo>
                    <a:lnTo>
                      <a:pt x="768" y="720"/>
                    </a:lnTo>
                    <a:lnTo>
                      <a:pt x="758" y="724"/>
                    </a:lnTo>
                    <a:lnTo>
                      <a:pt x="742" y="722"/>
                    </a:lnTo>
                    <a:lnTo>
                      <a:pt x="740" y="715"/>
                    </a:lnTo>
                    <a:lnTo>
                      <a:pt x="726" y="711"/>
                    </a:lnTo>
                    <a:lnTo>
                      <a:pt x="721" y="714"/>
                    </a:lnTo>
                    <a:lnTo>
                      <a:pt x="697" y="710"/>
                    </a:lnTo>
                    <a:lnTo>
                      <a:pt x="696" y="700"/>
                    </a:lnTo>
                    <a:lnTo>
                      <a:pt x="699" y="693"/>
                    </a:lnTo>
                    <a:lnTo>
                      <a:pt x="697" y="677"/>
                    </a:lnTo>
                    <a:lnTo>
                      <a:pt x="693" y="666"/>
                    </a:lnTo>
                    <a:lnTo>
                      <a:pt x="682" y="662"/>
                    </a:lnTo>
                    <a:lnTo>
                      <a:pt x="678" y="670"/>
                    </a:lnTo>
                    <a:lnTo>
                      <a:pt x="673" y="678"/>
                    </a:lnTo>
                    <a:lnTo>
                      <a:pt x="660" y="684"/>
                    </a:lnTo>
                    <a:lnTo>
                      <a:pt x="665" y="702"/>
                    </a:lnTo>
                    <a:lnTo>
                      <a:pt x="665" y="710"/>
                    </a:lnTo>
                    <a:lnTo>
                      <a:pt x="655" y="718"/>
                    </a:lnTo>
                    <a:lnTo>
                      <a:pt x="639" y="741"/>
                    </a:lnTo>
                    <a:lnTo>
                      <a:pt x="612" y="748"/>
                    </a:lnTo>
                    <a:lnTo>
                      <a:pt x="572" y="748"/>
                    </a:lnTo>
                    <a:lnTo>
                      <a:pt x="578" y="753"/>
                    </a:lnTo>
                    <a:lnTo>
                      <a:pt x="567" y="770"/>
                    </a:lnTo>
                    <a:lnTo>
                      <a:pt x="552" y="781"/>
                    </a:lnTo>
                    <a:lnTo>
                      <a:pt x="535" y="788"/>
                    </a:lnTo>
                    <a:lnTo>
                      <a:pt x="521" y="796"/>
                    </a:lnTo>
                    <a:lnTo>
                      <a:pt x="503" y="799"/>
                    </a:lnTo>
                    <a:lnTo>
                      <a:pt x="495" y="795"/>
                    </a:lnTo>
                    <a:lnTo>
                      <a:pt x="482" y="801"/>
                    </a:lnTo>
                    <a:lnTo>
                      <a:pt x="467" y="797"/>
                    </a:lnTo>
                    <a:lnTo>
                      <a:pt x="460" y="802"/>
                    </a:lnTo>
                    <a:lnTo>
                      <a:pt x="455" y="796"/>
                    </a:lnTo>
                    <a:lnTo>
                      <a:pt x="440" y="802"/>
                    </a:lnTo>
                    <a:lnTo>
                      <a:pt x="425" y="805"/>
                    </a:lnTo>
                    <a:lnTo>
                      <a:pt x="423" y="807"/>
                    </a:lnTo>
                    <a:lnTo>
                      <a:pt x="430" y="807"/>
                    </a:lnTo>
                    <a:lnTo>
                      <a:pt x="429" y="812"/>
                    </a:lnTo>
                    <a:lnTo>
                      <a:pt x="415" y="812"/>
                    </a:lnTo>
                    <a:lnTo>
                      <a:pt x="393" y="818"/>
                    </a:lnTo>
                    <a:lnTo>
                      <a:pt x="387" y="815"/>
                    </a:lnTo>
                    <a:lnTo>
                      <a:pt x="369" y="815"/>
                    </a:lnTo>
                    <a:lnTo>
                      <a:pt x="320" y="819"/>
                    </a:lnTo>
                    <a:lnTo>
                      <a:pt x="321" y="816"/>
                    </a:lnTo>
                    <a:lnTo>
                      <a:pt x="332" y="807"/>
                    </a:lnTo>
                    <a:lnTo>
                      <a:pt x="314" y="796"/>
                    </a:lnTo>
                    <a:lnTo>
                      <a:pt x="305" y="783"/>
                    </a:lnTo>
                    <a:lnTo>
                      <a:pt x="301" y="770"/>
                    </a:lnTo>
                    <a:lnTo>
                      <a:pt x="296" y="758"/>
                    </a:lnTo>
                    <a:lnTo>
                      <a:pt x="296" y="743"/>
                    </a:lnTo>
                    <a:lnTo>
                      <a:pt x="300" y="732"/>
                    </a:lnTo>
                    <a:lnTo>
                      <a:pt x="300" y="729"/>
                    </a:lnTo>
                    <a:lnTo>
                      <a:pt x="291" y="724"/>
                    </a:lnTo>
                    <a:lnTo>
                      <a:pt x="290" y="719"/>
                    </a:lnTo>
                    <a:lnTo>
                      <a:pt x="287" y="713"/>
                    </a:lnTo>
                    <a:lnTo>
                      <a:pt x="277" y="706"/>
                    </a:lnTo>
                    <a:lnTo>
                      <a:pt x="277" y="702"/>
                    </a:lnTo>
                    <a:lnTo>
                      <a:pt x="259" y="697"/>
                    </a:lnTo>
                    <a:lnTo>
                      <a:pt x="230" y="69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2" name="Canada"/>
              <p:cNvSpPr>
                <a:spLocks noChangeAspect="1"/>
              </p:cNvSpPr>
              <p:nvPr>
                <p:custDataLst>
                  <p:tags r:id="rId180"/>
                </p:custDataLst>
              </p:nvPr>
            </p:nvSpPr>
            <p:spPr bwMode="gray">
              <a:xfrm>
                <a:off x="1342" y="1267"/>
                <a:ext cx="27" cy="34"/>
              </a:xfrm>
              <a:custGeom>
                <a:avLst/>
                <a:gdLst/>
                <a:ahLst/>
                <a:cxnLst>
                  <a:cxn ang="0">
                    <a:pos x="114" y="130"/>
                  </a:cxn>
                  <a:cxn ang="0">
                    <a:pos x="114" y="121"/>
                  </a:cxn>
                  <a:cxn ang="0">
                    <a:pos x="118" y="111"/>
                  </a:cxn>
                  <a:cxn ang="0">
                    <a:pos x="127" y="95"/>
                  </a:cxn>
                  <a:cxn ang="0">
                    <a:pos x="132" y="76"/>
                  </a:cxn>
                  <a:cxn ang="0">
                    <a:pos x="135" y="59"/>
                  </a:cxn>
                  <a:cxn ang="0">
                    <a:pos x="135" y="46"/>
                  </a:cxn>
                  <a:cxn ang="0">
                    <a:pos x="137" y="39"/>
                  </a:cxn>
                  <a:cxn ang="0">
                    <a:pos x="134" y="29"/>
                  </a:cxn>
                  <a:cxn ang="0">
                    <a:pos x="126" y="28"/>
                  </a:cxn>
                  <a:cxn ang="0">
                    <a:pos x="120" y="16"/>
                  </a:cxn>
                  <a:cxn ang="0">
                    <a:pos x="99" y="2"/>
                  </a:cxn>
                  <a:cxn ang="0">
                    <a:pos x="88" y="0"/>
                  </a:cxn>
                  <a:cxn ang="0">
                    <a:pos x="69" y="6"/>
                  </a:cxn>
                  <a:cxn ang="0">
                    <a:pos x="34" y="6"/>
                  </a:cxn>
                  <a:cxn ang="0">
                    <a:pos x="23" y="12"/>
                  </a:cxn>
                  <a:cxn ang="0">
                    <a:pos x="13" y="32"/>
                  </a:cxn>
                  <a:cxn ang="0">
                    <a:pos x="2" y="48"/>
                  </a:cxn>
                  <a:cxn ang="0">
                    <a:pos x="0" y="57"/>
                  </a:cxn>
                  <a:cxn ang="0">
                    <a:pos x="26" y="71"/>
                  </a:cxn>
                  <a:cxn ang="0">
                    <a:pos x="32" y="81"/>
                  </a:cxn>
                  <a:cxn ang="0">
                    <a:pos x="44" y="92"/>
                  </a:cxn>
                  <a:cxn ang="0">
                    <a:pos x="54" y="109"/>
                  </a:cxn>
                  <a:cxn ang="0">
                    <a:pos x="60" y="115"/>
                  </a:cxn>
                  <a:cxn ang="0">
                    <a:pos x="71" y="132"/>
                  </a:cxn>
                  <a:cxn ang="0">
                    <a:pos x="72" y="141"/>
                  </a:cxn>
                  <a:cxn ang="0">
                    <a:pos x="93" y="167"/>
                  </a:cxn>
                  <a:cxn ang="0">
                    <a:pos x="96" y="163"/>
                  </a:cxn>
                  <a:cxn ang="0">
                    <a:pos x="96" y="158"/>
                  </a:cxn>
                  <a:cxn ang="0">
                    <a:pos x="100" y="158"/>
                  </a:cxn>
                  <a:cxn ang="0">
                    <a:pos x="110" y="145"/>
                  </a:cxn>
                  <a:cxn ang="0">
                    <a:pos x="114" y="136"/>
                  </a:cxn>
                  <a:cxn ang="0">
                    <a:pos x="114" y="130"/>
                  </a:cxn>
                </a:cxnLst>
                <a:rect l="0" t="0" r="r" b="b"/>
                <a:pathLst>
                  <a:path w="137" h="167">
                    <a:moveTo>
                      <a:pt x="114" y="130"/>
                    </a:moveTo>
                    <a:lnTo>
                      <a:pt x="114" y="121"/>
                    </a:lnTo>
                    <a:lnTo>
                      <a:pt x="118" y="111"/>
                    </a:lnTo>
                    <a:lnTo>
                      <a:pt x="127" y="95"/>
                    </a:lnTo>
                    <a:lnTo>
                      <a:pt x="132" y="76"/>
                    </a:lnTo>
                    <a:lnTo>
                      <a:pt x="135" y="59"/>
                    </a:lnTo>
                    <a:lnTo>
                      <a:pt x="135" y="46"/>
                    </a:lnTo>
                    <a:lnTo>
                      <a:pt x="137" y="39"/>
                    </a:lnTo>
                    <a:lnTo>
                      <a:pt x="134" y="29"/>
                    </a:lnTo>
                    <a:lnTo>
                      <a:pt x="126" y="28"/>
                    </a:lnTo>
                    <a:lnTo>
                      <a:pt x="120" y="16"/>
                    </a:lnTo>
                    <a:lnTo>
                      <a:pt x="99" y="2"/>
                    </a:lnTo>
                    <a:lnTo>
                      <a:pt x="88" y="0"/>
                    </a:lnTo>
                    <a:lnTo>
                      <a:pt x="69" y="6"/>
                    </a:lnTo>
                    <a:lnTo>
                      <a:pt x="34" y="6"/>
                    </a:lnTo>
                    <a:lnTo>
                      <a:pt x="23" y="12"/>
                    </a:lnTo>
                    <a:lnTo>
                      <a:pt x="13" y="32"/>
                    </a:lnTo>
                    <a:lnTo>
                      <a:pt x="2" y="48"/>
                    </a:lnTo>
                    <a:lnTo>
                      <a:pt x="0" y="57"/>
                    </a:lnTo>
                    <a:lnTo>
                      <a:pt x="26" y="71"/>
                    </a:lnTo>
                    <a:lnTo>
                      <a:pt x="32" y="81"/>
                    </a:lnTo>
                    <a:lnTo>
                      <a:pt x="44" y="92"/>
                    </a:lnTo>
                    <a:lnTo>
                      <a:pt x="54" y="109"/>
                    </a:lnTo>
                    <a:lnTo>
                      <a:pt x="60" y="115"/>
                    </a:lnTo>
                    <a:lnTo>
                      <a:pt x="71" y="132"/>
                    </a:lnTo>
                    <a:lnTo>
                      <a:pt x="72" y="141"/>
                    </a:lnTo>
                    <a:lnTo>
                      <a:pt x="93" y="167"/>
                    </a:lnTo>
                    <a:lnTo>
                      <a:pt x="96" y="163"/>
                    </a:lnTo>
                    <a:lnTo>
                      <a:pt x="96" y="158"/>
                    </a:lnTo>
                    <a:lnTo>
                      <a:pt x="100" y="158"/>
                    </a:lnTo>
                    <a:lnTo>
                      <a:pt x="110" y="145"/>
                    </a:lnTo>
                    <a:lnTo>
                      <a:pt x="114" y="136"/>
                    </a:lnTo>
                    <a:lnTo>
                      <a:pt x="114" y="13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3" name="Canada"/>
              <p:cNvSpPr>
                <a:spLocks noChangeAspect="1"/>
              </p:cNvSpPr>
              <p:nvPr>
                <p:custDataLst>
                  <p:tags r:id="rId181"/>
                </p:custDataLst>
              </p:nvPr>
            </p:nvSpPr>
            <p:spPr bwMode="gray">
              <a:xfrm>
                <a:off x="1392" y="1262"/>
                <a:ext cx="67" cy="97"/>
              </a:xfrm>
              <a:custGeom>
                <a:avLst/>
                <a:gdLst/>
                <a:ahLst/>
                <a:cxnLst>
                  <a:cxn ang="0">
                    <a:pos x="124" y="351"/>
                  </a:cxn>
                  <a:cxn ang="0">
                    <a:pos x="109" y="334"/>
                  </a:cxn>
                  <a:cxn ang="0">
                    <a:pos x="87" y="317"/>
                  </a:cxn>
                  <a:cxn ang="0">
                    <a:pos x="55" y="322"/>
                  </a:cxn>
                  <a:cxn ang="0">
                    <a:pos x="40" y="291"/>
                  </a:cxn>
                  <a:cxn ang="0">
                    <a:pos x="1" y="245"/>
                  </a:cxn>
                  <a:cxn ang="0">
                    <a:pos x="6" y="189"/>
                  </a:cxn>
                  <a:cxn ang="0">
                    <a:pos x="35" y="189"/>
                  </a:cxn>
                  <a:cxn ang="0">
                    <a:pos x="42" y="202"/>
                  </a:cxn>
                  <a:cxn ang="0">
                    <a:pos x="64" y="217"/>
                  </a:cxn>
                  <a:cxn ang="0">
                    <a:pos x="71" y="244"/>
                  </a:cxn>
                  <a:cxn ang="0">
                    <a:pos x="99" y="236"/>
                  </a:cxn>
                  <a:cxn ang="0">
                    <a:pos x="124" y="223"/>
                  </a:cxn>
                  <a:cxn ang="0">
                    <a:pos x="120" y="196"/>
                  </a:cxn>
                  <a:cxn ang="0">
                    <a:pos x="132" y="190"/>
                  </a:cxn>
                  <a:cxn ang="0">
                    <a:pos x="116" y="171"/>
                  </a:cxn>
                  <a:cxn ang="0">
                    <a:pos x="110" y="144"/>
                  </a:cxn>
                  <a:cxn ang="0">
                    <a:pos x="137" y="151"/>
                  </a:cxn>
                  <a:cxn ang="0">
                    <a:pos x="114" y="119"/>
                  </a:cxn>
                  <a:cxn ang="0">
                    <a:pos x="93" y="134"/>
                  </a:cxn>
                  <a:cxn ang="0">
                    <a:pos x="61" y="105"/>
                  </a:cxn>
                  <a:cxn ang="0">
                    <a:pos x="80" y="78"/>
                  </a:cxn>
                  <a:cxn ang="0">
                    <a:pos x="99" y="98"/>
                  </a:cxn>
                  <a:cxn ang="0">
                    <a:pos x="98" y="71"/>
                  </a:cxn>
                  <a:cxn ang="0">
                    <a:pos x="71" y="59"/>
                  </a:cxn>
                  <a:cxn ang="0">
                    <a:pos x="96" y="21"/>
                  </a:cxn>
                  <a:cxn ang="0">
                    <a:pos x="124" y="39"/>
                  </a:cxn>
                  <a:cxn ang="0">
                    <a:pos x="113" y="19"/>
                  </a:cxn>
                  <a:cxn ang="0">
                    <a:pos x="129" y="0"/>
                  </a:cxn>
                  <a:cxn ang="0">
                    <a:pos x="152" y="22"/>
                  </a:cxn>
                  <a:cxn ang="0">
                    <a:pos x="188" y="34"/>
                  </a:cxn>
                  <a:cxn ang="0">
                    <a:pos x="248" y="8"/>
                  </a:cxn>
                  <a:cxn ang="0">
                    <a:pos x="288" y="26"/>
                  </a:cxn>
                  <a:cxn ang="0">
                    <a:pos x="284" y="66"/>
                  </a:cxn>
                  <a:cxn ang="0">
                    <a:pos x="270" y="76"/>
                  </a:cxn>
                  <a:cxn ang="0">
                    <a:pos x="282" y="112"/>
                  </a:cxn>
                  <a:cxn ang="0">
                    <a:pos x="250" y="130"/>
                  </a:cxn>
                  <a:cxn ang="0">
                    <a:pos x="228" y="164"/>
                  </a:cxn>
                  <a:cxn ang="0">
                    <a:pos x="220" y="195"/>
                  </a:cxn>
                  <a:cxn ang="0">
                    <a:pos x="265" y="173"/>
                  </a:cxn>
                  <a:cxn ang="0">
                    <a:pos x="282" y="204"/>
                  </a:cxn>
                  <a:cxn ang="0">
                    <a:pos x="293" y="222"/>
                  </a:cxn>
                  <a:cxn ang="0">
                    <a:pos x="290" y="248"/>
                  </a:cxn>
                  <a:cxn ang="0">
                    <a:pos x="315" y="222"/>
                  </a:cxn>
                  <a:cxn ang="0">
                    <a:pos x="324" y="247"/>
                  </a:cxn>
                  <a:cxn ang="0">
                    <a:pos x="329" y="288"/>
                  </a:cxn>
                  <a:cxn ang="0">
                    <a:pos x="320" y="313"/>
                  </a:cxn>
                  <a:cxn ang="0">
                    <a:pos x="323" y="344"/>
                  </a:cxn>
                  <a:cxn ang="0">
                    <a:pos x="325" y="360"/>
                  </a:cxn>
                  <a:cxn ang="0">
                    <a:pos x="322" y="389"/>
                  </a:cxn>
                  <a:cxn ang="0">
                    <a:pos x="303" y="410"/>
                  </a:cxn>
                  <a:cxn ang="0">
                    <a:pos x="249" y="426"/>
                  </a:cxn>
                  <a:cxn ang="0">
                    <a:pos x="248" y="444"/>
                  </a:cxn>
                  <a:cxn ang="0">
                    <a:pos x="229" y="475"/>
                  </a:cxn>
                  <a:cxn ang="0">
                    <a:pos x="205" y="464"/>
                  </a:cxn>
                  <a:cxn ang="0">
                    <a:pos x="187" y="473"/>
                  </a:cxn>
                  <a:cxn ang="0">
                    <a:pos x="172" y="424"/>
                  </a:cxn>
                  <a:cxn ang="0">
                    <a:pos x="144" y="384"/>
                  </a:cxn>
                </a:cxnLst>
                <a:rect l="0" t="0" r="r" b="b"/>
                <a:pathLst>
                  <a:path w="331" h="484">
                    <a:moveTo>
                      <a:pt x="137" y="376"/>
                    </a:moveTo>
                    <a:lnTo>
                      <a:pt x="132" y="371"/>
                    </a:lnTo>
                    <a:lnTo>
                      <a:pt x="124" y="351"/>
                    </a:lnTo>
                    <a:lnTo>
                      <a:pt x="123" y="344"/>
                    </a:lnTo>
                    <a:lnTo>
                      <a:pt x="116" y="336"/>
                    </a:lnTo>
                    <a:lnTo>
                      <a:pt x="109" y="334"/>
                    </a:lnTo>
                    <a:lnTo>
                      <a:pt x="99" y="341"/>
                    </a:lnTo>
                    <a:lnTo>
                      <a:pt x="94" y="328"/>
                    </a:lnTo>
                    <a:lnTo>
                      <a:pt x="87" y="317"/>
                    </a:lnTo>
                    <a:lnTo>
                      <a:pt x="81" y="317"/>
                    </a:lnTo>
                    <a:lnTo>
                      <a:pt x="78" y="325"/>
                    </a:lnTo>
                    <a:lnTo>
                      <a:pt x="55" y="322"/>
                    </a:lnTo>
                    <a:lnTo>
                      <a:pt x="51" y="307"/>
                    </a:lnTo>
                    <a:lnTo>
                      <a:pt x="42" y="297"/>
                    </a:lnTo>
                    <a:lnTo>
                      <a:pt x="40" y="291"/>
                    </a:lnTo>
                    <a:lnTo>
                      <a:pt x="22" y="275"/>
                    </a:lnTo>
                    <a:lnTo>
                      <a:pt x="18" y="268"/>
                    </a:lnTo>
                    <a:lnTo>
                      <a:pt x="1" y="245"/>
                    </a:lnTo>
                    <a:lnTo>
                      <a:pt x="0" y="227"/>
                    </a:lnTo>
                    <a:lnTo>
                      <a:pt x="2" y="205"/>
                    </a:lnTo>
                    <a:lnTo>
                      <a:pt x="6" y="189"/>
                    </a:lnTo>
                    <a:lnTo>
                      <a:pt x="15" y="182"/>
                    </a:lnTo>
                    <a:lnTo>
                      <a:pt x="28" y="179"/>
                    </a:lnTo>
                    <a:lnTo>
                      <a:pt x="35" y="189"/>
                    </a:lnTo>
                    <a:lnTo>
                      <a:pt x="43" y="194"/>
                    </a:lnTo>
                    <a:lnTo>
                      <a:pt x="44" y="195"/>
                    </a:lnTo>
                    <a:lnTo>
                      <a:pt x="42" y="202"/>
                    </a:lnTo>
                    <a:lnTo>
                      <a:pt x="48" y="209"/>
                    </a:lnTo>
                    <a:lnTo>
                      <a:pt x="59" y="212"/>
                    </a:lnTo>
                    <a:lnTo>
                      <a:pt x="64" y="217"/>
                    </a:lnTo>
                    <a:lnTo>
                      <a:pt x="65" y="228"/>
                    </a:lnTo>
                    <a:lnTo>
                      <a:pt x="69" y="236"/>
                    </a:lnTo>
                    <a:lnTo>
                      <a:pt x="71" y="244"/>
                    </a:lnTo>
                    <a:lnTo>
                      <a:pt x="89" y="245"/>
                    </a:lnTo>
                    <a:lnTo>
                      <a:pt x="97" y="241"/>
                    </a:lnTo>
                    <a:lnTo>
                      <a:pt x="99" y="236"/>
                    </a:lnTo>
                    <a:lnTo>
                      <a:pt x="105" y="238"/>
                    </a:lnTo>
                    <a:lnTo>
                      <a:pt x="113" y="236"/>
                    </a:lnTo>
                    <a:lnTo>
                      <a:pt x="124" y="223"/>
                    </a:lnTo>
                    <a:lnTo>
                      <a:pt x="119" y="214"/>
                    </a:lnTo>
                    <a:lnTo>
                      <a:pt x="116" y="196"/>
                    </a:lnTo>
                    <a:lnTo>
                      <a:pt x="120" y="196"/>
                    </a:lnTo>
                    <a:lnTo>
                      <a:pt x="128" y="206"/>
                    </a:lnTo>
                    <a:lnTo>
                      <a:pt x="132" y="204"/>
                    </a:lnTo>
                    <a:lnTo>
                      <a:pt x="132" y="190"/>
                    </a:lnTo>
                    <a:lnTo>
                      <a:pt x="129" y="183"/>
                    </a:lnTo>
                    <a:lnTo>
                      <a:pt x="119" y="182"/>
                    </a:lnTo>
                    <a:lnTo>
                      <a:pt x="116" y="171"/>
                    </a:lnTo>
                    <a:lnTo>
                      <a:pt x="112" y="168"/>
                    </a:lnTo>
                    <a:lnTo>
                      <a:pt x="112" y="155"/>
                    </a:lnTo>
                    <a:lnTo>
                      <a:pt x="110" y="144"/>
                    </a:lnTo>
                    <a:lnTo>
                      <a:pt x="112" y="140"/>
                    </a:lnTo>
                    <a:lnTo>
                      <a:pt x="121" y="137"/>
                    </a:lnTo>
                    <a:lnTo>
                      <a:pt x="137" y="151"/>
                    </a:lnTo>
                    <a:lnTo>
                      <a:pt x="140" y="146"/>
                    </a:lnTo>
                    <a:lnTo>
                      <a:pt x="118" y="113"/>
                    </a:lnTo>
                    <a:lnTo>
                      <a:pt x="114" y="119"/>
                    </a:lnTo>
                    <a:lnTo>
                      <a:pt x="113" y="128"/>
                    </a:lnTo>
                    <a:lnTo>
                      <a:pt x="104" y="131"/>
                    </a:lnTo>
                    <a:lnTo>
                      <a:pt x="93" y="134"/>
                    </a:lnTo>
                    <a:lnTo>
                      <a:pt x="77" y="123"/>
                    </a:lnTo>
                    <a:lnTo>
                      <a:pt x="69" y="107"/>
                    </a:lnTo>
                    <a:lnTo>
                      <a:pt x="61" y="105"/>
                    </a:lnTo>
                    <a:lnTo>
                      <a:pt x="59" y="89"/>
                    </a:lnTo>
                    <a:lnTo>
                      <a:pt x="60" y="78"/>
                    </a:lnTo>
                    <a:lnTo>
                      <a:pt x="80" y="78"/>
                    </a:lnTo>
                    <a:lnTo>
                      <a:pt x="87" y="85"/>
                    </a:lnTo>
                    <a:lnTo>
                      <a:pt x="89" y="92"/>
                    </a:lnTo>
                    <a:lnTo>
                      <a:pt x="99" y="98"/>
                    </a:lnTo>
                    <a:lnTo>
                      <a:pt x="102" y="92"/>
                    </a:lnTo>
                    <a:lnTo>
                      <a:pt x="98" y="80"/>
                    </a:lnTo>
                    <a:lnTo>
                      <a:pt x="98" y="71"/>
                    </a:lnTo>
                    <a:lnTo>
                      <a:pt x="85" y="67"/>
                    </a:lnTo>
                    <a:lnTo>
                      <a:pt x="80" y="59"/>
                    </a:lnTo>
                    <a:lnTo>
                      <a:pt x="71" y="59"/>
                    </a:lnTo>
                    <a:lnTo>
                      <a:pt x="66" y="45"/>
                    </a:lnTo>
                    <a:lnTo>
                      <a:pt x="77" y="32"/>
                    </a:lnTo>
                    <a:lnTo>
                      <a:pt x="96" y="21"/>
                    </a:lnTo>
                    <a:lnTo>
                      <a:pt x="101" y="28"/>
                    </a:lnTo>
                    <a:lnTo>
                      <a:pt x="114" y="32"/>
                    </a:lnTo>
                    <a:lnTo>
                      <a:pt x="124" y="39"/>
                    </a:lnTo>
                    <a:lnTo>
                      <a:pt x="126" y="32"/>
                    </a:lnTo>
                    <a:lnTo>
                      <a:pt x="126" y="24"/>
                    </a:lnTo>
                    <a:lnTo>
                      <a:pt x="113" y="19"/>
                    </a:lnTo>
                    <a:lnTo>
                      <a:pt x="109" y="12"/>
                    </a:lnTo>
                    <a:lnTo>
                      <a:pt x="119" y="5"/>
                    </a:lnTo>
                    <a:lnTo>
                      <a:pt x="129" y="0"/>
                    </a:lnTo>
                    <a:lnTo>
                      <a:pt x="135" y="5"/>
                    </a:lnTo>
                    <a:lnTo>
                      <a:pt x="144" y="21"/>
                    </a:lnTo>
                    <a:lnTo>
                      <a:pt x="152" y="22"/>
                    </a:lnTo>
                    <a:lnTo>
                      <a:pt x="164" y="32"/>
                    </a:lnTo>
                    <a:lnTo>
                      <a:pt x="175" y="37"/>
                    </a:lnTo>
                    <a:lnTo>
                      <a:pt x="188" y="34"/>
                    </a:lnTo>
                    <a:lnTo>
                      <a:pt x="193" y="38"/>
                    </a:lnTo>
                    <a:lnTo>
                      <a:pt x="217" y="31"/>
                    </a:lnTo>
                    <a:lnTo>
                      <a:pt x="248" y="8"/>
                    </a:lnTo>
                    <a:lnTo>
                      <a:pt x="274" y="1"/>
                    </a:lnTo>
                    <a:lnTo>
                      <a:pt x="276" y="8"/>
                    </a:lnTo>
                    <a:lnTo>
                      <a:pt x="288" y="26"/>
                    </a:lnTo>
                    <a:lnTo>
                      <a:pt x="295" y="28"/>
                    </a:lnTo>
                    <a:lnTo>
                      <a:pt x="293" y="51"/>
                    </a:lnTo>
                    <a:lnTo>
                      <a:pt x="284" y="66"/>
                    </a:lnTo>
                    <a:lnTo>
                      <a:pt x="270" y="69"/>
                    </a:lnTo>
                    <a:lnTo>
                      <a:pt x="266" y="75"/>
                    </a:lnTo>
                    <a:lnTo>
                      <a:pt x="270" y="76"/>
                    </a:lnTo>
                    <a:lnTo>
                      <a:pt x="281" y="86"/>
                    </a:lnTo>
                    <a:lnTo>
                      <a:pt x="284" y="94"/>
                    </a:lnTo>
                    <a:lnTo>
                      <a:pt x="282" y="112"/>
                    </a:lnTo>
                    <a:lnTo>
                      <a:pt x="279" y="108"/>
                    </a:lnTo>
                    <a:lnTo>
                      <a:pt x="268" y="112"/>
                    </a:lnTo>
                    <a:lnTo>
                      <a:pt x="250" y="130"/>
                    </a:lnTo>
                    <a:lnTo>
                      <a:pt x="241" y="148"/>
                    </a:lnTo>
                    <a:lnTo>
                      <a:pt x="233" y="155"/>
                    </a:lnTo>
                    <a:lnTo>
                      <a:pt x="228" y="164"/>
                    </a:lnTo>
                    <a:lnTo>
                      <a:pt x="221" y="172"/>
                    </a:lnTo>
                    <a:lnTo>
                      <a:pt x="220" y="184"/>
                    </a:lnTo>
                    <a:lnTo>
                      <a:pt x="220" y="195"/>
                    </a:lnTo>
                    <a:lnTo>
                      <a:pt x="242" y="172"/>
                    </a:lnTo>
                    <a:lnTo>
                      <a:pt x="257" y="167"/>
                    </a:lnTo>
                    <a:lnTo>
                      <a:pt x="265" y="173"/>
                    </a:lnTo>
                    <a:lnTo>
                      <a:pt x="280" y="189"/>
                    </a:lnTo>
                    <a:lnTo>
                      <a:pt x="279" y="201"/>
                    </a:lnTo>
                    <a:lnTo>
                      <a:pt x="282" y="204"/>
                    </a:lnTo>
                    <a:lnTo>
                      <a:pt x="285" y="215"/>
                    </a:lnTo>
                    <a:lnTo>
                      <a:pt x="290" y="216"/>
                    </a:lnTo>
                    <a:lnTo>
                      <a:pt x="293" y="222"/>
                    </a:lnTo>
                    <a:lnTo>
                      <a:pt x="295" y="228"/>
                    </a:lnTo>
                    <a:lnTo>
                      <a:pt x="290" y="238"/>
                    </a:lnTo>
                    <a:lnTo>
                      <a:pt x="290" y="248"/>
                    </a:lnTo>
                    <a:lnTo>
                      <a:pt x="303" y="236"/>
                    </a:lnTo>
                    <a:lnTo>
                      <a:pt x="314" y="234"/>
                    </a:lnTo>
                    <a:lnTo>
                      <a:pt x="315" y="222"/>
                    </a:lnTo>
                    <a:lnTo>
                      <a:pt x="322" y="232"/>
                    </a:lnTo>
                    <a:lnTo>
                      <a:pt x="322" y="242"/>
                    </a:lnTo>
                    <a:lnTo>
                      <a:pt x="324" y="247"/>
                    </a:lnTo>
                    <a:lnTo>
                      <a:pt x="331" y="274"/>
                    </a:lnTo>
                    <a:lnTo>
                      <a:pt x="331" y="282"/>
                    </a:lnTo>
                    <a:lnTo>
                      <a:pt x="329" y="288"/>
                    </a:lnTo>
                    <a:lnTo>
                      <a:pt x="319" y="300"/>
                    </a:lnTo>
                    <a:lnTo>
                      <a:pt x="314" y="301"/>
                    </a:lnTo>
                    <a:lnTo>
                      <a:pt x="320" y="313"/>
                    </a:lnTo>
                    <a:lnTo>
                      <a:pt x="323" y="322"/>
                    </a:lnTo>
                    <a:lnTo>
                      <a:pt x="324" y="338"/>
                    </a:lnTo>
                    <a:lnTo>
                      <a:pt x="323" y="344"/>
                    </a:lnTo>
                    <a:lnTo>
                      <a:pt x="315" y="355"/>
                    </a:lnTo>
                    <a:lnTo>
                      <a:pt x="323" y="354"/>
                    </a:lnTo>
                    <a:lnTo>
                      <a:pt x="325" y="360"/>
                    </a:lnTo>
                    <a:lnTo>
                      <a:pt x="327" y="373"/>
                    </a:lnTo>
                    <a:lnTo>
                      <a:pt x="327" y="385"/>
                    </a:lnTo>
                    <a:lnTo>
                      <a:pt x="322" y="389"/>
                    </a:lnTo>
                    <a:lnTo>
                      <a:pt x="318" y="384"/>
                    </a:lnTo>
                    <a:lnTo>
                      <a:pt x="307" y="393"/>
                    </a:lnTo>
                    <a:lnTo>
                      <a:pt x="303" y="410"/>
                    </a:lnTo>
                    <a:lnTo>
                      <a:pt x="280" y="428"/>
                    </a:lnTo>
                    <a:lnTo>
                      <a:pt x="266" y="422"/>
                    </a:lnTo>
                    <a:lnTo>
                      <a:pt x="249" y="426"/>
                    </a:lnTo>
                    <a:lnTo>
                      <a:pt x="238" y="422"/>
                    </a:lnTo>
                    <a:lnTo>
                      <a:pt x="236" y="428"/>
                    </a:lnTo>
                    <a:lnTo>
                      <a:pt x="248" y="444"/>
                    </a:lnTo>
                    <a:lnTo>
                      <a:pt x="248" y="454"/>
                    </a:lnTo>
                    <a:lnTo>
                      <a:pt x="231" y="467"/>
                    </a:lnTo>
                    <a:lnTo>
                      <a:pt x="229" y="475"/>
                    </a:lnTo>
                    <a:lnTo>
                      <a:pt x="221" y="483"/>
                    </a:lnTo>
                    <a:lnTo>
                      <a:pt x="212" y="484"/>
                    </a:lnTo>
                    <a:lnTo>
                      <a:pt x="205" y="464"/>
                    </a:lnTo>
                    <a:lnTo>
                      <a:pt x="199" y="465"/>
                    </a:lnTo>
                    <a:lnTo>
                      <a:pt x="195" y="473"/>
                    </a:lnTo>
                    <a:lnTo>
                      <a:pt x="187" y="473"/>
                    </a:lnTo>
                    <a:lnTo>
                      <a:pt x="182" y="454"/>
                    </a:lnTo>
                    <a:lnTo>
                      <a:pt x="178" y="431"/>
                    </a:lnTo>
                    <a:lnTo>
                      <a:pt x="172" y="424"/>
                    </a:lnTo>
                    <a:lnTo>
                      <a:pt x="167" y="406"/>
                    </a:lnTo>
                    <a:lnTo>
                      <a:pt x="158" y="394"/>
                    </a:lnTo>
                    <a:lnTo>
                      <a:pt x="144" y="384"/>
                    </a:lnTo>
                    <a:lnTo>
                      <a:pt x="137" y="37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4" name="Canada"/>
              <p:cNvSpPr>
                <a:spLocks noChangeAspect="1"/>
              </p:cNvSpPr>
              <p:nvPr>
                <p:custDataLst>
                  <p:tags r:id="rId182"/>
                </p:custDataLst>
              </p:nvPr>
            </p:nvSpPr>
            <p:spPr bwMode="gray">
              <a:xfrm>
                <a:off x="1388" y="1141"/>
                <a:ext cx="59" cy="76"/>
              </a:xfrm>
              <a:custGeom>
                <a:avLst/>
                <a:gdLst/>
                <a:ahLst/>
                <a:cxnLst>
                  <a:cxn ang="0">
                    <a:pos x="281" y="171"/>
                  </a:cxn>
                  <a:cxn ang="0">
                    <a:pos x="266" y="206"/>
                  </a:cxn>
                  <a:cxn ang="0">
                    <a:pos x="291" y="237"/>
                  </a:cxn>
                  <a:cxn ang="0">
                    <a:pos x="279" y="244"/>
                  </a:cxn>
                  <a:cxn ang="0">
                    <a:pos x="260" y="249"/>
                  </a:cxn>
                  <a:cxn ang="0">
                    <a:pos x="265" y="259"/>
                  </a:cxn>
                  <a:cxn ang="0">
                    <a:pos x="259" y="280"/>
                  </a:cxn>
                  <a:cxn ang="0">
                    <a:pos x="253" y="286"/>
                  </a:cxn>
                  <a:cxn ang="0">
                    <a:pos x="271" y="338"/>
                  </a:cxn>
                  <a:cxn ang="0">
                    <a:pos x="258" y="334"/>
                  </a:cxn>
                  <a:cxn ang="0">
                    <a:pos x="250" y="345"/>
                  </a:cxn>
                  <a:cxn ang="0">
                    <a:pos x="230" y="372"/>
                  </a:cxn>
                  <a:cxn ang="0">
                    <a:pos x="208" y="370"/>
                  </a:cxn>
                  <a:cxn ang="0">
                    <a:pos x="190" y="371"/>
                  </a:cxn>
                  <a:cxn ang="0">
                    <a:pos x="177" y="364"/>
                  </a:cxn>
                  <a:cxn ang="0">
                    <a:pos x="130" y="373"/>
                  </a:cxn>
                  <a:cxn ang="0">
                    <a:pos x="119" y="327"/>
                  </a:cxn>
                  <a:cxn ang="0">
                    <a:pos x="136" y="303"/>
                  </a:cxn>
                  <a:cxn ang="0">
                    <a:pos x="113" y="280"/>
                  </a:cxn>
                  <a:cxn ang="0">
                    <a:pos x="141" y="270"/>
                  </a:cxn>
                  <a:cxn ang="0">
                    <a:pos x="155" y="256"/>
                  </a:cxn>
                  <a:cxn ang="0">
                    <a:pos x="168" y="237"/>
                  </a:cxn>
                  <a:cxn ang="0">
                    <a:pos x="211" y="214"/>
                  </a:cxn>
                  <a:cxn ang="0">
                    <a:pos x="172" y="214"/>
                  </a:cxn>
                  <a:cxn ang="0">
                    <a:pos x="129" y="225"/>
                  </a:cxn>
                  <a:cxn ang="0">
                    <a:pos x="60" y="242"/>
                  </a:cxn>
                  <a:cxn ang="0">
                    <a:pos x="4" y="256"/>
                  </a:cxn>
                  <a:cxn ang="0">
                    <a:pos x="10" y="222"/>
                  </a:cxn>
                  <a:cxn ang="0">
                    <a:pos x="31" y="215"/>
                  </a:cxn>
                  <a:cxn ang="0">
                    <a:pos x="42" y="183"/>
                  </a:cxn>
                  <a:cxn ang="0">
                    <a:pos x="83" y="205"/>
                  </a:cxn>
                  <a:cxn ang="0">
                    <a:pos x="69" y="166"/>
                  </a:cxn>
                  <a:cxn ang="0">
                    <a:pos x="51" y="149"/>
                  </a:cxn>
                  <a:cxn ang="0">
                    <a:pos x="33" y="109"/>
                  </a:cxn>
                  <a:cxn ang="0">
                    <a:pos x="43" y="65"/>
                  </a:cxn>
                  <a:cxn ang="0">
                    <a:pos x="77" y="57"/>
                  </a:cxn>
                  <a:cxn ang="0">
                    <a:pos x="96" y="82"/>
                  </a:cxn>
                  <a:cxn ang="0">
                    <a:pos x="114" y="133"/>
                  </a:cxn>
                  <a:cxn ang="0">
                    <a:pos x="134" y="147"/>
                  </a:cxn>
                  <a:cxn ang="0">
                    <a:pos x="171" y="156"/>
                  </a:cxn>
                  <a:cxn ang="0">
                    <a:pos x="158" y="113"/>
                  </a:cxn>
                  <a:cxn ang="0">
                    <a:pos x="125" y="93"/>
                  </a:cxn>
                  <a:cxn ang="0">
                    <a:pos x="141" y="82"/>
                  </a:cxn>
                  <a:cxn ang="0">
                    <a:pos x="96" y="45"/>
                  </a:cxn>
                  <a:cxn ang="0">
                    <a:pos x="129" y="7"/>
                  </a:cxn>
                  <a:cxn ang="0">
                    <a:pos x="183" y="28"/>
                  </a:cxn>
                  <a:cxn ang="0">
                    <a:pos x="205" y="45"/>
                  </a:cxn>
                  <a:cxn ang="0">
                    <a:pos x="216" y="15"/>
                  </a:cxn>
                  <a:cxn ang="0">
                    <a:pos x="237" y="0"/>
                  </a:cxn>
                  <a:cxn ang="0">
                    <a:pos x="246" y="26"/>
                  </a:cxn>
                  <a:cxn ang="0">
                    <a:pos x="274" y="72"/>
                  </a:cxn>
                  <a:cxn ang="0">
                    <a:pos x="280" y="134"/>
                  </a:cxn>
                </a:cxnLst>
                <a:rect l="0" t="0" r="r" b="b"/>
                <a:pathLst>
                  <a:path w="292" h="380">
                    <a:moveTo>
                      <a:pt x="281" y="160"/>
                    </a:moveTo>
                    <a:lnTo>
                      <a:pt x="282" y="162"/>
                    </a:lnTo>
                    <a:lnTo>
                      <a:pt x="281" y="165"/>
                    </a:lnTo>
                    <a:lnTo>
                      <a:pt x="281" y="171"/>
                    </a:lnTo>
                    <a:lnTo>
                      <a:pt x="282" y="177"/>
                    </a:lnTo>
                    <a:lnTo>
                      <a:pt x="281" y="187"/>
                    </a:lnTo>
                    <a:lnTo>
                      <a:pt x="268" y="198"/>
                    </a:lnTo>
                    <a:lnTo>
                      <a:pt x="266" y="206"/>
                    </a:lnTo>
                    <a:lnTo>
                      <a:pt x="285" y="213"/>
                    </a:lnTo>
                    <a:lnTo>
                      <a:pt x="291" y="210"/>
                    </a:lnTo>
                    <a:lnTo>
                      <a:pt x="292" y="224"/>
                    </a:lnTo>
                    <a:lnTo>
                      <a:pt x="291" y="237"/>
                    </a:lnTo>
                    <a:lnTo>
                      <a:pt x="290" y="267"/>
                    </a:lnTo>
                    <a:lnTo>
                      <a:pt x="292" y="285"/>
                    </a:lnTo>
                    <a:lnTo>
                      <a:pt x="284" y="254"/>
                    </a:lnTo>
                    <a:lnTo>
                      <a:pt x="279" y="244"/>
                    </a:lnTo>
                    <a:lnTo>
                      <a:pt x="274" y="240"/>
                    </a:lnTo>
                    <a:lnTo>
                      <a:pt x="270" y="244"/>
                    </a:lnTo>
                    <a:lnTo>
                      <a:pt x="263" y="242"/>
                    </a:lnTo>
                    <a:lnTo>
                      <a:pt x="260" y="249"/>
                    </a:lnTo>
                    <a:lnTo>
                      <a:pt x="268" y="254"/>
                    </a:lnTo>
                    <a:lnTo>
                      <a:pt x="269" y="263"/>
                    </a:lnTo>
                    <a:lnTo>
                      <a:pt x="268" y="267"/>
                    </a:lnTo>
                    <a:lnTo>
                      <a:pt x="265" y="259"/>
                    </a:lnTo>
                    <a:lnTo>
                      <a:pt x="258" y="264"/>
                    </a:lnTo>
                    <a:lnTo>
                      <a:pt x="255" y="270"/>
                    </a:lnTo>
                    <a:lnTo>
                      <a:pt x="263" y="279"/>
                    </a:lnTo>
                    <a:lnTo>
                      <a:pt x="259" y="280"/>
                    </a:lnTo>
                    <a:lnTo>
                      <a:pt x="258" y="285"/>
                    </a:lnTo>
                    <a:lnTo>
                      <a:pt x="260" y="291"/>
                    </a:lnTo>
                    <a:lnTo>
                      <a:pt x="258" y="292"/>
                    </a:lnTo>
                    <a:lnTo>
                      <a:pt x="253" y="286"/>
                    </a:lnTo>
                    <a:lnTo>
                      <a:pt x="248" y="302"/>
                    </a:lnTo>
                    <a:lnTo>
                      <a:pt x="249" y="308"/>
                    </a:lnTo>
                    <a:lnTo>
                      <a:pt x="254" y="306"/>
                    </a:lnTo>
                    <a:lnTo>
                      <a:pt x="271" y="338"/>
                    </a:lnTo>
                    <a:lnTo>
                      <a:pt x="274" y="345"/>
                    </a:lnTo>
                    <a:lnTo>
                      <a:pt x="269" y="349"/>
                    </a:lnTo>
                    <a:lnTo>
                      <a:pt x="263" y="345"/>
                    </a:lnTo>
                    <a:lnTo>
                      <a:pt x="258" y="334"/>
                    </a:lnTo>
                    <a:lnTo>
                      <a:pt x="254" y="330"/>
                    </a:lnTo>
                    <a:lnTo>
                      <a:pt x="248" y="332"/>
                    </a:lnTo>
                    <a:lnTo>
                      <a:pt x="248" y="339"/>
                    </a:lnTo>
                    <a:lnTo>
                      <a:pt x="250" y="345"/>
                    </a:lnTo>
                    <a:lnTo>
                      <a:pt x="250" y="350"/>
                    </a:lnTo>
                    <a:lnTo>
                      <a:pt x="255" y="359"/>
                    </a:lnTo>
                    <a:lnTo>
                      <a:pt x="255" y="369"/>
                    </a:lnTo>
                    <a:lnTo>
                      <a:pt x="230" y="372"/>
                    </a:lnTo>
                    <a:lnTo>
                      <a:pt x="228" y="365"/>
                    </a:lnTo>
                    <a:lnTo>
                      <a:pt x="219" y="375"/>
                    </a:lnTo>
                    <a:lnTo>
                      <a:pt x="211" y="375"/>
                    </a:lnTo>
                    <a:lnTo>
                      <a:pt x="208" y="370"/>
                    </a:lnTo>
                    <a:lnTo>
                      <a:pt x="209" y="360"/>
                    </a:lnTo>
                    <a:lnTo>
                      <a:pt x="203" y="364"/>
                    </a:lnTo>
                    <a:lnTo>
                      <a:pt x="201" y="373"/>
                    </a:lnTo>
                    <a:lnTo>
                      <a:pt x="190" y="371"/>
                    </a:lnTo>
                    <a:lnTo>
                      <a:pt x="190" y="360"/>
                    </a:lnTo>
                    <a:lnTo>
                      <a:pt x="188" y="369"/>
                    </a:lnTo>
                    <a:lnTo>
                      <a:pt x="180" y="372"/>
                    </a:lnTo>
                    <a:lnTo>
                      <a:pt x="177" y="364"/>
                    </a:lnTo>
                    <a:lnTo>
                      <a:pt x="179" y="354"/>
                    </a:lnTo>
                    <a:lnTo>
                      <a:pt x="167" y="380"/>
                    </a:lnTo>
                    <a:lnTo>
                      <a:pt x="144" y="380"/>
                    </a:lnTo>
                    <a:lnTo>
                      <a:pt x="130" y="373"/>
                    </a:lnTo>
                    <a:lnTo>
                      <a:pt x="123" y="365"/>
                    </a:lnTo>
                    <a:lnTo>
                      <a:pt x="122" y="339"/>
                    </a:lnTo>
                    <a:lnTo>
                      <a:pt x="118" y="332"/>
                    </a:lnTo>
                    <a:lnTo>
                      <a:pt x="119" y="327"/>
                    </a:lnTo>
                    <a:lnTo>
                      <a:pt x="142" y="327"/>
                    </a:lnTo>
                    <a:lnTo>
                      <a:pt x="147" y="322"/>
                    </a:lnTo>
                    <a:lnTo>
                      <a:pt x="131" y="319"/>
                    </a:lnTo>
                    <a:lnTo>
                      <a:pt x="136" y="303"/>
                    </a:lnTo>
                    <a:lnTo>
                      <a:pt x="119" y="310"/>
                    </a:lnTo>
                    <a:lnTo>
                      <a:pt x="115" y="300"/>
                    </a:lnTo>
                    <a:lnTo>
                      <a:pt x="128" y="291"/>
                    </a:lnTo>
                    <a:lnTo>
                      <a:pt x="113" y="280"/>
                    </a:lnTo>
                    <a:lnTo>
                      <a:pt x="131" y="276"/>
                    </a:lnTo>
                    <a:lnTo>
                      <a:pt x="141" y="279"/>
                    </a:lnTo>
                    <a:lnTo>
                      <a:pt x="145" y="273"/>
                    </a:lnTo>
                    <a:lnTo>
                      <a:pt x="141" y="270"/>
                    </a:lnTo>
                    <a:lnTo>
                      <a:pt x="162" y="268"/>
                    </a:lnTo>
                    <a:lnTo>
                      <a:pt x="163" y="262"/>
                    </a:lnTo>
                    <a:lnTo>
                      <a:pt x="141" y="265"/>
                    </a:lnTo>
                    <a:lnTo>
                      <a:pt x="155" y="256"/>
                    </a:lnTo>
                    <a:lnTo>
                      <a:pt x="152" y="252"/>
                    </a:lnTo>
                    <a:lnTo>
                      <a:pt x="156" y="247"/>
                    </a:lnTo>
                    <a:lnTo>
                      <a:pt x="169" y="242"/>
                    </a:lnTo>
                    <a:lnTo>
                      <a:pt x="168" y="237"/>
                    </a:lnTo>
                    <a:lnTo>
                      <a:pt x="163" y="232"/>
                    </a:lnTo>
                    <a:lnTo>
                      <a:pt x="166" y="225"/>
                    </a:lnTo>
                    <a:lnTo>
                      <a:pt x="204" y="219"/>
                    </a:lnTo>
                    <a:lnTo>
                      <a:pt x="211" y="214"/>
                    </a:lnTo>
                    <a:lnTo>
                      <a:pt x="210" y="209"/>
                    </a:lnTo>
                    <a:lnTo>
                      <a:pt x="203" y="214"/>
                    </a:lnTo>
                    <a:lnTo>
                      <a:pt x="174" y="216"/>
                    </a:lnTo>
                    <a:lnTo>
                      <a:pt x="172" y="214"/>
                    </a:lnTo>
                    <a:lnTo>
                      <a:pt x="163" y="220"/>
                    </a:lnTo>
                    <a:lnTo>
                      <a:pt x="153" y="219"/>
                    </a:lnTo>
                    <a:lnTo>
                      <a:pt x="135" y="227"/>
                    </a:lnTo>
                    <a:lnTo>
                      <a:pt x="129" y="225"/>
                    </a:lnTo>
                    <a:lnTo>
                      <a:pt x="92" y="241"/>
                    </a:lnTo>
                    <a:lnTo>
                      <a:pt x="72" y="240"/>
                    </a:lnTo>
                    <a:lnTo>
                      <a:pt x="67" y="248"/>
                    </a:lnTo>
                    <a:lnTo>
                      <a:pt x="60" y="242"/>
                    </a:lnTo>
                    <a:lnTo>
                      <a:pt x="50" y="252"/>
                    </a:lnTo>
                    <a:lnTo>
                      <a:pt x="26" y="254"/>
                    </a:lnTo>
                    <a:lnTo>
                      <a:pt x="17" y="263"/>
                    </a:lnTo>
                    <a:lnTo>
                      <a:pt x="4" y="256"/>
                    </a:lnTo>
                    <a:lnTo>
                      <a:pt x="0" y="242"/>
                    </a:lnTo>
                    <a:lnTo>
                      <a:pt x="8" y="240"/>
                    </a:lnTo>
                    <a:lnTo>
                      <a:pt x="7" y="232"/>
                    </a:lnTo>
                    <a:lnTo>
                      <a:pt x="10" y="222"/>
                    </a:lnTo>
                    <a:lnTo>
                      <a:pt x="18" y="220"/>
                    </a:lnTo>
                    <a:lnTo>
                      <a:pt x="39" y="227"/>
                    </a:lnTo>
                    <a:lnTo>
                      <a:pt x="37" y="219"/>
                    </a:lnTo>
                    <a:lnTo>
                      <a:pt x="31" y="215"/>
                    </a:lnTo>
                    <a:lnTo>
                      <a:pt x="33" y="206"/>
                    </a:lnTo>
                    <a:lnTo>
                      <a:pt x="27" y="206"/>
                    </a:lnTo>
                    <a:lnTo>
                      <a:pt x="28" y="193"/>
                    </a:lnTo>
                    <a:lnTo>
                      <a:pt x="42" y="183"/>
                    </a:lnTo>
                    <a:lnTo>
                      <a:pt x="49" y="183"/>
                    </a:lnTo>
                    <a:lnTo>
                      <a:pt x="67" y="198"/>
                    </a:lnTo>
                    <a:lnTo>
                      <a:pt x="71" y="209"/>
                    </a:lnTo>
                    <a:lnTo>
                      <a:pt x="83" y="205"/>
                    </a:lnTo>
                    <a:lnTo>
                      <a:pt x="82" y="195"/>
                    </a:lnTo>
                    <a:lnTo>
                      <a:pt x="81" y="187"/>
                    </a:lnTo>
                    <a:lnTo>
                      <a:pt x="65" y="176"/>
                    </a:lnTo>
                    <a:lnTo>
                      <a:pt x="69" y="166"/>
                    </a:lnTo>
                    <a:lnTo>
                      <a:pt x="77" y="156"/>
                    </a:lnTo>
                    <a:lnTo>
                      <a:pt x="77" y="150"/>
                    </a:lnTo>
                    <a:lnTo>
                      <a:pt x="53" y="161"/>
                    </a:lnTo>
                    <a:lnTo>
                      <a:pt x="51" y="149"/>
                    </a:lnTo>
                    <a:lnTo>
                      <a:pt x="44" y="136"/>
                    </a:lnTo>
                    <a:lnTo>
                      <a:pt x="44" y="122"/>
                    </a:lnTo>
                    <a:lnTo>
                      <a:pt x="48" y="109"/>
                    </a:lnTo>
                    <a:lnTo>
                      <a:pt x="33" y="109"/>
                    </a:lnTo>
                    <a:lnTo>
                      <a:pt x="34" y="95"/>
                    </a:lnTo>
                    <a:lnTo>
                      <a:pt x="33" y="85"/>
                    </a:lnTo>
                    <a:lnTo>
                      <a:pt x="44" y="66"/>
                    </a:lnTo>
                    <a:lnTo>
                      <a:pt x="43" y="65"/>
                    </a:lnTo>
                    <a:lnTo>
                      <a:pt x="47" y="55"/>
                    </a:lnTo>
                    <a:lnTo>
                      <a:pt x="53" y="50"/>
                    </a:lnTo>
                    <a:lnTo>
                      <a:pt x="74" y="58"/>
                    </a:lnTo>
                    <a:lnTo>
                      <a:pt x="77" y="57"/>
                    </a:lnTo>
                    <a:lnTo>
                      <a:pt x="81" y="63"/>
                    </a:lnTo>
                    <a:lnTo>
                      <a:pt x="81" y="74"/>
                    </a:lnTo>
                    <a:lnTo>
                      <a:pt x="85" y="72"/>
                    </a:lnTo>
                    <a:lnTo>
                      <a:pt x="96" y="82"/>
                    </a:lnTo>
                    <a:lnTo>
                      <a:pt x="90" y="93"/>
                    </a:lnTo>
                    <a:lnTo>
                      <a:pt x="110" y="123"/>
                    </a:lnTo>
                    <a:lnTo>
                      <a:pt x="110" y="127"/>
                    </a:lnTo>
                    <a:lnTo>
                      <a:pt x="114" y="133"/>
                    </a:lnTo>
                    <a:lnTo>
                      <a:pt x="122" y="129"/>
                    </a:lnTo>
                    <a:lnTo>
                      <a:pt x="128" y="131"/>
                    </a:lnTo>
                    <a:lnTo>
                      <a:pt x="122" y="140"/>
                    </a:lnTo>
                    <a:lnTo>
                      <a:pt x="134" y="147"/>
                    </a:lnTo>
                    <a:lnTo>
                      <a:pt x="150" y="165"/>
                    </a:lnTo>
                    <a:lnTo>
                      <a:pt x="161" y="167"/>
                    </a:lnTo>
                    <a:lnTo>
                      <a:pt x="169" y="160"/>
                    </a:lnTo>
                    <a:lnTo>
                      <a:pt x="171" y="156"/>
                    </a:lnTo>
                    <a:lnTo>
                      <a:pt x="161" y="158"/>
                    </a:lnTo>
                    <a:lnTo>
                      <a:pt x="152" y="144"/>
                    </a:lnTo>
                    <a:lnTo>
                      <a:pt x="142" y="117"/>
                    </a:lnTo>
                    <a:lnTo>
                      <a:pt x="158" y="113"/>
                    </a:lnTo>
                    <a:lnTo>
                      <a:pt x="153" y="104"/>
                    </a:lnTo>
                    <a:lnTo>
                      <a:pt x="130" y="108"/>
                    </a:lnTo>
                    <a:lnTo>
                      <a:pt x="122" y="100"/>
                    </a:lnTo>
                    <a:lnTo>
                      <a:pt x="125" y="93"/>
                    </a:lnTo>
                    <a:lnTo>
                      <a:pt x="137" y="93"/>
                    </a:lnTo>
                    <a:lnTo>
                      <a:pt x="140" y="86"/>
                    </a:lnTo>
                    <a:lnTo>
                      <a:pt x="147" y="86"/>
                    </a:lnTo>
                    <a:lnTo>
                      <a:pt x="141" y="82"/>
                    </a:lnTo>
                    <a:lnTo>
                      <a:pt x="133" y="71"/>
                    </a:lnTo>
                    <a:lnTo>
                      <a:pt x="115" y="71"/>
                    </a:lnTo>
                    <a:lnTo>
                      <a:pt x="107" y="64"/>
                    </a:lnTo>
                    <a:lnTo>
                      <a:pt x="96" y="45"/>
                    </a:lnTo>
                    <a:lnTo>
                      <a:pt x="97" y="38"/>
                    </a:lnTo>
                    <a:lnTo>
                      <a:pt x="108" y="37"/>
                    </a:lnTo>
                    <a:lnTo>
                      <a:pt x="112" y="21"/>
                    </a:lnTo>
                    <a:lnTo>
                      <a:pt x="129" y="7"/>
                    </a:lnTo>
                    <a:lnTo>
                      <a:pt x="153" y="11"/>
                    </a:lnTo>
                    <a:lnTo>
                      <a:pt x="168" y="6"/>
                    </a:lnTo>
                    <a:lnTo>
                      <a:pt x="172" y="16"/>
                    </a:lnTo>
                    <a:lnTo>
                      <a:pt x="183" y="28"/>
                    </a:lnTo>
                    <a:lnTo>
                      <a:pt x="204" y="36"/>
                    </a:lnTo>
                    <a:lnTo>
                      <a:pt x="201" y="45"/>
                    </a:lnTo>
                    <a:lnTo>
                      <a:pt x="203" y="52"/>
                    </a:lnTo>
                    <a:lnTo>
                      <a:pt x="205" y="45"/>
                    </a:lnTo>
                    <a:lnTo>
                      <a:pt x="216" y="49"/>
                    </a:lnTo>
                    <a:lnTo>
                      <a:pt x="220" y="39"/>
                    </a:lnTo>
                    <a:lnTo>
                      <a:pt x="212" y="21"/>
                    </a:lnTo>
                    <a:lnTo>
                      <a:pt x="216" y="15"/>
                    </a:lnTo>
                    <a:lnTo>
                      <a:pt x="231" y="18"/>
                    </a:lnTo>
                    <a:lnTo>
                      <a:pt x="235" y="6"/>
                    </a:lnTo>
                    <a:lnTo>
                      <a:pt x="219" y="0"/>
                    </a:lnTo>
                    <a:lnTo>
                      <a:pt x="237" y="0"/>
                    </a:lnTo>
                    <a:lnTo>
                      <a:pt x="243" y="11"/>
                    </a:lnTo>
                    <a:lnTo>
                      <a:pt x="255" y="22"/>
                    </a:lnTo>
                    <a:lnTo>
                      <a:pt x="242" y="20"/>
                    </a:lnTo>
                    <a:lnTo>
                      <a:pt x="246" y="26"/>
                    </a:lnTo>
                    <a:lnTo>
                      <a:pt x="265" y="33"/>
                    </a:lnTo>
                    <a:lnTo>
                      <a:pt x="276" y="48"/>
                    </a:lnTo>
                    <a:lnTo>
                      <a:pt x="278" y="60"/>
                    </a:lnTo>
                    <a:lnTo>
                      <a:pt x="274" y="72"/>
                    </a:lnTo>
                    <a:lnTo>
                      <a:pt x="274" y="90"/>
                    </a:lnTo>
                    <a:lnTo>
                      <a:pt x="282" y="107"/>
                    </a:lnTo>
                    <a:lnTo>
                      <a:pt x="284" y="123"/>
                    </a:lnTo>
                    <a:lnTo>
                      <a:pt x="280" y="134"/>
                    </a:lnTo>
                    <a:lnTo>
                      <a:pt x="281" y="140"/>
                    </a:lnTo>
                    <a:lnTo>
                      <a:pt x="280" y="149"/>
                    </a:lnTo>
                    <a:lnTo>
                      <a:pt x="281" y="16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" name="Canada"/>
              <p:cNvSpPr>
                <a:spLocks noChangeAspect="1"/>
              </p:cNvSpPr>
              <p:nvPr>
                <p:custDataLst>
                  <p:tags r:id="rId183"/>
                </p:custDataLst>
              </p:nvPr>
            </p:nvSpPr>
            <p:spPr bwMode="gray">
              <a:xfrm>
                <a:off x="1225" y="1133"/>
                <a:ext cx="134" cy="107"/>
              </a:xfrm>
              <a:custGeom>
                <a:avLst/>
                <a:gdLst/>
                <a:ahLst/>
                <a:cxnLst>
                  <a:cxn ang="0">
                    <a:pos x="439" y="71"/>
                  </a:cxn>
                  <a:cxn ang="0">
                    <a:pos x="489" y="0"/>
                  </a:cxn>
                  <a:cxn ang="0">
                    <a:pos x="501" y="69"/>
                  </a:cxn>
                  <a:cxn ang="0">
                    <a:pos x="525" y="120"/>
                  </a:cxn>
                  <a:cxn ang="0">
                    <a:pos x="510" y="172"/>
                  </a:cxn>
                  <a:cxn ang="0">
                    <a:pos x="548" y="213"/>
                  </a:cxn>
                  <a:cxn ang="0">
                    <a:pos x="551" y="218"/>
                  </a:cxn>
                  <a:cxn ang="0">
                    <a:pos x="605" y="240"/>
                  </a:cxn>
                  <a:cxn ang="0">
                    <a:pos x="637" y="191"/>
                  </a:cxn>
                  <a:cxn ang="0">
                    <a:pos x="672" y="281"/>
                  </a:cxn>
                  <a:cxn ang="0">
                    <a:pos x="643" y="385"/>
                  </a:cxn>
                  <a:cxn ang="0">
                    <a:pos x="575" y="430"/>
                  </a:cxn>
                  <a:cxn ang="0">
                    <a:pos x="526" y="423"/>
                  </a:cxn>
                  <a:cxn ang="0">
                    <a:pos x="492" y="389"/>
                  </a:cxn>
                  <a:cxn ang="0">
                    <a:pos x="450" y="435"/>
                  </a:cxn>
                  <a:cxn ang="0">
                    <a:pos x="383" y="475"/>
                  </a:cxn>
                  <a:cxn ang="0">
                    <a:pos x="347" y="502"/>
                  </a:cxn>
                  <a:cxn ang="0">
                    <a:pos x="231" y="530"/>
                  </a:cxn>
                  <a:cxn ang="0">
                    <a:pos x="181" y="466"/>
                  </a:cxn>
                  <a:cxn ang="0">
                    <a:pos x="229" y="448"/>
                  </a:cxn>
                  <a:cxn ang="0">
                    <a:pos x="304" y="408"/>
                  </a:cxn>
                  <a:cxn ang="0">
                    <a:pos x="344" y="396"/>
                  </a:cxn>
                  <a:cxn ang="0">
                    <a:pos x="355" y="352"/>
                  </a:cxn>
                  <a:cxn ang="0">
                    <a:pos x="293" y="361"/>
                  </a:cxn>
                  <a:cxn ang="0">
                    <a:pos x="263" y="389"/>
                  </a:cxn>
                  <a:cxn ang="0">
                    <a:pos x="207" y="408"/>
                  </a:cxn>
                  <a:cxn ang="0">
                    <a:pos x="209" y="357"/>
                  </a:cxn>
                  <a:cxn ang="0">
                    <a:pos x="218" y="329"/>
                  </a:cxn>
                  <a:cxn ang="0">
                    <a:pos x="171" y="346"/>
                  </a:cxn>
                  <a:cxn ang="0">
                    <a:pos x="155" y="416"/>
                  </a:cxn>
                  <a:cxn ang="0">
                    <a:pos x="113" y="388"/>
                  </a:cxn>
                  <a:cxn ang="0">
                    <a:pos x="85" y="389"/>
                  </a:cxn>
                  <a:cxn ang="0">
                    <a:pos x="25" y="379"/>
                  </a:cxn>
                  <a:cxn ang="0">
                    <a:pos x="24" y="309"/>
                  </a:cxn>
                  <a:cxn ang="0">
                    <a:pos x="130" y="276"/>
                  </a:cxn>
                  <a:cxn ang="0">
                    <a:pos x="60" y="297"/>
                  </a:cxn>
                  <a:cxn ang="0">
                    <a:pos x="103" y="231"/>
                  </a:cxn>
                  <a:cxn ang="0">
                    <a:pos x="47" y="225"/>
                  </a:cxn>
                  <a:cxn ang="0">
                    <a:pos x="51" y="179"/>
                  </a:cxn>
                  <a:cxn ang="0">
                    <a:pos x="156" y="159"/>
                  </a:cxn>
                  <a:cxn ang="0">
                    <a:pos x="92" y="129"/>
                  </a:cxn>
                  <a:cxn ang="0">
                    <a:pos x="166" y="78"/>
                  </a:cxn>
                  <a:cxn ang="0">
                    <a:pos x="192" y="147"/>
                  </a:cxn>
                  <a:cxn ang="0">
                    <a:pos x="280" y="152"/>
                  </a:cxn>
                  <a:cxn ang="0">
                    <a:pos x="301" y="223"/>
                  </a:cxn>
                  <a:cxn ang="0">
                    <a:pos x="339" y="239"/>
                  </a:cxn>
                  <a:cxn ang="0">
                    <a:pos x="343" y="287"/>
                  </a:cxn>
                  <a:cxn ang="0">
                    <a:pos x="377" y="293"/>
                  </a:cxn>
                  <a:cxn ang="0">
                    <a:pos x="478" y="301"/>
                  </a:cxn>
                  <a:cxn ang="0">
                    <a:pos x="450" y="236"/>
                  </a:cxn>
                  <a:cxn ang="0">
                    <a:pos x="449" y="204"/>
                  </a:cxn>
                  <a:cxn ang="0">
                    <a:pos x="440" y="148"/>
                  </a:cxn>
                  <a:cxn ang="0">
                    <a:pos x="401" y="100"/>
                  </a:cxn>
                </a:cxnLst>
                <a:rect l="0" t="0" r="r" b="b"/>
                <a:pathLst>
                  <a:path w="672" h="534">
                    <a:moveTo>
                      <a:pt x="420" y="83"/>
                    </a:moveTo>
                    <a:lnTo>
                      <a:pt x="420" y="80"/>
                    </a:lnTo>
                    <a:lnTo>
                      <a:pt x="420" y="82"/>
                    </a:lnTo>
                    <a:lnTo>
                      <a:pt x="433" y="81"/>
                    </a:lnTo>
                    <a:lnTo>
                      <a:pt x="439" y="71"/>
                    </a:lnTo>
                    <a:lnTo>
                      <a:pt x="439" y="59"/>
                    </a:lnTo>
                    <a:lnTo>
                      <a:pt x="458" y="8"/>
                    </a:lnTo>
                    <a:lnTo>
                      <a:pt x="466" y="3"/>
                    </a:lnTo>
                    <a:lnTo>
                      <a:pt x="478" y="6"/>
                    </a:lnTo>
                    <a:lnTo>
                      <a:pt x="489" y="0"/>
                    </a:lnTo>
                    <a:lnTo>
                      <a:pt x="503" y="26"/>
                    </a:lnTo>
                    <a:lnTo>
                      <a:pt x="503" y="37"/>
                    </a:lnTo>
                    <a:lnTo>
                      <a:pt x="493" y="49"/>
                    </a:lnTo>
                    <a:lnTo>
                      <a:pt x="495" y="61"/>
                    </a:lnTo>
                    <a:lnTo>
                      <a:pt x="501" y="69"/>
                    </a:lnTo>
                    <a:lnTo>
                      <a:pt x="500" y="76"/>
                    </a:lnTo>
                    <a:lnTo>
                      <a:pt x="501" y="94"/>
                    </a:lnTo>
                    <a:lnTo>
                      <a:pt x="504" y="99"/>
                    </a:lnTo>
                    <a:lnTo>
                      <a:pt x="511" y="102"/>
                    </a:lnTo>
                    <a:lnTo>
                      <a:pt x="525" y="120"/>
                    </a:lnTo>
                    <a:lnTo>
                      <a:pt x="526" y="129"/>
                    </a:lnTo>
                    <a:lnTo>
                      <a:pt x="525" y="139"/>
                    </a:lnTo>
                    <a:lnTo>
                      <a:pt x="527" y="143"/>
                    </a:lnTo>
                    <a:lnTo>
                      <a:pt x="519" y="152"/>
                    </a:lnTo>
                    <a:lnTo>
                      <a:pt x="510" y="172"/>
                    </a:lnTo>
                    <a:lnTo>
                      <a:pt x="500" y="178"/>
                    </a:lnTo>
                    <a:lnTo>
                      <a:pt x="512" y="183"/>
                    </a:lnTo>
                    <a:lnTo>
                      <a:pt x="536" y="178"/>
                    </a:lnTo>
                    <a:lnTo>
                      <a:pt x="554" y="196"/>
                    </a:lnTo>
                    <a:lnTo>
                      <a:pt x="548" y="213"/>
                    </a:lnTo>
                    <a:lnTo>
                      <a:pt x="541" y="215"/>
                    </a:lnTo>
                    <a:lnTo>
                      <a:pt x="531" y="234"/>
                    </a:lnTo>
                    <a:lnTo>
                      <a:pt x="533" y="243"/>
                    </a:lnTo>
                    <a:lnTo>
                      <a:pt x="543" y="222"/>
                    </a:lnTo>
                    <a:lnTo>
                      <a:pt x="551" y="218"/>
                    </a:lnTo>
                    <a:lnTo>
                      <a:pt x="560" y="215"/>
                    </a:lnTo>
                    <a:lnTo>
                      <a:pt x="579" y="218"/>
                    </a:lnTo>
                    <a:lnTo>
                      <a:pt x="594" y="266"/>
                    </a:lnTo>
                    <a:lnTo>
                      <a:pt x="600" y="242"/>
                    </a:lnTo>
                    <a:lnTo>
                      <a:pt x="605" y="240"/>
                    </a:lnTo>
                    <a:lnTo>
                      <a:pt x="600" y="236"/>
                    </a:lnTo>
                    <a:lnTo>
                      <a:pt x="595" y="207"/>
                    </a:lnTo>
                    <a:lnTo>
                      <a:pt x="601" y="196"/>
                    </a:lnTo>
                    <a:lnTo>
                      <a:pt x="606" y="184"/>
                    </a:lnTo>
                    <a:lnTo>
                      <a:pt x="637" y="191"/>
                    </a:lnTo>
                    <a:lnTo>
                      <a:pt x="659" y="215"/>
                    </a:lnTo>
                    <a:lnTo>
                      <a:pt x="671" y="245"/>
                    </a:lnTo>
                    <a:lnTo>
                      <a:pt x="670" y="258"/>
                    </a:lnTo>
                    <a:lnTo>
                      <a:pt x="672" y="265"/>
                    </a:lnTo>
                    <a:lnTo>
                      <a:pt x="672" y="281"/>
                    </a:lnTo>
                    <a:lnTo>
                      <a:pt x="670" y="296"/>
                    </a:lnTo>
                    <a:lnTo>
                      <a:pt x="660" y="304"/>
                    </a:lnTo>
                    <a:lnTo>
                      <a:pt x="654" y="347"/>
                    </a:lnTo>
                    <a:lnTo>
                      <a:pt x="649" y="357"/>
                    </a:lnTo>
                    <a:lnTo>
                      <a:pt x="643" y="385"/>
                    </a:lnTo>
                    <a:lnTo>
                      <a:pt x="635" y="404"/>
                    </a:lnTo>
                    <a:lnTo>
                      <a:pt x="618" y="405"/>
                    </a:lnTo>
                    <a:lnTo>
                      <a:pt x="611" y="410"/>
                    </a:lnTo>
                    <a:lnTo>
                      <a:pt x="600" y="425"/>
                    </a:lnTo>
                    <a:lnTo>
                      <a:pt x="575" y="430"/>
                    </a:lnTo>
                    <a:lnTo>
                      <a:pt x="560" y="423"/>
                    </a:lnTo>
                    <a:lnTo>
                      <a:pt x="552" y="416"/>
                    </a:lnTo>
                    <a:lnTo>
                      <a:pt x="546" y="409"/>
                    </a:lnTo>
                    <a:lnTo>
                      <a:pt x="547" y="395"/>
                    </a:lnTo>
                    <a:lnTo>
                      <a:pt x="526" y="423"/>
                    </a:lnTo>
                    <a:lnTo>
                      <a:pt x="509" y="425"/>
                    </a:lnTo>
                    <a:lnTo>
                      <a:pt x="490" y="421"/>
                    </a:lnTo>
                    <a:lnTo>
                      <a:pt x="500" y="411"/>
                    </a:lnTo>
                    <a:lnTo>
                      <a:pt x="492" y="398"/>
                    </a:lnTo>
                    <a:lnTo>
                      <a:pt x="492" y="389"/>
                    </a:lnTo>
                    <a:lnTo>
                      <a:pt x="484" y="394"/>
                    </a:lnTo>
                    <a:lnTo>
                      <a:pt x="481" y="405"/>
                    </a:lnTo>
                    <a:lnTo>
                      <a:pt x="472" y="416"/>
                    </a:lnTo>
                    <a:lnTo>
                      <a:pt x="461" y="421"/>
                    </a:lnTo>
                    <a:lnTo>
                      <a:pt x="450" y="435"/>
                    </a:lnTo>
                    <a:lnTo>
                      <a:pt x="425" y="442"/>
                    </a:lnTo>
                    <a:lnTo>
                      <a:pt x="414" y="442"/>
                    </a:lnTo>
                    <a:lnTo>
                      <a:pt x="386" y="457"/>
                    </a:lnTo>
                    <a:lnTo>
                      <a:pt x="387" y="466"/>
                    </a:lnTo>
                    <a:lnTo>
                      <a:pt x="383" y="475"/>
                    </a:lnTo>
                    <a:lnTo>
                      <a:pt x="376" y="480"/>
                    </a:lnTo>
                    <a:lnTo>
                      <a:pt x="375" y="485"/>
                    </a:lnTo>
                    <a:lnTo>
                      <a:pt x="358" y="495"/>
                    </a:lnTo>
                    <a:lnTo>
                      <a:pt x="348" y="497"/>
                    </a:lnTo>
                    <a:lnTo>
                      <a:pt x="347" y="502"/>
                    </a:lnTo>
                    <a:lnTo>
                      <a:pt x="332" y="503"/>
                    </a:lnTo>
                    <a:lnTo>
                      <a:pt x="325" y="514"/>
                    </a:lnTo>
                    <a:lnTo>
                      <a:pt x="299" y="528"/>
                    </a:lnTo>
                    <a:lnTo>
                      <a:pt x="277" y="534"/>
                    </a:lnTo>
                    <a:lnTo>
                      <a:pt x="231" y="530"/>
                    </a:lnTo>
                    <a:lnTo>
                      <a:pt x="202" y="512"/>
                    </a:lnTo>
                    <a:lnTo>
                      <a:pt x="184" y="495"/>
                    </a:lnTo>
                    <a:lnTo>
                      <a:pt x="177" y="482"/>
                    </a:lnTo>
                    <a:lnTo>
                      <a:pt x="177" y="478"/>
                    </a:lnTo>
                    <a:lnTo>
                      <a:pt x="181" y="466"/>
                    </a:lnTo>
                    <a:lnTo>
                      <a:pt x="191" y="455"/>
                    </a:lnTo>
                    <a:lnTo>
                      <a:pt x="198" y="454"/>
                    </a:lnTo>
                    <a:lnTo>
                      <a:pt x="212" y="446"/>
                    </a:lnTo>
                    <a:lnTo>
                      <a:pt x="224" y="443"/>
                    </a:lnTo>
                    <a:lnTo>
                      <a:pt x="229" y="448"/>
                    </a:lnTo>
                    <a:lnTo>
                      <a:pt x="235" y="447"/>
                    </a:lnTo>
                    <a:lnTo>
                      <a:pt x="242" y="441"/>
                    </a:lnTo>
                    <a:lnTo>
                      <a:pt x="242" y="431"/>
                    </a:lnTo>
                    <a:lnTo>
                      <a:pt x="253" y="415"/>
                    </a:lnTo>
                    <a:lnTo>
                      <a:pt x="304" y="408"/>
                    </a:lnTo>
                    <a:lnTo>
                      <a:pt x="315" y="409"/>
                    </a:lnTo>
                    <a:lnTo>
                      <a:pt x="317" y="420"/>
                    </a:lnTo>
                    <a:lnTo>
                      <a:pt x="327" y="420"/>
                    </a:lnTo>
                    <a:lnTo>
                      <a:pt x="334" y="404"/>
                    </a:lnTo>
                    <a:lnTo>
                      <a:pt x="344" y="396"/>
                    </a:lnTo>
                    <a:lnTo>
                      <a:pt x="350" y="383"/>
                    </a:lnTo>
                    <a:lnTo>
                      <a:pt x="363" y="372"/>
                    </a:lnTo>
                    <a:lnTo>
                      <a:pt x="368" y="362"/>
                    </a:lnTo>
                    <a:lnTo>
                      <a:pt x="366" y="352"/>
                    </a:lnTo>
                    <a:lnTo>
                      <a:pt x="355" y="352"/>
                    </a:lnTo>
                    <a:lnTo>
                      <a:pt x="343" y="376"/>
                    </a:lnTo>
                    <a:lnTo>
                      <a:pt x="331" y="372"/>
                    </a:lnTo>
                    <a:lnTo>
                      <a:pt x="294" y="383"/>
                    </a:lnTo>
                    <a:lnTo>
                      <a:pt x="289" y="372"/>
                    </a:lnTo>
                    <a:lnTo>
                      <a:pt x="293" y="361"/>
                    </a:lnTo>
                    <a:lnTo>
                      <a:pt x="278" y="372"/>
                    </a:lnTo>
                    <a:lnTo>
                      <a:pt x="277" y="358"/>
                    </a:lnTo>
                    <a:lnTo>
                      <a:pt x="272" y="356"/>
                    </a:lnTo>
                    <a:lnTo>
                      <a:pt x="270" y="376"/>
                    </a:lnTo>
                    <a:lnTo>
                      <a:pt x="263" y="389"/>
                    </a:lnTo>
                    <a:lnTo>
                      <a:pt x="251" y="392"/>
                    </a:lnTo>
                    <a:lnTo>
                      <a:pt x="247" y="379"/>
                    </a:lnTo>
                    <a:lnTo>
                      <a:pt x="239" y="394"/>
                    </a:lnTo>
                    <a:lnTo>
                      <a:pt x="224" y="398"/>
                    </a:lnTo>
                    <a:lnTo>
                      <a:pt x="207" y="408"/>
                    </a:lnTo>
                    <a:lnTo>
                      <a:pt x="200" y="396"/>
                    </a:lnTo>
                    <a:lnTo>
                      <a:pt x="202" y="389"/>
                    </a:lnTo>
                    <a:lnTo>
                      <a:pt x="215" y="373"/>
                    </a:lnTo>
                    <a:lnTo>
                      <a:pt x="212" y="372"/>
                    </a:lnTo>
                    <a:lnTo>
                      <a:pt x="209" y="357"/>
                    </a:lnTo>
                    <a:lnTo>
                      <a:pt x="210" y="340"/>
                    </a:lnTo>
                    <a:lnTo>
                      <a:pt x="225" y="330"/>
                    </a:lnTo>
                    <a:lnTo>
                      <a:pt x="235" y="319"/>
                    </a:lnTo>
                    <a:lnTo>
                      <a:pt x="227" y="319"/>
                    </a:lnTo>
                    <a:lnTo>
                      <a:pt x="218" y="329"/>
                    </a:lnTo>
                    <a:lnTo>
                      <a:pt x="199" y="324"/>
                    </a:lnTo>
                    <a:lnTo>
                      <a:pt x="191" y="363"/>
                    </a:lnTo>
                    <a:lnTo>
                      <a:pt x="186" y="367"/>
                    </a:lnTo>
                    <a:lnTo>
                      <a:pt x="180" y="349"/>
                    </a:lnTo>
                    <a:lnTo>
                      <a:pt x="171" y="346"/>
                    </a:lnTo>
                    <a:lnTo>
                      <a:pt x="170" y="363"/>
                    </a:lnTo>
                    <a:lnTo>
                      <a:pt x="178" y="376"/>
                    </a:lnTo>
                    <a:lnTo>
                      <a:pt x="177" y="394"/>
                    </a:lnTo>
                    <a:lnTo>
                      <a:pt x="171" y="396"/>
                    </a:lnTo>
                    <a:lnTo>
                      <a:pt x="155" y="416"/>
                    </a:lnTo>
                    <a:lnTo>
                      <a:pt x="143" y="415"/>
                    </a:lnTo>
                    <a:lnTo>
                      <a:pt x="138" y="396"/>
                    </a:lnTo>
                    <a:lnTo>
                      <a:pt x="138" y="378"/>
                    </a:lnTo>
                    <a:lnTo>
                      <a:pt x="124" y="389"/>
                    </a:lnTo>
                    <a:lnTo>
                      <a:pt x="113" y="388"/>
                    </a:lnTo>
                    <a:lnTo>
                      <a:pt x="114" y="405"/>
                    </a:lnTo>
                    <a:lnTo>
                      <a:pt x="114" y="420"/>
                    </a:lnTo>
                    <a:lnTo>
                      <a:pt x="102" y="417"/>
                    </a:lnTo>
                    <a:lnTo>
                      <a:pt x="80" y="399"/>
                    </a:lnTo>
                    <a:lnTo>
                      <a:pt x="85" y="389"/>
                    </a:lnTo>
                    <a:lnTo>
                      <a:pt x="76" y="383"/>
                    </a:lnTo>
                    <a:lnTo>
                      <a:pt x="78" y="369"/>
                    </a:lnTo>
                    <a:lnTo>
                      <a:pt x="64" y="374"/>
                    </a:lnTo>
                    <a:lnTo>
                      <a:pt x="58" y="388"/>
                    </a:lnTo>
                    <a:lnTo>
                      <a:pt x="25" y="379"/>
                    </a:lnTo>
                    <a:lnTo>
                      <a:pt x="10" y="372"/>
                    </a:lnTo>
                    <a:lnTo>
                      <a:pt x="0" y="358"/>
                    </a:lnTo>
                    <a:lnTo>
                      <a:pt x="1" y="351"/>
                    </a:lnTo>
                    <a:lnTo>
                      <a:pt x="11" y="325"/>
                    </a:lnTo>
                    <a:lnTo>
                      <a:pt x="24" y="309"/>
                    </a:lnTo>
                    <a:lnTo>
                      <a:pt x="51" y="307"/>
                    </a:lnTo>
                    <a:lnTo>
                      <a:pt x="87" y="309"/>
                    </a:lnTo>
                    <a:lnTo>
                      <a:pt x="94" y="306"/>
                    </a:lnTo>
                    <a:lnTo>
                      <a:pt x="105" y="291"/>
                    </a:lnTo>
                    <a:lnTo>
                      <a:pt x="130" y="276"/>
                    </a:lnTo>
                    <a:lnTo>
                      <a:pt x="140" y="259"/>
                    </a:lnTo>
                    <a:lnTo>
                      <a:pt x="122" y="272"/>
                    </a:lnTo>
                    <a:lnTo>
                      <a:pt x="101" y="276"/>
                    </a:lnTo>
                    <a:lnTo>
                      <a:pt x="86" y="288"/>
                    </a:lnTo>
                    <a:lnTo>
                      <a:pt x="60" y="297"/>
                    </a:lnTo>
                    <a:lnTo>
                      <a:pt x="22" y="293"/>
                    </a:lnTo>
                    <a:lnTo>
                      <a:pt x="22" y="270"/>
                    </a:lnTo>
                    <a:lnTo>
                      <a:pt x="33" y="245"/>
                    </a:lnTo>
                    <a:lnTo>
                      <a:pt x="76" y="240"/>
                    </a:lnTo>
                    <a:lnTo>
                      <a:pt x="103" y="231"/>
                    </a:lnTo>
                    <a:lnTo>
                      <a:pt x="144" y="226"/>
                    </a:lnTo>
                    <a:lnTo>
                      <a:pt x="157" y="212"/>
                    </a:lnTo>
                    <a:lnTo>
                      <a:pt x="134" y="222"/>
                    </a:lnTo>
                    <a:lnTo>
                      <a:pt x="55" y="231"/>
                    </a:lnTo>
                    <a:lnTo>
                      <a:pt x="47" y="225"/>
                    </a:lnTo>
                    <a:lnTo>
                      <a:pt x="47" y="210"/>
                    </a:lnTo>
                    <a:lnTo>
                      <a:pt x="53" y="200"/>
                    </a:lnTo>
                    <a:lnTo>
                      <a:pt x="60" y="196"/>
                    </a:lnTo>
                    <a:lnTo>
                      <a:pt x="58" y="188"/>
                    </a:lnTo>
                    <a:lnTo>
                      <a:pt x="51" y="179"/>
                    </a:lnTo>
                    <a:lnTo>
                      <a:pt x="62" y="158"/>
                    </a:lnTo>
                    <a:lnTo>
                      <a:pt x="76" y="151"/>
                    </a:lnTo>
                    <a:lnTo>
                      <a:pt x="103" y="153"/>
                    </a:lnTo>
                    <a:lnTo>
                      <a:pt x="118" y="151"/>
                    </a:lnTo>
                    <a:lnTo>
                      <a:pt x="156" y="159"/>
                    </a:lnTo>
                    <a:lnTo>
                      <a:pt x="161" y="154"/>
                    </a:lnTo>
                    <a:lnTo>
                      <a:pt x="151" y="154"/>
                    </a:lnTo>
                    <a:lnTo>
                      <a:pt x="144" y="143"/>
                    </a:lnTo>
                    <a:lnTo>
                      <a:pt x="100" y="139"/>
                    </a:lnTo>
                    <a:lnTo>
                      <a:pt x="92" y="129"/>
                    </a:lnTo>
                    <a:lnTo>
                      <a:pt x="101" y="103"/>
                    </a:lnTo>
                    <a:lnTo>
                      <a:pt x="113" y="88"/>
                    </a:lnTo>
                    <a:lnTo>
                      <a:pt x="138" y="88"/>
                    </a:lnTo>
                    <a:lnTo>
                      <a:pt x="146" y="78"/>
                    </a:lnTo>
                    <a:lnTo>
                      <a:pt x="166" y="78"/>
                    </a:lnTo>
                    <a:lnTo>
                      <a:pt x="180" y="83"/>
                    </a:lnTo>
                    <a:lnTo>
                      <a:pt x="191" y="97"/>
                    </a:lnTo>
                    <a:lnTo>
                      <a:pt x="191" y="116"/>
                    </a:lnTo>
                    <a:lnTo>
                      <a:pt x="186" y="124"/>
                    </a:lnTo>
                    <a:lnTo>
                      <a:pt x="192" y="147"/>
                    </a:lnTo>
                    <a:lnTo>
                      <a:pt x="219" y="147"/>
                    </a:lnTo>
                    <a:lnTo>
                      <a:pt x="234" y="136"/>
                    </a:lnTo>
                    <a:lnTo>
                      <a:pt x="258" y="135"/>
                    </a:lnTo>
                    <a:lnTo>
                      <a:pt x="258" y="148"/>
                    </a:lnTo>
                    <a:lnTo>
                      <a:pt x="280" y="152"/>
                    </a:lnTo>
                    <a:lnTo>
                      <a:pt x="288" y="179"/>
                    </a:lnTo>
                    <a:lnTo>
                      <a:pt x="302" y="200"/>
                    </a:lnTo>
                    <a:lnTo>
                      <a:pt x="312" y="200"/>
                    </a:lnTo>
                    <a:lnTo>
                      <a:pt x="321" y="210"/>
                    </a:lnTo>
                    <a:lnTo>
                      <a:pt x="301" y="223"/>
                    </a:lnTo>
                    <a:lnTo>
                      <a:pt x="300" y="234"/>
                    </a:lnTo>
                    <a:lnTo>
                      <a:pt x="310" y="237"/>
                    </a:lnTo>
                    <a:lnTo>
                      <a:pt x="336" y="227"/>
                    </a:lnTo>
                    <a:lnTo>
                      <a:pt x="336" y="232"/>
                    </a:lnTo>
                    <a:lnTo>
                      <a:pt x="339" y="239"/>
                    </a:lnTo>
                    <a:lnTo>
                      <a:pt x="342" y="250"/>
                    </a:lnTo>
                    <a:lnTo>
                      <a:pt x="336" y="258"/>
                    </a:lnTo>
                    <a:lnTo>
                      <a:pt x="340" y="256"/>
                    </a:lnTo>
                    <a:lnTo>
                      <a:pt x="344" y="271"/>
                    </a:lnTo>
                    <a:lnTo>
                      <a:pt x="343" y="287"/>
                    </a:lnTo>
                    <a:lnTo>
                      <a:pt x="349" y="297"/>
                    </a:lnTo>
                    <a:lnTo>
                      <a:pt x="359" y="298"/>
                    </a:lnTo>
                    <a:lnTo>
                      <a:pt x="366" y="297"/>
                    </a:lnTo>
                    <a:lnTo>
                      <a:pt x="371" y="292"/>
                    </a:lnTo>
                    <a:lnTo>
                      <a:pt x="377" y="293"/>
                    </a:lnTo>
                    <a:lnTo>
                      <a:pt x="395" y="288"/>
                    </a:lnTo>
                    <a:lnTo>
                      <a:pt x="399" y="297"/>
                    </a:lnTo>
                    <a:lnTo>
                      <a:pt x="419" y="293"/>
                    </a:lnTo>
                    <a:lnTo>
                      <a:pt x="469" y="303"/>
                    </a:lnTo>
                    <a:lnTo>
                      <a:pt x="478" y="301"/>
                    </a:lnTo>
                    <a:lnTo>
                      <a:pt x="482" y="283"/>
                    </a:lnTo>
                    <a:lnTo>
                      <a:pt x="482" y="261"/>
                    </a:lnTo>
                    <a:lnTo>
                      <a:pt x="468" y="245"/>
                    </a:lnTo>
                    <a:lnTo>
                      <a:pt x="462" y="233"/>
                    </a:lnTo>
                    <a:lnTo>
                      <a:pt x="450" y="236"/>
                    </a:lnTo>
                    <a:lnTo>
                      <a:pt x="444" y="229"/>
                    </a:lnTo>
                    <a:lnTo>
                      <a:pt x="440" y="221"/>
                    </a:lnTo>
                    <a:lnTo>
                      <a:pt x="431" y="227"/>
                    </a:lnTo>
                    <a:lnTo>
                      <a:pt x="425" y="218"/>
                    </a:lnTo>
                    <a:lnTo>
                      <a:pt x="449" y="204"/>
                    </a:lnTo>
                    <a:lnTo>
                      <a:pt x="451" y="193"/>
                    </a:lnTo>
                    <a:lnTo>
                      <a:pt x="462" y="190"/>
                    </a:lnTo>
                    <a:lnTo>
                      <a:pt x="456" y="163"/>
                    </a:lnTo>
                    <a:lnTo>
                      <a:pt x="450" y="152"/>
                    </a:lnTo>
                    <a:lnTo>
                      <a:pt x="440" y="148"/>
                    </a:lnTo>
                    <a:lnTo>
                      <a:pt x="438" y="142"/>
                    </a:lnTo>
                    <a:lnTo>
                      <a:pt x="424" y="139"/>
                    </a:lnTo>
                    <a:lnTo>
                      <a:pt x="402" y="120"/>
                    </a:lnTo>
                    <a:lnTo>
                      <a:pt x="401" y="110"/>
                    </a:lnTo>
                    <a:lnTo>
                      <a:pt x="401" y="100"/>
                    </a:lnTo>
                    <a:lnTo>
                      <a:pt x="396" y="93"/>
                    </a:lnTo>
                    <a:lnTo>
                      <a:pt x="412" y="89"/>
                    </a:lnTo>
                    <a:lnTo>
                      <a:pt x="420" y="8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6" name="Canada"/>
              <p:cNvSpPr>
                <a:spLocks noChangeAspect="1"/>
              </p:cNvSpPr>
              <p:nvPr>
                <p:custDataLst>
                  <p:tags r:id="rId184"/>
                </p:custDataLst>
              </p:nvPr>
            </p:nvSpPr>
            <p:spPr bwMode="gray">
              <a:xfrm>
                <a:off x="1168" y="1099"/>
                <a:ext cx="80" cy="82"/>
              </a:xfrm>
              <a:custGeom>
                <a:avLst/>
                <a:gdLst/>
                <a:ahLst/>
                <a:cxnLst>
                  <a:cxn ang="0">
                    <a:pos x="157" y="126"/>
                  </a:cxn>
                  <a:cxn ang="0">
                    <a:pos x="177" y="100"/>
                  </a:cxn>
                  <a:cxn ang="0">
                    <a:pos x="197" y="75"/>
                  </a:cxn>
                  <a:cxn ang="0">
                    <a:pos x="224" y="48"/>
                  </a:cxn>
                  <a:cxn ang="0">
                    <a:pos x="242" y="51"/>
                  </a:cxn>
                  <a:cxn ang="0">
                    <a:pos x="269" y="44"/>
                  </a:cxn>
                  <a:cxn ang="0">
                    <a:pos x="274" y="72"/>
                  </a:cxn>
                  <a:cxn ang="0">
                    <a:pos x="285" y="59"/>
                  </a:cxn>
                  <a:cxn ang="0">
                    <a:pos x="303" y="57"/>
                  </a:cxn>
                  <a:cxn ang="0">
                    <a:pos x="329" y="43"/>
                  </a:cxn>
                  <a:cxn ang="0">
                    <a:pos x="307" y="23"/>
                  </a:cxn>
                  <a:cxn ang="0">
                    <a:pos x="343" y="0"/>
                  </a:cxn>
                  <a:cxn ang="0">
                    <a:pos x="382" y="37"/>
                  </a:cxn>
                  <a:cxn ang="0">
                    <a:pos x="397" y="72"/>
                  </a:cxn>
                  <a:cxn ang="0">
                    <a:pos x="356" y="91"/>
                  </a:cxn>
                  <a:cxn ang="0">
                    <a:pos x="353" y="119"/>
                  </a:cxn>
                  <a:cxn ang="0">
                    <a:pos x="369" y="159"/>
                  </a:cxn>
                  <a:cxn ang="0">
                    <a:pos x="355" y="173"/>
                  </a:cxn>
                  <a:cxn ang="0">
                    <a:pos x="370" y="190"/>
                  </a:cxn>
                  <a:cxn ang="0">
                    <a:pos x="350" y="237"/>
                  </a:cxn>
                  <a:cxn ang="0">
                    <a:pos x="314" y="258"/>
                  </a:cxn>
                  <a:cxn ang="0">
                    <a:pos x="300" y="309"/>
                  </a:cxn>
                  <a:cxn ang="0">
                    <a:pos x="265" y="253"/>
                  </a:cxn>
                  <a:cxn ang="0">
                    <a:pos x="275" y="195"/>
                  </a:cxn>
                  <a:cxn ang="0">
                    <a:pos x="262" y="193"/>
                  </a:cxn>
                  <a:cxn ang="0">
                    <a:pos x="244" y="206"/>
                  </a:cxn>
                  <a:cxn ang="0">
                    <a:pos x="244" y="244"/>
                  </a:cxn>
                  <a:cxn ang="0">
                    <a:pos x="216" y="239"/>
                  </a:cxn>
                  <a:cxn ang="0">
                    <a:pos x="217" y="264"/>
                  </a:cxn>
                  <a:cxn ang="0">
                    <a:pos x="231" y="302"/>
                  </a:cxn>
                  <a:cxn ang="0">
                    <a:pos x="211" y="342"/>
                  </a:cxn>
                  <a:cxn ang="0">
                    <a:pos x="195" y="324"/>
                  </a:cxn>
                  <a:cxn ang="0">
                    <a:pos x="181" y="295"/>
                  </a:cxn>
                  <a:cxn ang="0">
                    <a:pos x="174" y="318"/>
                  </a:cxn>
                  <a:cxn ang="0">
                    <a:pos x="181" y="336"/>
                  </a:cxn>
                  <a:cxn ang="0">
                    <a:pos x="181" y="368"/>
                  </a:cxn>
                  <a:cxn ang="0">
                    <a:pos x="171" y="393"/>
                  </a:cxn>
                  <a:cxn ang="0">
                    <a:pos x="145" y="384"/>
                  </a:cxn>
                  <a:cxn ang="0">
                    <a:pos x="131" y="393"/>
                  </a:cxn>
                  <a:cxn ang="0">
                    <a:pos x="114" y="351"/>
                  </a:cxn>
                  <a:cxn ang="0">
                    <a:pos x="114" y="319"/>
                  </a:cxn>
                  <a:cxn ang="0">
                    <a:pos x="101" y="360"/>
                  </a:cxn>
                  <a:cxn ang="0">
                    <a:pos x="56" y="360"/>
                  </a:cxn>
                  <a:cxn ang="0">
                    <a:pos x="58" y="334"/>
                  </a:cxn>
                  <a:cxn ang="0">
                    <a:pos x="37" y="378"/>
                  </a:cxn>
                  <a:cxn ang="0">
                    <a:pos x="12" y="367"/>
                  </a:cxn>
                  <a:cxn ang="0">
                    <a:pos x="2" y="346"/>
                  </a:cxn>
                  <a:cxn ang="0">
                    <a:pos x="15" y="308"/>
                  </a:cxn>
                  <a:cxn ang="0">
                    <a:pos x="29" y="274"/>
                  </a:cxn>
                  <a:cxn ang="0">
                    <a:pos x="59" y="274"/>
                  </a:cxn>
                  <a:cxn ang="0">
                    <a:pos x="82" y="239"/>
                  </a:cxn>
                  <a:cxn ang="0">
                    <a:pos x="90" y="209"/>
                  </a:cxn>
                  <a:cxn ang="0">
                    <a:pos x="111" y="206"/>
                  </a:cxn>
                  <a:cxn ang="0">
                    <a:pos x="134" y="178"/>
                  </a:cxn>
                  <a:cxn ang="0">
                    <a:pos x="147" y="150"/>
                  </a:cxn>
                </a:cxnLst>
                <a:rect l="0" t="0" r="r" b="b"/>
                <a:pathLst>
                  <a:path w="399" h="411">
                    <a:moveTo>
                      <a:pt x="154" y="134"/>
                    </a:moveTo>
                    <a:lnTo>
                      <a:pt x="156" y="136"/>
                    </a:lnTo>
                    <a:lnTo>
                      <a:pt x="157" y="126"/>
                    </a:lnTo>
                    <a:lnTo>
                      <a:pt x="166" y="120"/>
                    </a:lnTo>
                    <a:lnTo>
                      <a:pt x="170" y="109"/>
                    </a:lnTo>
                    <a:lnTo>
                      <a:pt x="177" y="100"/>
                    </a:lnTo>
                    <a:lnTo>
                      <a:pt x="184" y="99"/>
                    </a:lnTo>
                    <a:lnTo>
                      <a:pt x="187" y="89"/>
                    </a:lnTo>
                    <a:lnTo>
                      <a:pt x="197" y="75"/>
                    </a:lnTo>
                    <a:lnTo>
                      <a:pt x="198" y="61"/>
                    </a:lnTo>
                    <a:lnTo>
                      <a:pt x="221" y="57"/>
                    </a:lnTo>
                    <a:lnTo>
                      <a:pt x="224" y="48"/>
                    </a:lnTo>
                    <a:lnTo>
                      <a:pt x="232" y="49"/>
                    </a:lnTo>
                    <a:lnTo>
                      <a:pt x="238" y="57"/>
                    </a:lnTo>
                    <a:lnTo>
                      <a:pt x="242" y="51"/>
                    </a:lnTo>
                    <a:lnTo>
                      <a:pt x="256" y="50"/>
                    </a:lnTo>
                    <a:lnTo>
                      <a:pt x="260" y="45"/>
                    </a:lnTo>
                    <a:lnTo>
                      <a:pt x="269" y="44"/>
                    </a:lnTo>
                    <a:lnTo>
                      <a:pt x="267" y="60"/>
                    </a:lnTo>
                    <a:lnTo>
                      <a:pt x="270" y="76"/>
                    </a:lnTo>
                    <a:lnTo>
                      <a:pt x="274" y="72"/>
                    </a:lnTo>
                    <a:lnTo>
                      <a:pt x="271" y="57"/>
                    </a:lnTo>
                    <a:lnTo>
                      <a:pt x="275" y="48"/>
                    </a:lnTo>
                    <a:lnTo>
                      <a:pt x="285" y="59"/>
                    </a:lnTo>
                    <a:lnTo>
                      <a:pt x="298" y="66"/>
                    </a:lnTo>
                    <a:lnTo>
                      <a:pt x="306" y="66"/>
                    </a:lnTo>
                    <a:lnTo>
                      <a:pt x="303" y="57"/>
                    </a:lnTo>
                    <a:lnTo>
                      <a:pt x="319" y="61"/>
                    </a:lnTo>
                    <a:lnTo>
                      <a:pt x="330" y="49"/>
                    </a:lnTo>
                    <a:lnTo>
                      <a:pt x="329" y="43"/>
                    </a:lnTo>
                    <a:lnTo>
                      <a:pt x="322" y="44"/>
                    </a:lnTo>
                    <a:lnTo>
                      <a:pt x="313" y="37"/>
                    </a:lnTo>
                    <a:lnTo>
                      <a:pt x="307" y="23"/>
                    </a:lnTo>
                    <a:lnTo>
                      <a:pt x="317" y="19"/>
                    </a:lnTo>
                    <a:lnTo>
                      <a:pt x="323" y="7"/>
                    </a:lnTo>
                    <a:lnTo>
                      <a:pt x="343" y="0"/>
                    </a:lnTo>
                    <a:lnTo>
                      <a:pt x="365" y="18"/>
                    </a:lnTo>
                    <a:lnTo>
                      <a:pt x="365" y="24"/>
                    </a:lnTo>
                    <a:lnTo>
                      <a:pt x="382" y="37"/>
                    </a:lnTo>
                    <a:lnTo>
                      <a:pt x="399" y="57"/>
                    </a:lnTo>
                    <a:lnTo>
                      <a:pt x="399" y="66"/>
                    </a:lnTo>
                    <a:lnTo>
                      <a:pt x="397" y="72"/>
                    </a:lnTo>
                    <a:lnTo>
                      <a:pt x="384" y="77"/>
                    </a:lnTo>
                    <a:lnTo>
                      <a:pt x="381" y="85"/>
                    </a:lnTo>
                    <a:lnTo>
                      <a:pt x="356" y="91"/>
                    </a:lnTo>
                    <a:lnTo>
                      <a:pt x="349" y="99"/>
                    </a:lnTo>
                    <a:lnTo>
                      <a:pt x="348" y="108"/>
                    </a:lnTo>
                    <a:lnTo>
                      <a:pt x="353" y="119"/>
                    </a:lnTo>
                    <a:lnTo>
                      <a:pt x="376" y="148"/>
                    </a:lnTo>
                    <a:lnTo>
                      <a:pt x="377" y="159"/>
                    </a:lnTo>
                    <a:lnTo>
                      <a:pt x="369" y="159"/>
                    </a:lnTo>
                    <a:lnTo>
                      <a:pt x="360" y="152"/>
                    </a:lnTo>
                    <a:lnTo>
                      <a:pt x="353" y="159"/>
                    </a:lnTo>
                    <a:lnTo>
                      <a:pt x="355" y="173"/>
                    </a:lnTo>
                    <a:lnTo>
                      <a:pt x="364" y="174"/>
                    </a:lnTo>
                    <a:lnTo>
                      <a:pt x="366" y="186"/>
                    </a:lnTo>
                    <a:lnTo>
                      <a:pt x="370" y="190"/>
                    </a:lnTo>
                    <a:lnTo>
                      <a:pt x="375" y="210"/>
                    </a:lnTo>
                    <a:lnTo>
                      <a:pt x="366" y="222"/>
                    </a:lnTo>
                    <a:lnTo>
                      <a:pt x="350" y="237"/>
                    </a:lnTo>
                    <a:lnTo>
                      <a:pt x="324" y="237"/>
                    </a:lnTo>
                    <a:lnTo>
                      <a:pt x="318" y="244"/>
                    </a:lnTo>
                    <a:lnTo>
                      <a:pt x="314" y="258"/>
                    </a:lnTo>
                    <a:lnTo>
                      <a:pt x="317" y="288"/>
                    </a:lnTo>
                    <a:lnTo>
                      <a:pt x="313" y="302"/>
                    </a:lnTo>
                    <a:lnTo>
                      <a:pt x="300" y="309"/>
                    </a:lnTo>
                    <a:lnTo>
                      <a:pt x="287" y="307"/>
                    </a:lnTo>
                    <a:lnTo>
                      <a:pt x="265" y="269"/>
                    </a:lnTo>
                    <a:lnTo>
                      <a:pt x="265" y="253"/>
                    </a:lnTo>
                    <a:lnTo>
                      <a:pt x="269" y="237"/>
                    </a:lnTo>
                    <a:lnTo>
                      <a:pt x="268" y="220"/>
                    </a:lnTo>
                    <a:lnTo>
                      <a:pt x="275" y="195"/>
                    </a:lnTo>
                    <a:lnTo>
                      <a:pt x="276" y="183"/>
                    </a:lnTo>
                    <a:lnTo>
                      <a:pt x="270" y="182"/>
                    </a:lnTo>
                    <a:lnTo>
                      <a:pt x="262" y="193"/>
                    </a:lnTo>
                    <a:lnTo>
                      <a:pt x="246" y="189"/>
                    </a:lnTo>
                    <a:lnTo>
                      <a:pt x="244" y="200"/>
                    </a:lnTo>
                    <a:lnTo>
                      <a:pt x="244" y="206"/>
                    </a:lnTo>
                    <a:lnTo>
                      <a:pt x="237" y="213"/>
                    </a:lnTo>
                    <a:lnTo>
                      <a:pt x="243" y="220"/>
                    </a:lnTo>
                    <a:lnTo>
                      <a:pt x="244" y="244"/>
                    </a:lnTo>
                    <a:lnTo>
                      <a:pt x="235" y="255"/>
                    </a:lnTo>
                    <a:lnTo>
                      <a:pt x="225" y="242"/>
                    </a:lnTo>
                    <a:lnTo>
                      <a:pt x="216" y="239"/>
                    </a:lnTo>
                    <a:lnTo>
                      <a:pt x="216" y="247"/>
                    </a:lnTo>
                    <a:lnTo>
                      <a:pt x="211" y="256"/>
                    </a:lnTo>
                    <a:lnTo>
                      <a:pt x="217" y="264"/>
                    </a:lnTo>
                    <a:lnTo>
                      <a:pt x="227" y="268"/>
                    </a:lnTo>
                    <a:lnTo>
                      <a:pt x="233" y="291"/>
                    </a:lnTo>
                    <a:lnTo>
                      <a:pt x="231" y="302"/>
                    </a:lnTo>
                    <a:lnTo>
                      <a:pt x="216" y="311"/>
                    </a:lnTo>
                    <a:lnTo>
                      <a:pt x="215" y="331"/>
                    </a:lnTo>
                    <a:lnTo>
                      <a:pt x="211" y="342"/>
                    </a:lnTo>
                    <a:lnTo>
                      <a:pt x="209" y="340"/>
                    </a:lnTo>
                    <a:lnTo>
                      <a:pt x="201" y="344"/>
                    </a:lnTo>
                    <a:lnTo>
                      <a:pt x="195" y="324"/>
                    </a:lnTo>
                    <a:lnTo>
                      <a:pt x="188" y="308"/>
                    </a:lnTo>
                    <a:lnTo>
                      <a:pt x="185" y="287"/>
                    </a:lnTo>
                    <a:lnTo>
                      <a:pt x="181" y="295"/>
                    </a:lnTo>
                    <a:lnTo>
                      <a:pt x="173" y="290"/>
                    </a:lnTo>
                    <a:lnTo>
                      <a:pt x="172" y="301"/>
                    </a:lnTo>
                    <a:lnTo>
                      <a:pt x="174" y="318"/>
                    </a:lnTo>
                    <a:lnTo>
                      <a:pt x="178" y="324"/>
                    </a:lnTo>
                    <a:lnTo>
                      <a:pt x="173" y="334"/>
                    </a:lnTo>
                    <a:lnTo>
                      <a:pt x="181" y="336"/>
                    </a:lnTo>
                    <a:lnTo>
                      <a:pt x="162" y="346"/>
                    </a:lnTo>
                    <a:lnTo>
                      <a:pt x="173" y="352"/>
                    </a:lnTo>
                    <a:lnTo>
                      <a:pt x="181" y="368"/>
                    </a:lnTo>
                    <a:lnTo>
                      <a:pt x="182" y="376"/>
                    </a:lnTo>
                    <a:lnTo>
                      <a:pt x="173" y="376"/>
                    </a:lnTo>
                    <a:lnTo>
                      <a:pt x="171" y="393"/>
                    </a:lnTo>
                    <a:lnTo>
                      <a:pt x="162" y="398"/>
                    </a:lnTo>
                    <a:lnTo>
                      <a:pt x="154" y="398"/>
                    </a:lnTo>
                    <a:lnTo>
                      <a:pt x="145" y="384"/>
                    </a:lnTo>
                    <a:lnTo>
                      <a:pt x="144" y="400"/>
                    </a:lnTo>
                    <a:lnTo>
                      <a:pt x="139" y="411"/>
                    </a:lnTo>
                    <a:lnTo>
                      <a:pt x="131" y="393"/>
                    </a:lnTo>
                    <a:lnTo>
                      <a:pt x="130" y="367"/>
                    </a:lnTo>
                    <a:lnTo>
                      <a:pt x="123" y="367"/>
                    </a:lnTo>
                    <a:lnTo>
                      <a:pt x="114" y="351"/>
                    </a:lnTo>
                    <a:lnTo>
                      <a:pt x="118" y="339"/>
                    </a:lnTo>
                    <a:lnTo>
                      <a:pt x="117" y="328"/>
                    </a:lnTo>
                    <a:lnTo>
                      <a:pt x="114" y="319"/>
                    </a:lnTo>
                    <a:lnTo>
                      <a:pt x="103" y="329"/>
                    </a:lnTo>
                    <a:lnTo>
                      <a:pt x="101" y="349"/>
                    </a:lnTo>
                    <a:lnTo>
                      <a:pt x="101" y="360"/>
                    </a:lnTo>
                    <a:lnTo>
                      <a:pt x="91" y="382"/>
                    </a:lnTo>
                    <a:lnTo>
                      <a:pt x="82" y="371"/>
                    </a:lnTo>
                    <a:lnTo>
                      <a:pt x="56" y="360"/>
                    </a:lnTo>
                    <a:lnTo>
                      <a:pt x="55" y="352"/>
                    </a:lnTo>
                    <a:lnTo>
                      <a:pt x="58" y="346"/>
                    </a:lnTo>
                    <a:lnTo>
                      <a:pt x="58" y="334"/>
                    </a:lnTo>
                    <a:lnTo>
                      <a:pt x="50" y="356"/>
                    </a:lnTo>
                    <a:lnTo>
                      <a:pt x="44" y="361"/>
                    </a:lnTo>
                    <a:lnTo>
                      <a:pt x="37" y="378"/>
                    </a:lnTo>
                    <a:lnTo>
                      <a:pt x="21" y="383"/>
                    </a:lnTo>
                    <a:lnTo>
                      <a:pt x="12" y="373"/>
                    </a:lnTo>
                    <a:lnTo>
                      <a:pt x="12" y="367"/>
                    </a:lnTo>
                    <a:lnTo>
                      <a:pt x="25" y="333"/>
                    </a:lnTo>
                    <a:lnTo>
                      <a:pt x="16" y="328"/>
                    </a:lnTo>
                    <a:lnTo>
                      <a:pt x="2" y="346"/>
                    </a:lnTo>
                    <a:lnTo>
                      <a:pt x="0" y="326"/>
                    </a:lnTo>
                    <a:lnTo>
                      <a:pt x="5" y="317"/>
                    </a:lnTo>
                    <a:lnTo>
                      <a:pt x="15" y="308"/>
                    </a:lnTo>
                    <a:lnTo>
                      <a:pt x="16" y="285"/>
                    </a:lnTo>
                    <a:lnTo>
                      <a:pt x="27" y="280"/>
                    </a:lnTo>
                    <a:lnTo>
                      <a:pt x="29" y="274"/>
                    </a:lnTo>
                    <a:lnTo>
                      <a:pt x="39" y="266"/>
                    </a:lnTo>
                    <a:lnTo>
                      <a:pt x="47" y="266"/>
                    </a:lnTo>
                    <a:lnTo>
                      <a:pt x="59" y="274"/>
                    </a:lnTo>
                    <a:lnTo>
                      <a:pt x="64" y="269"/>
                    </a:lnTo>
                    <a:lnTo>
                      <a:pt x="70" y="271"/>
                    </a:lnTo>
                    <a:lnTo>
                      <a:pt x="82" y="239"/>
                    </a:lnTo>
                    <a:lnTo>
                      <a:pt x="90" y="231"/>
                    </a:lnTo>
                    <a:lnTo>
                      <a:pt x="91" y="225"/>
                    </a:lnTo>
                    <a:lnTo>
                      <a:pt x="90" y="209"/>
                    </a:lnTo>
                    <a:lnTo>
                      <a:pt x="93" y="216"/>
                    </a:lnTo>
                    <a:lnTo>
                      <a:pt x="99" y="213"/>
                    </a:lnTo>
                    <a:lnTo>
                      <a:pt x="111" y="206"/>
                    </a:lnTo>
                    <a:lnTo>
                      <a:pt x="114" y="198"/>
                    </a:lnTo>
                    <a:lnTo>
                      <a:pt x="120" y="198"/>
                    </a:lnTo>
                    <a:lnTo>
                      <a:pt x="134" y="178"/>
                    </a:lnTo>
                    <a:lnTo>
                      <a:pt x="147" y="174"/>
                    </a:lnTo>
                    <a:lnTo>
                      <a:pt x="138" y="170"/>
                    </a:lnTo>
                    <a:lnTo>
                      <a:pt x="147" y="150"/>
                    </a:lnTo>
                    <a:lnTo>
                      <a:pt x="149" y="139"/>
                    </a:lnTo>
                    <a:lnTo>
                      <a:pt x="154" y="13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" name="Canada"/>
              <p:cNvSpPr>
                <a:spLocks noChangeAspect="1"/>
              </p:cNvSpPr>
              <p:nvPr>
                <p:custDataLst>
                  <p:tags r:id="rId185"/>
                </p:custDataLst>
              </p:nvPr>
            </p:nvSpPr>
            <p:spPr bwMode="gray">
              <a:xfrm>
                <a:off x="1271" y="1070"/>
                <a:ext cx="40" cy="39"/>
              </a:xfrm>
              <a:custGeom>
                <a:avLst/>
                <a:gdLst/>
                <a:ahLst/>
                <a:cxnLst>
                  <a:cxn ang="0">
                    <a:pos x="76" y="19"/>
                  </a:cxn>
                  <a:cxn ang="0">
                    <a:pos x="84" y="23"/>
                  </a:cxn>
                  <a:cxn ang="0">
                    <a:pos x="84" y="19"/>
                  </a:cxn>
                  <a:cxn ang="0">
                    <a:pos x="95" y="13"/>
                  </a:cxn>
                  <a:cxn ang="0">
                    <a:pos x="127" y="7"/>
                  </a:cxn>
                  <a:cxn ang="0">
                    <a:pos x="128" y="13"/>
                  </a:cxn>
                  <a:cxn ang="0">
                    <a:pos x="138" y="16"/>
                  </a:cxn>
                  <a:cxn ang="0">
                    <a:pos x="145" y="5"/>
                  </a:cxn>
                  <a:cxn ang="0">
                    <a:pos x="172" y="0"/>
                  </a:cxn>
                  <a:cxn ang="0">
                    <a:pos x="198" y="8"/>
                  </a:cxn>
                  <a:cxn ang="0">
                    <a:pos x="200" y="21"/>
                  </a:cxn>
                  <a:cxn ang="0">
                    <a:pos x="199" y="37"/>
                  </a:cxn>
                  <a:cxn ang="0">
                    <a:pos x="194" y="46"/>
                  </a:cxn>
                  <a:cxn ang="0">
                    <a:pos x="149" y="60"/>
                  </a:cxn>
                  <a:cxn ang="0">
                    <a:pos x="135" y="60"/>
                  </a:cxn>
                  <a:cxn ang="0">
                    <a:pos x="134" y="65"/>
                  </a:cxn>
                  <a:cxn ang="0">
                    <a:pos x="127" y="70"/>
                  </a:cxn>
                  <a:cxn ang="0">
                    <a:pos x="134" y="76"/>
                  </a:cxn>
                  <a:cxn ang="0">
                    <a:pos x="129" y="80"/>
                  </a:cxn>
                  <a:cxn ang="0">
                    <a:pos x="105" y="81"/>
                  </a:cxn>
                  <a:cxn ang="0">
                    <a:pos x="107" y="85"/>
                  </a:cxn>
                  <a:cxn ang="0">
                    <a:pos x="107" y="97"/>
                  </a:cxn>
                  <a:cxn ang="0">
                    <a:pos x="114" y="87"/>
                  </a:cxn>
                  <a:cxn ang="0">
                    <a:pos x="116" y="94"/>
                  </a:cxn>
                  <a:cxn ang="0">
                    <a:pos x="111" y="104"/>
                  </a:cxn>
                  <a:cxn ang="0">
                    <a:pos x="123" y="92"/>
                  </a:cxn>
                  <a:cxn ang="0">
                    <a:pos x="129" y="92"/>
                  </a:cxn>
                  <a:cxn ang="0">
                    <a:pos x="129" y="104"/>
                  </a:cxn>
                  <a:cxn ang="0">
                    <a:pos x="134" y="99"/>
                  </a:cxn>
                  <a:cxn ang="0">
                    <a:pos x="135" y="87"/>
                  </a:cxn>
                  <a:cxn ang="0">
                    <a:pos x="140" y="81"/>
                  </a:cxn>
                  <a:cxn ang="0">
                    <a:pos x="144" y="89"/>
                  </a:cxn>
                  <a:cxn ang="0">
                    <a:pos x="155" y="92"/>
                  </a:cxn>
                  <a:cxn ang="0">
                    <a:pos x="173" y="87"/>
                  </a:cxn>
                  <a:cxn ang="0">
                    <a:pos x="177" y="115"/>
                  </a:cxn>
                  <a:cxn ang="0">
                    <a:pos x="173" y="150"/>
                  </a:cxn>
                  <a:cxn ang="0">
                    <a:pos x="168" y="157"/>
                  </a:cxn>
                  <a:cxn ang="0">
                    <a:pos x="161" y="163"/>
                  </a:cxn>
                  <a:cxn ang="0">
                    <a:pos x="125" y="177"/>
                  </a:cxn>
                  <a:cxn ang="0">
                    <a:pos x="117" y="172"/>
                  </a:cxn>
                  <a:cxn ang="0">
                    <a:pos x="76" y="195"/>
                  </a:cxn>
                  <a:cxn ang="0">
                    <a:pos x="64" y="195"/>
                  </a:cxn>
                  <a:cxn ang="0">
                    <a:pos x="52" y="190"/>
                  </a:cxn>
                  <a:cxn ang="0">
                    <a:pos x="46" y="179"/>
                  </a:cxn>
                  <a:cxn ang="0">
                    <a:pos x="44" y="169"/>
                  </a:cxn>
                  <a:cxn ang="0">
                    <a:pos x="14" y="158"/>
                  </a:cxn>
                  <a:cxn ang="0">
                    <a:pos x="6" y="148"/>
                  </a:cxn>
                  <a:cxn ang="0">
                    <a:pos x="6" y="136"/>
                  </a:cxn>
                  <a:cxn ang="0">
                    <a:pos x="9" y="129"/>
                  </a:cxn>
                  <a:cxn ang="0">
                    <a:pos x="6" y="118"/>
                  </a:cxn>
                  <a:cxn ang="0">
                    <a:pos x="6" y="102"/>
                  </a:cxn>
                  <a:cxn ang="0">
                    <a:pos x="0" y="83"/>
                  </a:cxn>
                  <a:cxn ang="0">
                    <a:pos x="4" y="61"/>
                  </a:cxn>
                  <a:cxn ang="0">
                    <a:pos x="8" y="56"/>
                  </a:cxn>
                  <a:cxn ang="0">
                    <a:pos x="32" y="49"/>
                  </a:cxn>
                  <a:cxn ang="0">
                    <a:pos x="37" y="39"/>
                  </a:cxn>
                  <a:cxn ang="0">
                    <a:pos x="46" y="33"/>
                  </a:cxn>
                  <a:cxn ang="0">
                    <a:pos x="54" y="37"/>
                  </a:cxn>
                  <a:cxn ang="0">
                    <a:pos x="63" y="23"/>
                  </a:cxn>
                  <a:cxn ang="0">
                    <a:pos x="71" y="23"/>
                  </a:cxn>
                  <a:cxn ang="0">
                    <a:pos x="76" y="19"/>
                  </a:cxn>
                </a:cxnLst>
                <a:rect l="0" t="0" r="r" b="b"/>
                <a:pathLst>
                  <a:path w="200" h="195">
                    <a:moveTo>
                      <a:pt x="76" y="19"/>
                    </a:moveTo>
                    <a:lnTo>
                      <a:pt x="84" y="23"/>
                    </a:lnTo>
                    <a:lnTo>
                      <a:pt x="84" y="19"/>
                    </a:lnTo>
                    <a:lnTo>
                      <a:pt x="95" y="13"/>
                    </a:lnTo>
                    <a:lnTo>
                      <a:pt x="127" y="7"/>
                    </a:lnTo>
                    <a:lnTo>
                      <a:pt x="128" y="13"/>
                    </a:lnTo>
                    <a:lnTo>
                      <a:pt x="138" y="16"/>
                    </a:lnTo>
                    <a:lnTo>
                      <a:pt x="145" y="5"/>
                    </a:lnTo>
                    <a:lnTo>
                      <a:pt x="172" y="0"/>
                    </a:lnTo>
                    <a:lnTo>
                      <a:pt x="198" y="8"/>
                    </a:lnTo>
                    <a:lnTo>
                      <a:pt x="200" y="21"/>
                    </a:lnTo>
                    <a:lnTo>
                      <a:pt x="199" y="37"/>
                    </a:lnTo>
                    <a:lnTo>
                      <a:pt x="194" y="46"/>
                    </a:lnTo>
                    <a:lnTo>
                      <a:pt x="149" y="60"/>
                    </a:lnTo>
                    <a:lnTo>
                      <a:pt x="135" y="60"/>
                    </a:lnTo>
                    <a:lnTo>
                      <a:pt x="134" y="65"/>
                    </a:lnTo>
                    <a:lnTo>
                      <a:pt x="127" y="70"/>
                    </a:lnTo>
                    <a:lnTo>
                      <a:pt x="134" y="76"/>
                    </a:lnTo>
                    <a:lnTo>
                      <a:pt x="129" y="80"/>
                    </a:lnTo>
                    <a:lnTo>
                      <a:pt x="105" y="81"/>
                    </a:lnTo>
                    <a:lnTo>
                      <a:pt x="107" y="85"/>
                    </a:lnTo>
                    <a:lnTo>
                      <a:pt x="107" y="97"/>
                    </a:lnTo>
                    <a:lnTo>
                      <a:pt x="114" y="87"/>
                    </a:lnTo>
                    <a:lnTo>
                      <a:pt x="116" y="94"/>
                    </a:lnTo>
                    <a:lnTo>
                      <a:pt x="111" y="104"/>
                    </a:lnTo>
                    <a:lnTo>
                      <a:pt x="123" y="92"/>
                    </a:lnTo>
                    <a:lnTo>
                      <a:pt x="129" y="92"/>
                    </a:lnTo>
                    <a:lnTo>
                      <a:pt x="129" y="104"/>
                    </a:lnTo>
                    <a:lnTo>
                      <a:pt x="134" y="99"/>
                    </a:lnTo>
                    <a:lnTo>
                      <a:pt x="135" y="87"/>
                    </a:lnTo>
                    <a:lnTo>
                      <a:pt x="140" y="81"/>
                    </a:lnTo>
                    <a:lnTo>
                      <a:pt x="144" y="89"/>
                    </a:lnTo>
                    <a:lnTo>
                      <a:pt x="155" y="92"/>
                    </a:lnTo>
                    <a:lnTo>
                      <a:pt x="173" y="87"/>
                    </a:lnTo>
                    <a:lnTo>
                      <a:pt x="177" y="115"/>
                    </a:lnTo>
                    <a:lnTo>
                      <a:pt x="173" y="150"/>
                    </a:lnTo>
                    <a:lnTo>
                      <a:pt x="168" y="157"/>
                    </a:lnTo>
                    <a:lnTo>
                      <a:pt x="161" y="163"/>
                    </a:lnTo>
                    <a:lnTo>
                      <a:pt x="125" y="177"/>
                    </a:lnTo>
                    <a:lnTo>
                      <a:pt x="117" y="172"/>
                    </a:lnTo>
                    <a:lnTo>
                      <a:pt x="76" y="195"/>
                    </a:lnTo>
                    <a:lnTo>
                      <a:pt x="64" y="195"/>
                    </a:lnTo>
                    <a:lnTo>
                      <a:pt x="52" y="190"/>
                    </a:lnTo>
                    <a:lnTo>
                      <a:pt x="46" y="179"/>
                    </a:lnTo>
                    <a:lnTo>
                      <a:pt x="44" y="169"/>
                    </a:lnTo>
                    <a:lnTo>
                      <a:pt x="14" y="158"/>
                    </a:lnTo>
                    <a:lnTo>
                      <a:pt x="6" y="148"/>
                    </a:lnTo>
                    <a:lnTo>
                      <a:pt x="6" y="136"/>
                    </a:lnTo>
                    <a:lnTo>
                      <a:pt x="9" y="129"/>
                    </a:lnTo>
                    <a:lnTo>
                      <a:pt x="6" y="118"/>
                    </a:lnTo>
                    <a:lnTo>
                      <a:pt x="6" y="102"/>
                    </a:lnTo>
                    <a:lnTo>
                      <a:pt x="0" y="83"/>
                    </a:lnTo>
                    <a:lnTo>
                      <a:pt x="4" y="61"/>
                    </a:lnTo>
                    <a:lnTo>
                      <a:pt x="8" y="56"/>
                    </a:lnTo>
                    <a:lnTo>
                      <a:pt x="32" y="49"/>
                    </a:lnTo>
                    <a:lnTo>
                      <a:pt x="37" y="39"/>
                    </a:lnTo>
                    <a:lnTo>
                      <a:pt x="46" y="33"/>
                    </a:lnTo>
                    <a:lnTo>
                      <a:pt x="54" y="37"/>
                    </a:lnTo>
                    <a:lnTo>
                      <a:pt x="63" y="23"/>
                    </a:lnTo>
                    <a:lnTo>
                      <a:pt x="71" y="23"/>
                    </a:lnTo>
                    <a:lnTo>
                      <a:pt x="76" y="1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8" name="Canada"/>
              <p:cNvSpPr>
                <a:spLocks noChangeAspect="1"/>
              </p:cNvSpPr>
              <p:nvPr>
                <p:custDataLst>
                  <p:tags r:id="rId186"/>
                </p:custDataLst>
              </p:nvPr>
            </p:nvSpPr>
            <p:spPr bwMode="gray">
              <a:xfrm>
                <a:off x="1271" y="1035"/>
                <a:ext cx="44" cy="26"/>
              </a:xfrm>
              <a:custGeom>
                <a:avLst/>
                <a:gdLst/>
                <a:ahLst/>
                <a:cxnLst>
                  <a:cxn ang="0">
                    <a:pos x="184" y="32"/>
                  </a:cxn>
                  <a:cxn ang="0">
                    <a:pos x="188" y="31"/>
                  </a:cxn>
                  <a:cxn ang="0">
                    <a:pos x="192" y="46"/>
                  </a:cxn>
                  <a:cxn ang="0">
                    <a:pos x="207" y="47"/>
                  </a:cxn>
                  <a:cxn ang="0">
                    <a:pos x="208" y="57"/>
                  </a:cxn>
                  <a:cxn ang="0">
                    <a:pos x="216" y="66"/>
                  </a:cxn>
                  <a:cxn ang="0">
                    <a:pos x="216" y="74"/>
                  </a:cxn>
                  <a:cxn ang="0">
                    <a:pos x="219" y="80"/>
                  </a:cxn>
                  <a:cxn ang="0">
                    <a:pos x="219" y="101"/>
                  </a:cxn>
                  <a:cxn ang="0">
                    <a:pos x="216" y="117"/>
                  </a:cxn>
                  <a:cxn ang="0">
                    <a:pos x="208" y="122"/>
                  </a:cxn>
                  <a:cxn ang="0">
                    <a:pos x="195" y="126"/>
                  </a:cxn>
                  <a:cxn ang="0">
                    <a:pos x="188" y="121"/>
                  </a:cxn>
                  <a:cxn ang="0">
                    <a:pos x="160" y="131"/>
                  </a:cxn>
                  <a:cxn ang="0">
                    <a:pos x="148" y="127"/>
                  </a:cxn>
                  <a:cxn ang="0">
                    <a:pos x="130" y="105"/>
                  </a:cxn>
                  <a:cxn ang="0">
                    <a:pos x="121" y="104"/>
                  </a:cxn>
                  <a:cxn ang="0">
                    <a:pos x="114" y="94"/>
                  </a:cxn>
                  <a:cxn ang="0">
                    <a:pos x="109" y="97"/>
                  </a:cxn>
                  <a:cxn ang="0">
                    <a:pos x="107" y="90"/>
                  </a:cxn>
                  <a:cxn ang="0">
                    <a:pos x="107" y="105"/>
                  </a:cxn>
                  <a:cxn ang="0">
                    <a:pos x="111" y="117"/>
                  </a:cxn>
                  <a:cxn ang="0">
                    <a:pos x="105" y="120"/>
                  </a:cxn>
                  <a:cxn ang="0">
                    <a:pos x="107" y="131"/>
                  </a:cxn>
                  <a:cxn ang="0">
                    <a:pos x="86" y="133"/>
                  </a:cxn>
                  <a:cxn ang="0">
                    <a:pos x="78" y="111"/>
                  </a:cxn>
                  <a:cxn ang="0">
                    <a:pos x="60" y="107"/>
                  </a:cxn>
                  <a:cxn ang="0">
                    <a:pos x="57" y="99"/>
                  </a:cxn>
                  <a:cxn ang="0">
                    <a:pos x="49" y="101"/>
                  </a:cxn>
                  <a:cxn ang="0">
                    <a:pos x="51" y="107"/>
                  </a:cxn>
                  <a:cxn ang="0">
                    <a:pos x="51" y="110"/>
                  </a:cxn>
                  <a:cxn ang="0">
                    <a:pos x="43" y="107"/>
                  </a:cxn>
                  <a:cxn ang="0">
                    <a:pos x="31" y="115"/>
                  </a:cxn>
                  <a:cxn ang="0">
                    <a:pos x="32" y="124"/>
                  </a:cxn>
                  <a:cxn ang="0">
                    <a:pos x="31" y="132"/>
                  </a:cxn>
                  <a:cxn ang="0">
                    <a:pos x="28" y="126"/>
                  </a:cxn>
                  <a:cxn ang="0">
                    <a:pos x="15" y="133"/>
                  </a:cxn>
                  <a:cxn ang="0">
                    <a:pos x="8" y="131"/>
                  </a:cxn>
                  <a:cxn ang="0">
                    <a:pos x="6" y="120"/>
                  </a:cxn>
                  <a:cxn ang="0">
                    <a:pos x="0" y="120"/>
                  </a:cxn>
                  <a:cxn ang="0">
                    <a:pos x="8" y="94"/>
                  </a:cxn>
                  <a:cxn ang="0">
                    <a:pos x="23" y="79"/>
                  </a:cxn>
                  <a:cxn ang="0">
                    <a:pos x="27" y="84"/>
                  </a:cxn>
                  <a:cxn ang="0">
                    <a:pos x="36" y="81"/>
                  </a:cxn>
                  <a:cxn ang="0">
                    <a:pos x="36" y="75"/>
                  </a:cxn>
                  <a:cxn ang="0">
                    <a:pos x="53" y="62"/>
                  </a:cxn>
                  <a:cxn ang="0">
                    <a:pos x="85" y="54"/>
                  </a:cxn>
                  <a:cxn ang="0">
                    <a:pos x="105" y="45"/>
                  </a:cxn>
                  <a:cxn ang="0">
                    <a:pos x="117" y="19"/>
                  </a:cxn>
                  <a:cxn ang="0">
                    <a:pos x="121" y="26"/>
                  </a:cxn>
                  <a:cxn ang="0">
                    <a:pos x="140" y="3"/>
                  </a:cxn>
                  <a:cxn ang="0">
                    <a:pos x="159" y="0"/>
                  </a:cxn>
                  <a:cxn ang="0">
                    <a:pos x="164" y="5"/>
                  </a:cxn>
                  <a:cxn ang="0">
                    <a:pos x="164" y="13"/>
                  </a:cxn>
                  <a:cxn ang="0">
                    <a:pos x="168" y="13"/>
                  </a:cxn>
                  <a:cxn ang="0">
                    <a:pos x="171" y="21"/>
                  </a:cxn>
                  <a:cxn ang="0">
                    <a:pos x="184" y="26"/>
                  </a:cxn>
                  <a:cxn ang="0">
                    <a:pos x="184" y="32"/>
                  </a:cxn>
                </a:cxnLst>
                <a:rect l="0" t="0" r="r" b="b"/>
                <a:pathLst>
                  <a:path w="219" h="133">
                    <a:moveTo>
                      <a:pt x="184" y="32"/>
                    </a:moveTo>
                    <a:lnTo>
                      <a:pt x="188" y="31"/>
                    </a:lnTo>
                    <a:lnTo>
                      <a:pt x="192" y="46"/>
                    </a:lnTo>
                    <a:lnTo>
                      <a:pt x="207" y="47"/>
                    </a:lnTo>
                    <a:lnTo>
                      <a:pt x="208" y="57"/>
                    </a:lnTo>
                    <a:lnTo>
                      <a:pt x="216" y="66"/>
                    </a:lnTo>
                    <a:lnTo>
                      <a:pt x="216" y="74"/>
                    </a:lnTo>
                    <a:lnTo>
                      <a:pt x="219" y="80"/>
                    </a:lnTo>
                    <a:lnTo>
                      <a:pt x="219" y="101"/>
                    </a:lnTo>
                    <a:lnTo>
                      <a:pt x="216" y="117"/>
                    </a:lnTo>
                    <a:lnTo>
                      <a:pt x="208" y="122"/>
                    </a:lnTo>
                    <a:lnTo>
                      <a:pt x="195" y="126"/>
                    </a:lnTo>
                    <a:lnTo>
                      <a:pt x="188" y="121"/>
                    </a:lnTo>
                    <a:lnTo>
                      <a:pt x="160" y="131"/>
                    </a:lnTo>
                    <a:lnTo>
                      <a:pt x="148" y="127"/>
                    </a:lnTo>
                    <a:lnTo>
                      <a:pt x="130" y="105"/>
                    </a:lnTo>
                    <a:lnTo>
                      <a:pt x="121" y="104"/>
                    </a:lnTo>
                    <a:lnTo>
                      <a:pt x="114" y="94"/>
                    </a:lnTo>
                    <a:lnTo>
                      <a:pt x="109" y="97"/>
                    </a:lnTo>
                    <a:lnTo>
                      <a:pt x="107" y="90"/>
                    </a:lnTo>
                    <a:lnTo>
                      <a:pt x="107" y="105"/>
                    </a:lnTo>
                    <a:lnTo>
                      <a:pt x="111" y="117"/>
                    </a:lnTo>
                    <a:lnTo>
                      <a:pt x="105" y="120"/>
                    </a:lnTo>
                    <a:lnTo>
                      <a:pt x="107" y="131"/>
                    </a:lnTo>
                    <a:lnTo>
                      <a:pt x="86" y="133"/>
                    </a:lnTo>
                    <a:lnTo>
                      <a:pt x="78" y="111"/>
                    </a:lnTo>
                    <a:lnTo>
                      <a:pt x="60" y="107"/>
                    </a:lnTo>
                    <a:lnTo>
                      <a:pt x="57" y="99"/>
                    </a:lnTo>
                    <a:lnTo>
                      <a:pt x="49" y="101"/>
                    </a:lnTo>
                    <a:lnTo>
                      <a:pt x="51" y="107"/>
                    </a:lnTo>
                    <a:lnTo>
                      <a:pt x="51" y="110"/>
                    </a:lnTo>
                    <a:lnTo>
                      <a:pt x="43" y="107"/>
                    </a:lnTo>
                    <a:lnTo>
                      <a:pt x="31" y="115"/>
                    </a:lnTo>
                    <a:lnTo>
                      <a:pt x="32" y="124"/>
                    </a:lnTo>
                    <a:lnTo>
                      <a:pt x="31" y="132"/>
                    </a:lnTo>
                    <a:lnTo>
                      <a:pt x="28" y="126"/>
                    </a:lnTo>
                    <a:lnTo>
                      <a:pt x="15" y="133"/>
                    </a:lnTo>
                    <a:lnTo>
                      <a:pt x="8" y="131"/>
                    </a:lnTo>
                    <a:lnTo>
                      <a:pt x="6" y="120"/>
                    </a:lnTo>
                    <a:lnTo>
                      <a:pt x="0" y="120"/>
                    </a:lnTo>
                    <a:lnTo>
                      <a:pt x="8" y="94"/>
                    </a:lnTo>
                    <a:lnTo>
                      <a:pt x="23" y="79"/>
                    </a:lnTo>
                    <a:lnTo>
                      <a:pt x="27" y="84"/>
                    </a:lnTo>
                    <a:lnTo>
                      <a:pt x="36" y="81"/>
                    </a:lnTo>
                    <a:lnTo>
                      <a:pt x="36" y="75"/>
                    </a:lnTo>
                    <a:lnTo>
                      <a:pt x="53" y="62"/>
                    </a:lnTo>
                    <a:lnTo>
                      <a:pt x="85" y="54"/>
                    </a:lnTo>
                    <a:lnTo>
                      <a:pt x="105" y="45"/>
                    </a:lnTo>
                    <a:lnTo>
                      <a:pt x="117" y="19"/>
                    </a:lnTo>
                    <a:lnTo>
                      <a:pt x="121" y="26"/>
                    </a:lnTo>
                    <a:lnTo>
                      <a:pt x="140" y="3"/>
                    </a:lnTo>
                    <a:lnTo>
                      <a:pt x="159" y="0"/>
                    </a:lnTo>
                    <a:lnTo>
                      <a:pt x="164" y="5"/>
                    </a:lnTo>
                    <a:lnTo>
                      <a:pt x="164" y="13"/>
                    </a:lnTo>
                    <a:lnTo>
                      <a:pt x="168" y="13"/>
                    </a:lnTo>
                    <a:lnTo>
                      <a:pt x="171" y="21"/>
                    </a:lnTo>
                    <a:lnTo>
                      <a:pt x="184" y="26"/>
                    </a:lnTo>
                    <a:lnTo>
                      <a:pt x="184" y="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" name="Canada"/>
              <p:cNvSpPr>
                <a:spLocks noChangeAspect="1"/>
              </p:cNvSpPr>
              <p:nvPr>
                <p:custDataLst>
                  <p:tags r:id="rId187"/>
                </p:custDataLst>
              </p:nvPr>
            </p:nvSpPr>
            <p:spPr bwMode="gray">
              <a:xfrm>
                <a:off x="1461" y="1086"/>
                <a:ext cx="33" cy="21"/>
              </a:xfrm>
              <a:custGeom>
                <a:avLst/>
                <a:gdLst/>
                <a:ahLst/>
                <a:cxnLst>
                  <a:cxn ang="0">
                    <a:pos x="61" y="15"/>
                  </a:cxn>
                  <a:cxn ang="0">
                    <a:pos x="70" y="20"/>
                  </a:cxn>
                  <a:cxn ang="0">
                    <a:pos x="73" y="12"/>
                  </a:cxn>
                  <a:cxn ang="0">
                    <a:pos x="89" y="10"/>
                  </a:cxn>
                  <a:cxn ang="0">
                    <a:pos x="89" y="15"/>
                  </a:cxn>
                  <a:cxn ang="0">
                    <a:pos x="103" y="20"/>
                  </a:cxn>
                  <a:cxn ang="0">
                    <a:pos x="106" y="15"/>
                  </a:cxn>
                  <a:cxn ang="0">
                    <a:pos x="124" y="26"/>
                  </a:cxn>
                  <a:cxn ang="0">
                    <a:pos x="135" y="25"/>
                  </a:cxn>
                  <a:cxn ang="0">
                    <a:pos x="140" y="15"/>
                  </a:cxn>
                  <a:cxn ang="0">
                    <a:pos x="147" y="25"/>
                  </a:cxn>
                  <a:cxn ang="0">
                    <a:pos x="158" y="30"/>
                  </a:cxn>
                  <a:cxn ang="0">
                    <a:pos x="164" y="44"/>
                  </a:cxn>
                  <a:cxn ang="0">
                    <a:pos x="162" y="49"/>
                  </a:cxn>
                  <a:cxn ang="0">
                    <a:pos x="151" y="52"/>
                  </a:cxn>
                  <a:cxn ang="0">
                    <a:pos x="148" y="57"/>
                  </a:cxn>
                  <a:cxn ang="0">
                    <a:pos x="151" y="62"/>
                  </a:cxn>
                  <a:cxn ang="0">
                    <a:pos x="152" y="71"/>
                  </a:cxn>
                  <a:cxn ang="0">
                    <a:pos x="149" y="85"/>
                  </a:cxn>
                  <a:cxn ang="0">
                    <a:pos x="151" y="91"/>
                  </a:cxn>
                  <a:cxn ang="0">
                    <a:pos x="146" y="101"/>
                  </a:cxn>
                  <a:cxn ang="0">
                    <a:pos x="126" y="103"/>
                  </a:cxn>
                  <a:cxn ang="0">
                    <a:pos x="105" y="98"/>
                  </a:cxn>
                  <a:cxn ang="0">
                    <a:pos x="99" y="91"/>
                  </a:cxn>
                  <a:cxn ang="0">
                    <a:pos x="82" y="93"/>
                  </a:cxn>
                  <a:cxn ang="0">
                    <a:pos x="81" y="89"/>
                  </a:cxn>
                  <a:cxn ang="0">
                    <a:pos x="65" y="97"/>
                  </a:cxn>
                  <a:cxn ang="0">
                    <a:pos x="63" y="92"/>
                  </a:cxn>
                  <a:cxn ang="0">
                    <a:pos x="54" y="87"/>
                  </a:cxn>
                  <a:cxn ang="0">
                    <a:pos x="34" y="87"/>
                  </a:cxn>
                  <a:cxn ang="0">
                    <a:pos x="24" y="76"/>
                  </a:cxn>
                  <a:cxn ang="0">
                    <a:pos x="17" y="76"/>
                  </a:cxn>
                  <a:cxn ang="0">
                    <a:pos x="7" y="63"/>
                  </a:cxn>
                  <a:cxn ang="0">
                    <a:pos x="3" y="52"/>
                  </a:cxn>
                  <a:cxn ang="0">
                    <a:pos x="3" y="44"/>
                  </a:cxn>
                  <a:cxn ang="0">
                    <a:pos x="0" y="42"/>
                  </a:cxn>
                  <a:cxn ang="0">
                    <a:pos x="2" y="30"/>
                  </a:cxn>
                  <a:cxn ang="0">
                    <a:pos x="13" y="20"/>
                  </a:cxn>
                  <a:cxn ang="0">
                    <a:pos x="30" y="15"/>
                  </a:cxn>
                  <a:cxn ang="0">
                    <a:pos x="35" y="0"/>
                  </a:cxn>
                  <a:cxn ang="0">
                    <a:pos x="41" y="0"/>
                  </a:cxn>
                  <a:cxn ang="0">
                    <a:pos x="45" y="15"/>
                  </a:cxn>
                  <a:cxn ang="0">
                    <a:pos x="50" y="12"/>
                  </a:cxn>
                  <a:cxn ang="0">
                    <a:pos x="54" y="17"/>
                  </a:cxn>
                  <a:cxn ang="0">
                    <a:pos x="61" y="15"/>
                  </a:cxn>
                </a:cxnLst>
                <a:rect l="0" t="0" r="r" b="b"/>
                <a:pathLst>
                  <a:path w="164" h="103">
                    <a:moveTo>
                      <a:pt x="61" y="15"/>
                    </a:moveTo>
                    <a:lnTo>
                      <a:pt x="70" y="20"/>
                    </a:lnTo>
                    <a:lnTo>
                      <a:pt x="73" y="12"/>
                    </a:lnTo>
                    <a:lnTo>
                      <a:pt x="89" y="10"/>
                    </a:lnTo>
                    <a:lnTo>
                      <a:pt x="89" y="15"/>
                    </a:lnTo>
                    <a:lnTo>
                      <a:pt x="103" y="20"/>
                    </a:lnTo>
                    <a:lnTo>
                      <a:pt x="106" y="15"/>
                    </a:lnTo>
                    <a:lnTo>
                      <a:pt x="124" y="26"/>
                    </a:lnTo>
                    <a:lnTo>
                      <a:pt x="135" y="25"/>
                    </a:lnTo>
                    <a:lnTo>
                      <a:pt x="140" y="15"/>
                    </a:lnTo>
                    <a:lnTo>
                      <a:pt x="147" y="25"/>
                    </a:lnTo>
                    <a:lnTo>
                      <a:pt x="158" y="30"/>
                    </a:lnTo>
                    <a:lnTo>
                      <a:pt x="164" y="44"/>
                    </a:lnTo>
                    <a:lnTo>
                      <a:pt x="162" y="49"/>
                    </a:lnTo>
                    <a:lnTo>
                      <a:pt x="151" y="52"/>
                    </a:lnTo>
                    <a:lnTo>
                      <a:pt x="148" y="57"/>
                    </a:lnTo>
                    <a:lnTo>
                      <a:pt x="151" y="62"/>
                    </a:lnTo>
                    <a:lnTo>
                      <a:pt x="152" y="71"/>
                    </a:lnTo>
                    <a:lnTo>
                      <a:pt x="149" y="85"/>
                    </a:lnTo>
                    <a:lnTo>
                      <a:pt x="151" y="91"/>
                    </a:lnTo>
                    <a:lnTo>
                      <a:pt x="146" y="101"/>
                    </a:lnTo>
                    <a:lnTo>
                      <a:pt x="126" y="103"/>
                    </a:lnTo>
                    <a:lnTo>
                      <a:pt x="105" y="98"/>
                    </a:lnTo>
                    <a:lnTo>
                      <a:pt x="99" y="91"/>
                    </a:lnTo>
                    <a:lnTo>
                      <a:pt x="82" y="93"/>
                    </a:lnTo>
                    <a:lnTo>
                      <a:pt x="81" y="89"/>
                    </a:lnTo>
                    <a:lnTo>
                      <a:pt x="65" y="97"/>
                    </a:lnTo>
                    <a:lnTo>
                      <a:pt x="63" y="92"/>
                    </a:lnTo>
                    <a:lnTo>
                      <a:pt x="54" y="87"/>
                    </a:lnTo>
                    <a:lnTo>
                      <a:pt x="34" y="87"/>
                    </a:lnTo>
                    <a:lnTo>
                      <a:pt x="24" y="76"/>
                    </a:lnTo>
                    <a:lnTo>
                      <a:pt x="17" y="76"/>
                    </a:lnTo>
                    <a:lnTo>
                      <a:pt x="7" y="63"/>
                    </a:lnTo>
                    <a:lnTo>
                      <a:pt x="3" y="52"/>
                    </a:lnTo>
                    <a:lnTo>
                      <a:pt x="3" y="44"/>
                    </a:lnTo>
                    <a:lnTo>
                      <a:pt x="0" y="42"/>
                    </a:lnTo>
                    <a:lnTo>
                      <a:pt x="2" y="30"/>
                    </a:lnTo>
                    <a:lnTo>
                      <a:pt x="13" y="20"/>
                    </a:lnTo>
                    <a:lnTo>
                      <a:pt x="30" y="15"/>
                    </a:lnTo>
                    <a:lnTo>
                      <a:pt x="35" y="0"/>
                    </a:lnTo>
                    <a:lnTo>
                      <a:pt x="41" y="0"/>
                    </a:lnTo>
                    <a:lnTo>
                      <a:pt x="45" y="15"/>
                    </a:lnTo>
                    <a:lnTo>
                      <a:pt x="50" y="12"/>
                    </a:lnTo>
                    <a:lnTo>
                      <a:pt x="54" y="17"/>
                    </a:lnTo>
                    <a:lnTo>
                      <a:pt x="61" y="1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0" name="Canada"/>
              <p:cNvSpPr>
                <a:spLocks noChangeAspect="1"/>
              </p:cNvSpPr>
              <p:nvPr>
                <p:custDataLst>
                  <p:tags r:id="rId188"/>
                </p:custDataLst>
              </p:nvPr>
            </p:nvSpPr>
            <p:spPr bwMode="gray">
              <a:xfrm>
                <a:off x="1452" y="1121"/>
                <a:ext cx="189" cy="119"/>
              </a:xfrm>
              <a:custGeom>
                <a:avLst/>
                <a:gdLst/>
                <a:ahLst/>
                <a:cxnLst>
                  <a:cxn ang="0">
                    <a:pos x="27" y="21"/>
                  </a:cxn>
                  <a:cxn ang="0">
                    <a:pos x="19" y="52"/>
                  </a:cxn>
                  <a:cxn ang="0">
                    <a:pos x="3" y="68"/>
                  </a:cxn>
                  <a:cxn ang="0">
                    <a:pos x="37" y="106"/>
                  </a:cxn>
                  <a:cxn ang="0">
                    <a:pos x="110" y="210"/>
                  </a:cxn>
                  <a:cxn ang="0">
                    <a:pos x="169" y="197"/>
                  </a:cxn>
                  <a:cxn ang="0">
                    <a:pos x="197" y="176"/>
                  </a:cxn>
                  <a:cxn ang="0">
                    <a:pos x="229" y="268"/>
                  </a:cxn>
                  <a:cxn ang="0">
                    <a:pos x="266" y="354"/>
                  </a:cxn>
                  <a:cxn ang="0">
                    <a:pos x="245" y="454"/>
                  </a:cxn>
                  <a:cxn ang="0">
                    <a:pos x="271" y="534"/>
                  </a:cxn>
                  <a:cxn ang="0">
                    <a:pos x="307" y="537"/>
                  </a:cxn>
                  <a:cxn ang="0">
                    <a:pos x="345" y="559"/>
                  </a:cxn>
                  <a:cxn ang="0">
                    <a:pos x="397" y="580"/>
                  </a:cxn>
                  <a:cxn ang="0">
                    <a:pos x="412" y="527"/>
                  </a:cxn>
                  <a:cxn ang="0">
                    <a:pos x="443" y="517"/>
                  </a:cxn>
                  <a:cxn ang="0">
                    <a:pos x="466" y="591"/>
                  </a:cxn>
                  <a:cxn ang="0">
                    <a:pos x="517" y="575"/>
                  </a:cxn>
                  <a:cxn ang="0">
                    <a:pos x="559" y="579"/>
                  </a:cxn>
                  <a:cxn ang="0">
                    <a:pos x="590" y="579"/>
                  </a:cxn>
                  <a:cxn ang="0">
                    <a:pos x="640" y="585"/>
                  </a:cxn>
                  <a:cxn ang="0">
                    <a:pos x="658" y="580"/>
                  </a:cxn>
                  <a:cxn ang="0">
                    <a:pos x="728" y="497"/>
                  </a:cxn>
                  <a:cxn ang="0">
                    <a:pos x="775" y="582"/>
                  </a:cxn>
                  <a:cxn ang="0">
                    <a:pos x="837" y="579"/>
                  </a:cxn>
                  <a:cxn ang="0">
                    <a:pos x="913" y="528"/>
                  </a:cxn>
                  <a:cxn ang="0">
                    <a:pos x="917" y="453"/>
                  </a:cxn>
                  <a:cxn ang="0">
                    <a:pos x="936" y="376"/>
                  </a:cxn>
                  <a:cxn ang="0">
                    <a:pos x="912" y="346"/>
                  </a:cxn>
                  <a:cxn ang="0">
                    <a:pos x="859" y="302"/>
                  </a:cxn>
                  <a:cxn ang="0">
                    <a:pos x="737" y="302"/>
                  </a:cxn>
                  <a:cxn ang="0">
                    <a:pos x="670" y="330"/>
                  </a:cxn>
                  <a:cxn ang="0">
                    <a:pos x="635" y="348"/>
                  </a:cxn>
                  <a:cxn ang="0">
                    <a:pos x="610" y="361"/>
                  </a:cxn>
                  <a:cxn ang="0">
                    <a:pos x="617" y="399"/>
                  </a:cxn>
                  <a:cxn ang="0">
                    <a:pos x="560" y="386"/>
                  </a:cxn>
                  <a:cxn ang="0">
                    <a:pos x="503" y="386"/>
                  </a:cxn>
                  <a:cxn ang="0">
                    <a:pos x="465" y="383"/>
                  </a:cxn>
                  <a:cxn ang="0">
                    <a:pos x="436" y="348"/>
                  </a:cxn>
                  <a:cxn ang="0">
                    <a:pos x="407" y="357"/>
                  </a:cxn>
                  <a:cxn ang="0">
                    <a:pos x="390" y="354"/>
                  </a:cxn>
                  <a:cxn ang="0">
                    <a:pos x="381" y="306"/>
                  </a:cxn>
                  <a:cxn ang="0">
                    <a:pos x="358" y="279"/>
                  </a:cxn>
                  <a:cxn ang="0">
                    <a:pos x="327" y="289"/>
                  </a:cxn>
                  <a:cxn ang="0">
                    <a:pos x="354" y="263"/>
                  </a:cxn>
                  <a:cxn ang="0">
                    <a:pos x="325" y="246"/>
                  </a:cxn>
                  <a:cxn ang="0">
                    <a:pos x="296" y="206"/>
                  </a:cxn>
                  <a:cxn ang="0">
                    <a:pos x="347" y="232"/>
                  </a:cxn>
                  <a:cxn ang="0">
                    <a:pos x="418" y="193"/>
                  </a:cxn>
                  <a:cxn ang="0">
                    <a:pos x="344" y="172"/>
                  </a:cxn>
                  <a:cxn ang="0">
                    <a:pos x="323" y="144"/>
                  </a:cxn>
                  <a:cxn ang="0">
                    <a:pos x="350" y="139"/>
                  </a:cxn>
                  <a:cxn ang="0">
                    <a:pos x="293" y="95"/>
                  </a:cxn>
                  <a:cxn ang="0">
                    <a:pos x="232" y="123"/>
                  </a:cxn>
                  <a:cxn ang="0">
                    <a:pos x="192" y="123"/>
                  </a:cxn>
                  <a:cxn ang="0">
                    <a:pos x="176" y="36"/>
                  </a:cxn>
                  <a:cxn ang="0">
                    <a:pos x="111" y="15"/>
                  </a:cxn>
                </a:cxnLst>
                <a:rect l="0" t="0" r="r" b="b"/>
                <a:pathLst>
                  <a:path w="946" h="593">
                    <a:moveTo>
                      <a:pt x="111" y="15"/>
                    </a:moveTo>
                    <a:lnTo>
                      <a:pt x="101" y="17"/>
                    </a:lnTo>
                    <a:lnTo>
                      <a:pt x="79" y="2"/>
                    </a:lnTo>
                    <a:lnTo>
                      <a:pt x="60" y="0"/>
                    </a:lnTo>
                    <a:lnTo>
                      <a:pt x="27" y="11"/>
                    </a:lnTo>
                    <a:lnTo>
                      <a:pt x="27" y="21"/>
                    </a:lnTo>
                    <a:lnTo>
                      <a:pt x="21" y="27"/>
                    </a:lnTo>
                    <a:lnTo>
                      <a:pt x="6" y="25"/>
                    </a:lnTo>
                    <a:lnTo>
                      <a:pt x="9" y="32"/>
                    </a:lnTo>
                    <a:lnTo>
                      <a:pt x="5" y="39"/>
                    </a:lnTo>
                    <a:lnTo>
                      <a:pt x="8" y="48"/>
                    </a:lnTo>
                    <a:lnTo>
                      <a:pt x="19" y="52"/>
                    </a:lnTo>
                    <a:lnTo>
                      <a:pt x="31" y="66"/>
                    </a:lnTo>
                    <a:lnTo>
                      <a:pt x="36" y="72"/>
                    </a:lnTo>
                    <a:lnTo>
                      <a:pt x="37" y="76"/>
                    </a:lnTo>
                    <a:lnTo>
                      <a:pt x="21" y="76"/>
                    </a:lnTo>
                    <a:lnTo>
                      <a:pt x="6" y="64"/>
                    </a:lnTo>
                    <a:lnTo>
                      <a:pt x="3" y="68"/>
                    </a:lnTo>
                    <a:lnTo>
                      <a:pt x="0" y="84"/>
                    </a:lnTo>
                    <a:lnTo>
                      <a:pt x="6" y="90"/>
                    </a:lnTo>
                    <a:lnTo>
                      <a:pt x="24" y="92"/>
                    </a:lnTo>
                    <a:lnTo>
                      <a:pt x="25" y="99"/>
                    </a:lnTo>
                    <a:lnTo>
                      <a:pt x="35" y="108"/>
                    </a:lnTo>
                    <a:lnTo>
                      <a:pt x="37" y="106"/>
                    </a:lnTo>
                    <a:lnTo>
                      <a:pt x="45" y="122"/>
                    </a:lnTo>
                    <a:lnTo>
                      <a:pt x="52" y="120"/>
                    </a:lnTo>
                    <a:lnTo>
                      <a:pt x="72" y="167"/>
                    </a:lnTo>
                    <a:lnTo>
                      <a:pt x="91" y="169"/>
                    </a:lnTo>
                    <a:lnTo>
                      <a:pt x="101" y="179"/>
                    </a:lnTo>
                    <a:lnTo>
                      <a:pt x="110" y="210"/>
                    </a:lnTo>
                    <a:lnTo>
                      <a:pt x="111" y="192"/>
                    </a:lnTo>
                    <a:lnTo>
                      <a:pt x="118" y="201"/>
                    </a:lnTo>
                    <a:lnTo>
                      <a:pt x="169" y="210"/>
                    </a:lnTo>
                    <a:lnTo>
                      <a:pt x="175" y="209"/>
                    </a:lnTo>
                    <a:lnTo>
                      <a:pt x="167" y="204"/>
                    </a:lnTo>
                    <a:lnTo>
                      <a:pt x="169" y="197"/>
                    </a:lnTo>
                    <a:lnTo>
                      <a:pt x="176" y="194"/>
                    </a:lnTo>
                    <a:lnTo>
                      <a:pt x="177" y="197"/>
                    </a:lnTo>
                    <a:lnTo>
                      <a:pt x="185" y="192"/>
                    </a:lnTo>
                    <a:lnTo>
                      <a:pt x="191" y="187"/>
                    </a:lnTo>
                    <a:lnTo>
                      <a:pt x="192" y="181"/>
                    </a:lnTo>
                    <a:lnTo>
                      <a:pt x="197" y="176"/>
                    </a:lnTo>
                    <a:lnTo>
                      <a:pt x="207" y="183"/>
                    </a:lnTo>
                    <a:lnTo>
                      <a:pt x="210" y="203"/>
                    </a:lnTo>
                    <a:lnTo>
                      <a:pt x="216" y="216"/>
                    </a:lnTo>
                    <a:lnTo>
                      <a:pt x="224" y="230"/>
                    </a:lnTo>
                    <a:lnTo>
                      <a:pt x="229" y="253"/>
                    </a:lnTo>
                    <a:lnTo>
                      <a:pt x="229" y="268"/>
                    </a:lnTo>
                    <a:lnTo>
                      <a:pt x="234" y="271"/>
                    </a:lnTo>
                    <a:lnTo>
                      <a:pt x="246" y="289"/>
                    </a:lnTo>
                    <a:lnTo>
                      <a:pt x="255" y="306"/>
                    </a:lnTo>
                    <a:lnTo>
                      <a:pt x="256" y="328"/>
                    </a:lnTo>
                    <a:lnTo>
                      <a:pt x="258" y="345"/>
                    </a:lnTo>
                    <a:lnTo>
                      <a:pt x="266" y="354"/>
                    </a:lnTo>
                    <a:lnTo>
                      <a:pt x="253" y="367"/>
                    </a:lnTo>
                    <a:lnTo>
                      <a:pt x="239" y="397"/>
                    </a:lnTo>
                    <a:lnTo>
                      <a:pt x="245" y="400"/>
                    </a:lnTo>
                    <a:lnTo>
                      <a:pt x="240" y="426"/>
                    </a:lnTo>
                    <a:lnTo>
                      <a:pt x="239" y="437"/>
                    </a:lnTo>
                    <a:lnTo>
                      <a:pt x="245" y="454"/>
                    </a:lnTo>
                    <a:lnTo>
                      <a:pt x="264" y="450"/>
                    </a:lnTo>
                    <a:lnTo>
                      <a:pt x="261" y="466"/>
                    </a:lnTo>
                    <a:lnTo>
                      <a:pt x="256" y="481"/>
                    </a:lnTo>
                    <a:lnTo>
                      <a:pt x="258" y="507"/>
                    </a:lnTo>
                    <a:lnTo>
                      <a:pt x="257" y="518"/>
                    </a:lnTo>
                    <a:lnTo>
                      <a:pt x="271" y="534"/>
                    </a:lnTo>
                    <a:lnTo>
                      <a:pt x="288" y="540"/>
                    </a:lnTo>
                    <a:lnTo>
                      <a:pt x="282" y="543"/>
                    </a:lnTo>
                    <a:lnTo>
                      <a:pt x="283" y="551"/>
                    </a:lnTo>
                    <a:lnTo>
                      <a:pt x="288" y="558"/>
                    </a:lnTo>
                    <a:lnTo>
                      <a:pt x="306" y="554"/>
                    </a:lnTo>
                    <a:lnTo>
                      <a:pt x="307" y="537"/>
                    </a:lnTo>
                    <a:lnTo>
                      <a:pt x="312" y="533"/>
                    </a:lnTo>
                    <a:lnTo>
                      <a:pt x="330" y="517"/>
                    </a:lnTo>
                    <a:lnTo>
                      <a:pt x="318" y="537"/>
                    </a:lnTo>
                    <a:lnTo>
                      <a:pt x="334" y="560"/>
                    </a:lnTo>
                    <a:lnTo>
                      <a:pt x="334" y="533"/>
                    </a:lnTo>
                    <a:lnTo>
                      <a:pt x="345" y="559"/>
                    </a:lnTo>
                    <a:lnTo>
                      <a:pt x="355" y="559"/>
                    </a:lnTo>
                    <a:lnTo>
                      <a:pt x="352" y="569"/>
                    </a:lnTo>
                    <a:lnTo>
                      <a:pt x="363" y="572"/>
                    </a:lnTo>
                    <a:lnTo>
                      <a:pt x="366" y="564"/>
                    </a:lnTo>
                    <a:lnTo>
                      <a:pt x="369" y="577"/>
                    </a:lnTo>
                    <a:lnTo>
                      <a:pt x="397" y="580"/>
                    </a:lnTo>
                    <a:lnTo>
                      <a:pt x="417" y="558"/>
                    </a:lnTo>
                    <a:lnTo>
                      <a:pt x="416" y="553"/>
                    </a:lnTo>
                    <a:lnTo>
                      <a:pt x="404" y="542"/>
                    </a:lnTo>
                    <a:lnTo>
                      <a:pt x="407" y="529"/>
                    </a:lnTo>
                    <a:lnTo>
                      <a:pt x="404" y="529"/>
                    </a:lnTo>
                    <a:lnTo>
                      <a:pt x="412" y="527"/>
                    </a:lnTo>
                    <a:lnTo>
                      <a:pt x="419" y="531"/>
                    </a:lnTo>
                    <a:lnTo>
                      <a:pt x="418" y="517"/>
                    </a:lnTo>
                    <a:lnTo>
                      <a:pt x="425" y="540"/>
                    </a:lnTo>
                    <a:lnTo>
                      <a:pt x="431" y="550"/>
                    </a:lnTo>
                    <a:lnTo>
                      <a:pt x="441" y="531"/>
                    </a:lnTo>
                    <a:lnTo>
                      <a:pt x="443" y="517"/>
                    </a:lnTo>
                    <a:lnTo>
                      <a:pt x="447" y="518"/>
                    </a:lnTo>
                    <a:lnTo>
                      <a:pt x="456" y="528"/>
                    </a:lnTo>
                    <a:lnTo>
                      <a:pt x="456" y="538"/>
                    </a:lnTo>
                    <a:lnTo>
                      <a:pt x="452" y="561"/>
                    </a:lnTo>
                    <a:lnTo>
                      <a:pt x="451" y="585"/>
                    </a:lnTo>
                    <a:lnTo>
                      <a:pt x="466" y="591"/>
                    </a:lnTo>
                    <a:lnTo>
                      <a:pt x="474" y="585"/>
                    </a:lnTo>
                    <a:lnTo>
                      <a:pt x="486" y="591"/>
                    </a:lnTo>
                    <a:lnTo>
                      <a:pt x="493" y="583"/>
                    </a:lnTo>
                    <a:lnTo>
                      <a:pt x="497" y="593"/>
                    </a:lnTo>
                    <a:lnTo>
                      <a:pt x="516" y="588"/>
                    </a:lnTo>
                    <a:lnTo>
                      <a:pt x="517" y="575"/>
                    </a:lnTo>
                    <a:lnTo>
                      <a:pt x="525" y="575"/>
                    </a:lnTo>
                    <a:lnTo>
                      <a:pt x="524" y="588"/>
                    </a:lnTo>
                    <a:lnTo>
                      <a:pt x="533" y="591"/>
                    </a:lnTo>
                    <a:lnTo>
                      <a:pt x="554" y="592"/>
                    </a:lnTo>
                    <a:lnTo>
                      <a:pt x="560" y="587"/>
                    </a:lnTo>
                    <a:lnTo>
                      <a:pt x="559" y="579"/>
                    </a:lnTo>
                    <a:lnTo>
                      <a:pt x="553" y="566"/>
                    </a:lnTo>
                    <a:lnTo>
                      <a:pt x="557" y="579"/>
                    </a:lnTo>
                    <a:lnTo>
                      <a:pt x="572" y="588"/>
                    </a:lnTo>
                    <a:lnTo>
                      <a:pt x="579" y="580"/>
                    </a:lnTo>
                    <a:lnTo>
                      <a:pt x="583" y="566"/>
                    </a:lnTo>
                    <a:lnTo>
                      <a:pt x="590" y="579"/>
                    </a:lnTo>
                    <a:lnTo>
                      <a:pt x="594" y="592"/>
                    </a:lnTo>
                    <a:lnTo>
                      <a:pt x="613" y="588"/>
                    </a:lnTo>
                    <a:lnTo>
                      <a:pt x="621" y="575"/>
                    </a:lnTo>
                    <a:lnTo>
                      <a:pt x="621" y="549"/>
                    </a:lnTo>
                    <a:lnTo>
                      <a:pt x="634" y="581"/>
                    </a:lnTo>
                    <a:lnTo>
                      <a:pt x="640" y="585"/>
                    </a:lnTo>
                    <a:lnTo>
                      <a:pt x="643" y="576"/>
                    </a:lnTo>
                    <a:lnTo>
                      <a:pt x="651" y="566"/>
                    </a:lnTo>
                    <a:lnTo>
                      <a:pt x="649" y="551"/>
                    </a:lnTo>
                    <a:lnTo>
                      <a:pt x="650" y="543"/>
                    </a:lnTo>
                    <a:lnTo>
                      <a:pt x="651" y="556"/>
                    </a:lnTo>
                    <a:lnTo>
                      <a:pt x="658" y="580"/>
                    </a:lnTo>
                    <a:lnTo>
                      <a:pt x="682" y="580"/>
                    </a:lnTo>
                    <a:lnTo>
                      <a:pt x="730" y="569"/>
                    </a:lnTo>
                    <a:lnTo>
                      <a:pt x="747" y="532"/>
                    </a:lnTo>
                    <a:lnTo>
                      <a:pt x="737" y="521"/>
                    </a:lnTo>
                    <a:lnTo>
                      <a:pt x="731" y="505"/>
                    </a:lnTo>
                    <a:lnTo>
                      <a:pt x="728" y="497"/>
                    </a:lnTo>
                    <a:lnTo>
                      <a:pt x="739" y="504"/>
                    </a:lnTo>
                    <a:lnTo>
                      <a:pt x="746" y="518"/>
                    </a:lnTo>
                    <a:lnTo>
                      <a:pt x="757" y="518"/>
                    </a:lnTo>
                    <a:lnTo>
                      <a:pt x="758" y="533"/>
                    </a:lnTo>
                    <a:lnTo>
                      <a:pt x="758" y="559"/>
                    </a:lnTo>
                    <a:lnTo>
                      <a:pt x="775" y="582"/>
                    </a:lnTo>
                    <a:lnTo>
                      <a:pt x="788" y="580"/>
                    </a:lnTo>
                    <a:lnTo>
                      <a:pt x="790" y="570"/>
                    </a:lnTo>
                    <a:lnTo>
                      <a:pt x="796" y="580"/>
                    </a:lnTo>
                    <a:lnTo>
                      <a:pt x="811" y="588"/>
                    </a:lnTo>
                    <a:lnTo>
                      <a:pt x="825" y="591"/>
                    </a:lnTo>
                    <a:lnTo>
                      <a:pt x="837" y="579"/>
                    </a:lnTo>
                    <a:lnTo>
                      <a:pt x="859" y="570"/>
                    </a:lnTo>
                    <a:lnTo>
                      <a:pt x="892" y="570"/>
                    </a:lnTo>
                    <a:lnTo>
                      <a:pt x="903" y="564"/>
                    </a:lnTo>
                    <a:lnTo>
                      <a:pt x="917" y="563"/>
                    </a:lnTo>
                    <a:lnTo>
                      <a:pt x="917" y="534"/>
                    </a:lnTo>
                    <a:lnTo>
                      <a:pt x="913" y="528"/>
                    </a:lnTo>
                    <a:lnTo>
                      <a:pt x="915" y="521"/>
                    </a:lnTo>
                    <a:lnTo>
                      <a:pt x="909" y="510"/>
                    </a:lnTo>
                    <a:lnTo>
                      <a:pt x="896" y="495"/>
                    </a:lnTo>
                    <a:lnTo>
                      <a:pt x="897" y="468"/>
                    </a:lnTo>
                    <a:lnTo>
                      <a:pt x="907" y="463"/>
                    </a:lnTo>
                    <a:lnTo>
                      <a:pt x="917" y="453"/>
                    </a:lnTo>
                    <a:lnTo>
                      <a:pt x="923" y="440"/>
                    </a:lnTo>
                    <a:lnTo>
                      <a:pt x="935" y="434"/>
                    </a:lnTo>
                    <a:lnTo>
                      <a:pt x="946" y="415"/>
                    </a:lnTo>
                    <a:lnTo>
                      <a:pt x="945" y="378"/>
                    </a:lnTo>
                    <a:lnTo>
                      <a:pt x="944" y="376"/>
                    </a:lnTo>
                    <a:lnTo>
                      <a:pt x="936" y="376"/>
                    </a:lnTo>
                    <a:lnTo>
                      <a:pt x="933" y="367"/>
                    </a:lnTo>
                    <a:lnTo>
                      <a:pt x="935" y="361"/>
                    </a:lnTo>
                    <a:lnTo>
                      <a:pt x="911" y="366"/>
                    </a:lnTo>
                    <a:lnTo>
                      <a:pt x="902" y="362"/>
                    </a:lnTo>
                    <a:lnTo>
                      <a:pt x="913" y="355"/>
                    </a:lnTo>
                    <a:lnTo>
                      <a:pt x="912" y="346"/>
                    </a:lnTo>
                    <a:lnTo>
                      <a:pt x="909" y="341"/>
                    </a:lnTo>
                    <a:lnTo>
                      <a:pt x="892" y="329"/>
                    </a:lnTo>
                    <a:lnTo>
                      <a:pt x="881" y="334"/>
                    </a:lnTo>
                    <a:lnTo>
                      <a:pt x="860" y="328"/>
                    </a:lnTo>
                    <a:lnTo>
                      <a:pt x="863" y="310"/>
                    </a:lnTo>
                    <a:lnTo>
                      <a:pt x="859" y="302"/>
                    </a:lnTo>
                    <a:lnTo>
                      <a:pt x="853" y="305"/>
                    </a:lnTo>
                    <a:lnTo>
                      <a:pt x="798" y="291"/>
                    </a:lnTo>
                    <a:lnTo>
                      <a:pt x="777" y="297"/>
                    </a:lnTo>
                    <a:lnTo>
                      <a:pt x="756" y="313"/>
                    </a:lnTo>
                    <a:lnTo>
                      <a:pt x="741" y="311"/>
                    </a:lnTo>
                    <a:lnTo>
                      <a:pt x="737" y="302"/>
                    </a:lnTo>
                    <a:lnTo>
                      <a:pt x="729" y="306"/>
                    </a:lnTo>
                    <a:lnTo>
                      <a:pt x="720" y="298"/>
                    </a:lnTo>
                    <a:lnTo>
                      <a:pt x="712" y="298"/>
                    </a:lnTo>
                    <a:lnTo>
                      <a:pt x="705" y="310"/>
                    </a:lnTo>
                    <a:lnTo>
                      <a:pt x="676" y="324"/>
                    </a:lnTo>
                    <a:lnTo>
                      <a:pt x="670" y="330"/>
                    </a:lnTo>
                    <a:lnTo>
                      <a:pt x="671" y="338"/>
                    </a:lnTo>
                    <a:lnTo>
                      <a:pt x="673" y="341"/>
                    </a:lnTo>
                    <a:lnTo>
                      <a:pt x="654" y="335"/>
                    </a:lnTo>
                    <a:lnTo>
                      <a:pt x="644" y="339"/>
                    </a:lnTo>
                    <a:lnTo>
                      <a:pt x="638" y="351"/>
                    </a:lnTo>
                    <a:lnTo>
                      <a:pt x="635" y="348"/>
                    </a:lnTo>
                    <a:lnTo>
                      <a:pt x="638" y="362"/>
                    </a:lnTo>
                    <a:lnTo>
                      <a:pt x="637" y="367"/>
                    </a:lnTo>
                    <a:lnTo>
                      <a:pt x="635" y="362"/>
                    </a:lnTo>
                    <a:lnTo>
                      <a:pt x="623" y="357"/>
                    </a:lnTo>
                    <a:lnTo>
                      <a:pt x="621" y="349"/>
                    </a:lnTo>
                    <a:lnTo>
                      <a:pt x="610" y="361"/>
                    </a:lnTo>
                    <a:lnTo>
                      <a:pt x="600" y="361"/>
                    </a:lnTo>
                    <a:lnTo>
                      <a:pt x="584" y="370"/>
                    </a:lnTo>
                    <a:lnTo>
                      <a:pt x="585" y="377"/>
                    </a:lnTo>
                    <a:lnTo>
                      <a:pt x="596" y="386"/>
                    </a:lnTo>
                    <a:lnTo>
                      <a:pt x="615" y="391"/>
                    </a:lnTo>
                    <a:lnTo>
                      <a:pt x="617" y="399"/>
                    </a:lnTo>
                    <a:lnTo>
                      <a:pt x="606" y="394"/>
                    </a:lnTo>
                    <a:lnTo>
                      <a:pt x="583" y="393"/>
                    </a:lnTo>
                    <a:lnTo>
                      <a:pt x="554" y="409"/>
                    </a:lnTo>
                    <a:lnTo>
                      <a:pt x="549" y="403"/>
                    </a:lnTo>
                    <a:lnTo>
                      <a:pt x="567" y="393"/>
                    </a:lnTo>
                    <a:lnTo>
                      <a:pt x="560" y="386"/>
                    </a:lnTo>
                    <a:lnTo>
                      <a:pt x="538" y="377"/>
                    </a:lnTo>
                    <a:lnTo>
                      <a:pt x="529" y="360"/>
                    </a:lnTo>
                    <a:lnTo>
                      <a:pt x="511" y="351"/>
                    </a:lnTo>
                    <a:lnTo>
                      <a:pt x="504" y="364"/>
                    </a:lnTo>
                    <a:lnTo>
                      <a:pt x="505" y="377"/>
                    </a:lnTo>
                    <a:lnTo>
                      <a:pt x="503" y="386"/>
                    </a:lnTo>
                    <a:lnTo>
                      <a:pt x="498" y="364"/>
                    </a:lnTo>
                    <a:lnTo>
                      <a:pt x="492" y="357"/>
                    </a:lnTo>
                    <a:lnTo>
                      <a:pt x="482" y="370"/>
                    </a:lnTo>
                    <a:lnTo>
                      <a:pt x="479" y="377"/>
                    </a:lnTo>
                    <a:lnTo>
                      <a:pt x="474" y="384"/>
                    </a:lnTo>
                    <a:lnTo>
                      <a:pt x="465" y="383"/>
                    </a:lnTo>
                    <a:lnTo>
                      <a:pt x="470" y="371"/>
                    </a:lnTo>
                    <a:lnTo>
                      <a:pt x="467" y="367"/>
                    </a:lnTo>
                    <a:lnTo>
                      <a:pt x="458" y="357"/>
                    </a:lnTo>
                    <a:lnTo>
                      <a:pt x="456" y="350"/>
                    </a:lnTo>
                    <a:lnTo>
                      <a:pt x="445" y="340"/>
                    </a:lnTo>
                    <a:lnTo>
                      <a:pt x="436" y="348"/>
                    </a:lnTo>
                    <a:lnTo>
                      <a:pt x="434" y="359"/>
                    </a:lnTo>
                    <a:lnTo>
                      <a:pt x="439" y="383"/>
                    </a:lnTo>
                    <a:lnTo>
                      <a:pt x="431" y="397"/>
                    </a:lnTo>
                    <a:lnTo>
                      <a:pt x="427" y="388"/>
                    </a:lnTo>
                    <a:lnTo>
                      <a:pt x="422" y="365"/>
                    </a:lnTo>
                    <a:lnTo>
                      <a:pt x="407" y="357"/>
                    </a:lnTo>
                    <a:lnTo>
                      <a:pt x="400" y="367"/>
                    </a:lnTo>
                    <a:lnTo>
                      <a:pt x="395" y="366"/>
                    </a:lnTo>
                    <a:lnTo>
                      <a:pt x="395" y="364"/>
                    </a:lnTo>
                    <a:lnTo>
                      <a:pt x="397" y="357"/>
                    </a:lnTo>
                    <a:lnTo>
                      <a:pt x="388" y="361"/>
                    </a:lnTo>
                    <a:lnTo>
                      <a:pt x="390" y="354"/>
                    </a:lnTo>
                    <a:lnTo>
                      <a:pt x="409" y="349"/>
                    </a:lnTo>
                    <a:lnTo>
                      <a:pt x="417" y="317"/>
                    </a:lnTo>
                    <a:lnTo>
                      <a:pt x="412" y="316"/>
                    </a:lnTo>
                    <a:lnTo>
                      <a:pt x="407" y="302"/>
                    </a:lnTo>
                    <a:lnTo>
                      <a:pt x="393" y="310"/>
                    </a:lnTo>
                    <a:lnTo>
                      <a:pt x="381" y="306"/>
                    </a:lnTo>
                    <a:lnTo>
                      <a:pt x="387" y="295"/>
                    </a:lnTo>
                    <a:lnTo>
                      <a:pt x="380" y="278"/>
                    </a:lnTo>
                    <a:lnTo>
                      <a:pt x="374" y="274"/>
                    </a:lnTo>
                    <a:lnTo>
                      <a:pt x="369" y="284"/>
                    </a:lnTo>
                    <a:lnTo>
                      <a:pt x="365" y="286"/>
                    </a:lnTo>
                    <a:lnTo>
                      <a:pt x="358" y="279"/>
                    </a:lnTo>
                    <a:lnTo>
                      <a:pt x="347" y="289"/>
                    </a:lnTo>
                    <a:lnTo>
                      <a:pt x="347" y="275"/>
                    </a:lnTo>
                    <a:lnTo>
                      <a:pt x="339" y="280"/>
                    </a:lnTo>
                    <a:lnTo>
                      <a:pt x="333" y="279"/>
                    </a:lnTo>
                    <a:lnTo>
                      <a:pt x="332" y="276"/>
                    </a:lnTo>
                    <a:lnTo>
                      <a:pt x="327" y="289"/>
                    </a:lnTo>
                    <a:lnTo>
                      <a:pt x="306" y="312"/>
                    </a:lnTo>
                    <a:lnTo>
                      <a:pt x="309" y="291"/>
                    </a:lnTo>
                    <a:lnTo>
                      <a:pt x="317" y="286"/>
                    </a:lnTo>
                    <a:lnTo>
                      <a:pt x="318" y="281"/>
                    </a:lnTo>
                    <a:lnTo>
                      <a:pt x="312" y="271"/>
                    </a:lnTo>
                    <a:lnTo>
                      <a:pt x="354" y="263"/>
                    </a:lnTo>
                    <a:lnTo>
                      <a:pt x="344" y="255"/>
                    </a:lnTo>
                    <a:lnTo>
                      <a:pt x="332" y="259"/>
                    </a:lnTo>
                    <a:lnTo>
                      <a:pt x="326" y="252"/>
                    </a:lnTo>
                    <a:lnTo>
                      <a:pt x="328" y="249"/>
                    </a:lnTo>
                    <a:lnTo>
                      <a:pt x="330" y="246"/>
                    </a:lnTo>
                    <a:lnTo>
                      <a:pt x="325" y="246"/>
                    </a:lnTo>
                    <a:lnTo>
                      <a:pt x="321" y="238"/>
                    </a:lnTo>
                    <a:lnTo>
                      <a:pt x="307" y="231"/>
                    </a:lnTo>
                    <a:lnTo>
                      <a:pt x="290" y="230"/>
                    </a:lnTo>
                    <a:lnTo>
                      <a:pt x="301" y="217"/>
                    </a:lnTo>
                    <a:lnTo>
                      <a:pt x="295" y="215"/>
                    </a:lnTo>
                    <a:lnTo>
                      <a:pt x="296" y="206"/>
                    </a:lnTo>
                    <a:lnTo>
                      <a:pt x="311" y="225"/>
                    </a:lnTo>
                    <a:lnTo>
                      <a:pt x="326" y="228"/>
                    </a:lnTo>
                    <a:lnTo>
                      <a:pt x="337" y="227"/>
                    </a:lnTo>
                    <a:lnTo>
                      <a:pt x="349" y="241"/>
                    </a:lnTo>
                    <a:lnTo>
                      <a:pt x="357" y="241"/>
                    </a:lnTo>
                    <a:lnTo>
                      <a:pt x="347" y="232"/>
                    </a:lnTo>
                    <a:lnTo>
                      <a:pt x="359" y="231"/>
                    </a:lnTo>
                    <a:lnTo>
                      <a:pt x="387" y="237"/>
                    </a:lnTo>
                    <a:lnTo>
                      <a:pt x="402" y="236"/>
                    </a:lnTo>
                    <a:lnTo>
                      <a:pt x="417" y="222"/>
                    </a:lnTo>
                    <a:lnTo>
                      <a:pt x="420" y="206"/>
                    </a:lnTo>
                    <a:lnTo>
                      <a:pt x="418" y="193"/>
                    </a:lnTo>
                    <a:lnTo>
                      <a:pt x="401" y="197"/>
                    </a:lnTo>
                    <a:lnTo>
                      <a:pt x="386" y="193"/>
                    </a:lnTo>
                    <a:lnTo>
                      <a:pt x="359" y="176"/>
                    </a:lnTo>
                    <a:lnTo>
                      <a:pt x="352" y="174"/>
                    </a:lnTo>
                    <a:lnTo>
                      <a:pt x="347" y="179"/>
                    </a:lnTo>
                    <a:lnTo>
                      <a:pt x="344" y="172"/>
                    </a:lnTo>
                    <a:lnTo>
                      <a:pt x="325" y="160"/>
                    </a:lnTo>
                    <a:lnTo>
                      <a:pt x="298" y="157"/>
                    </a:lnTo>
                    <a:lnTo>
                      <a:pt x="295" y="151"/>
                    </a:lnTo>
                    <a:lnTo>
                      <a:pt x="295" y="146"/>
                    </a:lnTo>
                    <a:lnTo>
                      <a:pt x="320" y="150"/>
                    </a:lnTo>
                    <a:lnTo>
                      <a:pt x="323" y="144"/>
                    </a:lnTo>
                    <a:lnTo>
                      <a:pt x="328" y="151"/>
                    </a:lnTo>
                    <a:lnTo>
                      <a:pt x="337" y="157"/>
                    </a:lnTo>
                    <a:lnTo>
                      <a:pt x="345" y="160"/>
                    </a:lnTo>
                    <a:lnTo>
                      <a:pt x="354" y="156"/>
                    </a:lnTo>
                    <a:lnTo>
                      <a:pt x="352" y="150"/>
                    </a:lnTo>
                    <a:lnTo>
                      <a:pt x="350" y="139"/>
                    </a:lnTo>
                    <a:lnTo>
                      <a:pt x="345" y="130"/>
                    </a:lnTo>
                    <a:lnTo>
                      <a:pt x="320" y="112"/>
                    </a:lnTo>
                    <a:lnTo>
                      <a:pt x="310" y="108"/>
                    </a:lnTo>
                    <a:lnTo>
                      <a:pt x="302" y="102"/>
                    </a:lnTo>
                    <a:lnTo>
                      <a:pt x="301" y="97"/>
                    </a:lnTo>
                    <a:lnTo>
                      <a:pt x="293" y="95"/>
                    </a:lnTo>
                    <a:lnTo>
                      <a:pt x="290" y="99"/>
                    </a:lnTo>
                    <a:lnTo>
                      <a:pt x="269" y="107"/>
                    </a:lnTo>
                    <a:lnTo>
                      <a:pt x="261" y="119"/>
                    </a:lnTo>
                    <a:lnTo>
                      <a:pt x="247" y="123"/>
                    </a:lnTo>
                    <a:lnTo>
                      <a:pt x="241" y="115"/>
                    </a:lnTo>
                    <a:lnTo>
                      <a:pt x="232" y="123"/>
                    </a:lnTo>
                    <a:lnTo>
                      <a:pt x="210" y="120"/>
                    </a:lnTo>
                    <a:lnTo>
                      <a:pt x="193" y="152"/>
                    </a:lnTo>
                    <a:lnTo>
                      <a:pt x="180" y="163"/>
                    </a:lnTo>
                    <a:lnTo>
                      <a:pt x="182" y="154"/>
                    </a:lnTo>
                    <a:lnTo>
                      <a:pt x="181" y="147"/>
                    </a:lnTo>
                    <a:lnTo>
                      <a:pt x="192" y="123"/>
                    </a:lnTo>
                    <a:lnTo>
                      <a:pt x="191" y="112"/>
                    </a:lnTo>
                    <a:lnTo>
                      <a:pt x="197" y="86"/>
                    </a:lnTo>
                    <a:lnTo>
                      <a:pt x="193" y="82"/>
                    </a:lnTo>
                    <a:lnTo>
                      <a:pt x="192" y="70"/>
                    </a:lnTo>
                    <a:lnTo>
                      <a:pt x="186" y="63"/>
                    </a:lnTo>
                    <a:lnTo>
                      <a:pt x="176" y="36"/>
                    </a:lnTo>
                    <a:lnTo>
                      <a:pt x="166" y="39"/>
                    </a:lnTo>
                    <a:lnTo>
                      <a:pt x="161" y="29"/>
                    </a:lnTo>
                    <a:lnTo>
                      <a:pt x="156" y="39"/>
                    </a:lnTo>
                    <a:lnTo>
                      <a:pt x="143" y="45"/>
                    </a:lnTo>
                    <a:lnTo>
                      <a:pt x="137" y="33"/>
                    </a:lnTo>
                    <a:lnTo>
                      <a:pt x="111" y="1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1" name="Canada"/>
              <p:cNvSpPr>
                <a:spLocks noChangeAspect="1"/>
              </p:cNvSpPr>
              <p:nvPr>
                <p:custDataLst>
                  <p:tags r:id="rId189"/>
                </p:custDataLst>
              </p:nvPr>
            </p:nvSpPr>
            <p:spPr bwMode="gray">
              <a:xfrm>
                <a:off x="1457" y="1187"/>
                <a:ext cx="33" cy="46"/>
              </a:xfrm>
              <a:custGeom>
                <a:avLst/>
                <a:gdLst/>
                <a:ahLst/>
                <a:cxnLst>
                  <a:cxn ang="0">
                    <a:pos x="82" y="0"/>
                  </a:cxn>
                  <a:cxn ang="0">
                    <a:pos x="105" y="22"/>
                  </a:cxn>
                  <a:cxn ang="0">
                    <a:pos x="123" y="39"/>
                  </a:cxn>
                  <a:cxn ang="0">
                    <a:pos x="129" y="48"/>
                  </a:cxn>
                  <a:cxn ang="0">
                    <a:pos x="130" y="76"/>
                  </a:cxn>
                  <a:cxn ang="0">
                    <a:pos x="149" y="76"/>
                  </a:cxn>
                  <a:cxn ang="0">
                    <a:pos x="156" y="89"/>
                  </a:cxn>
                  <a:cxn ang="0">
                    <a:pos x="157" y="109"/>
                  </a:cxn>
                  <a:cxn ang="0">
                    <a:pos x="159" y="145"/>
                  </a:cxn>
                  <a:cxn ang="0">
                    <a:pos x="161" y="210"/>
                  </a:cxn>
                  <a:cxn ang="0">
                    <a:pos x="150" y="226"/>
                  </a:cxn>
                  <a:cxn ang="0">
                    <a:pos x="124" y="229"/>
                  </a:cxn>
                  <a:cxn ang="0">
                    <a:pos x="98" y="228"/>
                  </a:cxn>
                  <a:cxn ang="0">
                    <a:pos x="86" y="211"/>
                  </a:cxn>
                  <a:cxn ang="0">
                    <a:pos x="75" y="197"/>
                  </a:cxn>
                  <a:cxn ang="0">
                    <a:pos x="62" y="185"/>
                  </a:cxn>
                  <a:cxn ang="0">
                    <a:pos x="60" y="195"/>
                  </a:cxn>
                  <a:cxn ang="0">
                    <a:pos x="53" y="193"/>
                  </a:cxn>
                  <a:cxn ang="0">
                    <a:pos x="50" y="178"/>
                  </a:cxn>
                  <a:cxn ang="0">
                    <a:pos x="39" y="183"/>
                  </a:cxn>
                  <a:cxn ang="0">
                    <a:pos x="26" y="159"/>
                  </a:cxn>
                  <a:cxn ang="0">
                    <a:pos x="31" y="142"/>
                  </a:cxn>
                  <a:cxn ang="0">
                    <a:pos x="25" y="137"/>
                  </a:cxn>
                  <a:cxn ang="0">
                    <a:pos x="14" y="158"/>
                  </a:cxn>
                  <a:cxn ang="0">
                    <a:pos x="6" y="141"/>
                  </a:cxn>
                  <a:cxn ang="0">
                    <a:pos x="0" y="113"/>
                  </a:cxn>
                  <a:cxn ang="0">
                    <a:pos x="6" y="103"/>
                  </a:cxn>
                  <a:cxn ang="0">
                    <a:pos x="7" y="92"/>
                  </a:cxn>
                  <a:cxn ang="0">
                    <a:pos x="23" y="83"/>
                  </a:cxn>
                  <a:cxn ang="0">
                    <a:pos x="34" y="73"/>
                  </a:cxn>
                  <a:cxn ang="0">
                    <a:pos x="26" y="67"/>
                  </a:cxn>
                  <a:cxn ang="0">
                    <a:pos x="32" y="64"/>
                  </a:cxn>
                  <a:cxn ang="0">
                    <a:pos x="39" y="50"/>
                  </a:cxn>
                  <a:cxn ang="0">
                    <a:pos x="23" y="60"/>
                  </a:cxn>
                  <a:cxn ang="0">
                    <a:pos x="28" y="45"/>
                  </a:cxn>
                  <a:cxn ang="0">
                    <a:pos x="44" y="43"/>
                  </a:cxn>
                  <a:cxn ang="0">
                    <a:pos x="65" y="5"/>
                  </a:cxn>
                  <a:cxn ang="0">
                    <a:pos x="84" y="7"/>
                  </a:cxn>
                </a:cxnLst>
                <a:rect l="0" t="0" r="r" b="b"/>
                <a:pathLst>
                  <a:path w="163" h="229">
                    <a:moveTo>
                      <a:pt x="84" y="7"/>
                    </a:moveTo>
                    <a:lnTo>
                      <a:pt x="82" y="0"/>
                    </a:lnTo>
                    <a:lnTo>
                      <a:pt x="85" y="12"/>
                    </a:lnTo>
                    <a:lnTo>
                      <a:pt x="105" y="22"/>
                    </a:lnTo>
                    <a:lnTo>
                      <a:pt x="114" y="34"/>
                    </a:lnTo>
                    <a:lnTo>
                      <a:pt x="123" y="39"/>
                    </a:lnTo>
                    <a:lnTo>
                      <a:pt x="123" y="48"/>
                    </a:lnTo>
                    <a:lnTo>
                      <a:pt x="129" y="48"/>
                    </a:lnTo>
                    <a:lnTo>
                      <a:pt x="134" y="59"/>
                    </a:lnTo>
                    <a:lnTo>
                      <a:pt x="130" y="76"/>
                    </a:lnTo>
                    <a:lnTo>
                      <a:pt x="141" y="65"/>
                    </a:lnTo>
                    <a:lnTo>
                      <a:pt x="149" y="76"/>
                    </a:lnTo>
                    <a:lnTo>
                      <a:pt x="147" y="82"/>
                    </a:lnTo>
                    <a:lnTo>
                      <a:pt x="156" y="89"/>
                    </a:lnTo>
                    <a:lnTo>
                      <a:pt x="161" y="99"/>
                    </a:lnTo>
                    <a:lnTo>
                      <a:pt x="157" y="109"/>
                    </a:lnTo>
                    <a:lnTo>
                      <a:pt x="161" y="123"/>
                    </a:lnTo>
                    <a:lnTo>
                      <a:pt x="159" y="145"/>
                    </a:lnTo>
                    <a:lnTo>
                      <a:pt x="163" y="182"/>
                    </a:lnTo>
                    <a:lnTo>
                      <a:pt x="161" y="210"/>
                    </a:lnTo>
                    <a:lnTo>
                      <a:pt x="159" y="218"/>
                    </a:lnTo>
                    <a:lnTo>
                      <a:pt x="150" y="226"/>
                    </a:lnTo>
                    <a:lnTo>
                      <a:pt x="136" y="224"/>
                    </a:lnTo>
                    <a:lnTo>
                      <a:pt x="124" y="229"/>
                    </a:lnTo>
                    <a:lnTo>
                      <a:pt x="112" y="226"/>
                    </a:lnTo>
                    <a:lnTo>
                      <a:pt x="98" y="228"/>
                    </a:lnTo>
                    <a:lnTo>
                      <a:pt x="89" y="220"/>
                    </a:lnTo>
                    <a:lnTo>
                      <a:pt x="86" y="211"/>
                    </a:lnTo>
                    <a:lnTo>
                      <a:pt x="77" y="207"/>
                    </a:lnTo>
                    <a:lnTo>
                      <a:pt x="75" y="197"/>
                    </a:lnTo>
                    <a:lnTo>
                      <a:pt x="68" y="185"/>
                    </a:lnTo>
                    <a:lnTo>
                      <a:pt x="62" y="185"/>
                    </a:lnTo>
                    <a:lnTo>
                      <a:pt x="59" y="190"/>
                    </a:lnTo>
                    <a:lnTo>
                      <a:pt x="60" y="195"/>
                    </a:lnTo>
                    <a:lnTo>
                      <a:pt x="57" y="197"/>
                    </a:lnTo>
                    <a:lnTo>
                      <a:pt x="53" y="193"/>
                    </a:lnTo>
                    <a:lnTo>
                      <a:pt x="52" y="180"/>
                    </a:lnTo>
                    <a:lnTo>
                      <a:pt x="50" y="178"/>
                    </a:lnTo>
                    <a:lnTo>
                      <a:pt x="42" y="177"/>
                    </a:lnTo>
                    <a:lnTo>
                      <a:pt x="39" y="183"/>
                    </a:lnTo>
                    <a:lnTo>
                      <a:pt x="34" y="178"/>
                    </a:lnTo>
                    <a:lnTo>
                      <a:pt x="26" y="159"/>
                    </a:lnTo>
                    <a:lnTo>
                      <a:pt x="26" y="152"/>
                    </a:lnTo>
                    <a:lnTo>
                      <a:pt x="31" y="142"/>
                    </a:lnTo>
                    <a:lnTo>
                      <a:pt x="27" y="146"/>
                    </a:lnTo>
                    <a:lnTo>
                      <a:pt x="25" y="137"/>
                    </a:lnTo>
                    <a:lnTo>
                      <a:pt x="19" y="157"/>
                    </a:lnTo>
                    <a:lnTo>
                      <a:pt x="14" y="158"/>
                    </a:lnTo>
                    <a:lnTo>
                      <a:pt x="11" y="146"/>
                    </a:lnTo>
                    <a:lnTo>
                      <a:pt x="6" y="141"/>
                    </a:lnTo>
                    <a:lnTo>
                      <a:pt x="1" y="123"/>
                    </a:lnTo>
                    <a:lnTo>
                      <a:pt x="0" y="113"/>
                    </a:lnTo>
                    <a:lnTo>
                      <a:pt x="0" y="103"/>
                    </a:lnTo>
                    <a:lnTo>
                      <a:pt x="6" y="103"/>
                    </a:lnTo>
                    <a:lnTo>
                      <a:pt x="11" y="99"/>
                    </a:lnTo>
                    <a:lnTo>
                      <a:pt x="7" y="92"/>
                    </a:lnTo>
                    <a:lnTo>
                      <a:pt x="12" y="89"/>
                    </a:lnTo>
                    <a:lnTo>
                      <a:pt x="23" y="83"/>
                    </a:lnTo>
                    <a:lnTo>
                      <a:pt x="36" y="78"/>
                    </a:lnTo>
                    <a:lnTo>
                      <a:pt x="34" y="73"/>
                    </a:lnTo>
                    <a:lnTo>
                      <a:pt x="26" y="73"/>
                    </a:lnTo>
                    <a:lnTo>
                      <a:pt x="26" y="67"/>
                    </a:lnTo>
                    <a:lnTo>
                      <a:pt x="32" y="56"/>
                    </a:lnTo>
                    <a:lnTo>
                      <a:pt x="32" y="64"/>
                    </a:lnTo>
                    <a:lnTo>
                      <a:pt x="39" y="61"/>
                    </a:lnTo>
                    <a:lnTo>
                      <a:pt x="39" y="50"/>
                    </a:lnTo>
                    <a:lnTo>
                      <a:pt x="31" y="50"/>
                    </a:lnTo>
                    <a:lnTo>
                      <a:pt x="23" y="60"/>
                    </a:lnTo>
                    <a:lnTo>
                      <a:pt x="22" y="50"/>
                    </a:lnTo>
                    <a:lnTo>
                      <a:pt x="28" y="45"/>
                    </a:lnTo>
                    <a:lnTo>
                      <a:pt x="44" y="49"/>
                    </a:lnTo>
                    <a:lnTo>
                      <a:pt x="44" y="43"/>
                    </a:lnTo>
                    <a:lnTo>
                      <a:pt x="41" y="28"/>
                    </a:lnTo>
                    <a:lnTo>
                      <a:pt x="65" y="5"/>
                    </a:lnTo>
                    <a:lnTo>
                      <a:pt x="76" y="2"/>
                    </a:lnTo>
                    <a:lnTo>
                      <a:pt x="84" y="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" name="Canada"/>
              <p:cNvSpPr>
                <a:spLocks noChangeAspect="1"/>
              </p:cNvSpPr>
              <p:nvPr>
                <p:custDataLst>
                  <p:tags r:id="rId190"/>
                </p:custDataLst>
              </p:nvPr>
            </p:nvSpPr>
            <p:spPr bwMode="gray">
              <a:xfrm>
                <a:off x="1559" y="1520"/>
                <a:ext cx="77" cy="70"/>
              </a:xfrm>
              <a:custGeom>
                <a:avLst/>
                <a:gdLst/>
                <a:ahLst/>
                <a:cxnLst>
                  <a:cxn ang="0">
                    <a:pos x="91" y="0"/>
                  </a:cxn>
                  <a:cxn ang="0">
                    <a:pos x="110" y="27"/>
                  </a:cxn>
                  <a:cxn ang="0">
                    <a:pos x="118" y="61"/>
                  </a:cxn>
                  <a:cxn ang="0">
                    <a:pos x="134" y="70"/>
                  </a:cxn>
                  <a:cxn ang="0">
                    <a:pos x="161" y="70"/>
                  </a:cxn>
                  <a:cxn ang="0">
                    <a:pos x="179" y="96"/>
                  </a:cxn>
                  <a:cxn ang="0">
                    <a:pos x="212" y="116"/>
                  </a:cxn>
                  <a:cxn ang="0">
                    <a:pos x="243" y="143"/>
                  </a:cxn>
                  <a:cxn ang="0">
                    <a:pos x="276" y="157"/>
                  </a:cxn>
                  <a:cxn ang="0">
                    <a:pos x="296" y="183"/>
                  </a:cxn>
                  <a:cxn ang="0">
                    <a:pos x="303" y="236"/>
                  </a:cxn>
                  <a:cxn ang="0">
                    <a:pos x="327" y="237"/>
                  </a:cxn>
                  <a:cxn ang="0">
                    <a:pos x="351" y="232"/>
                  </a:cxn>
                  <a:cxn ang="0">
                    <a:pos x="364" y="256"/>
                  </a:cxn>
                  <a:cxn ang="0">
                    <a:pos x="384" y="272"/>
                  </a:cxn>
                  <a:cxn ang="0">
                    <a:pos x="351" y="296"/>
                  </a:cxn>
                  <a:cxn ang="0">
                    <a:pos x="319" y="303"/>
                  </a:cxn>
                  <a:cxn ang="0">
                    <a:pos x="307" y="298"/>
                  </a:cxn>
                  <a:cxn ang="0">
                    <a:pos x="285" y="283"/>
                  </a:cxn>
                  <a:cxn ang="0">
                    <a:pos x="263" y="282"/>
                  </a:cxn>
                  <a:cxn ang="0">
                    <a:pos x="263" y="253"/>
                  </a:cxn>
                  <a:cxn ang="0">
                    <a:pos x="233" y="247"/>
                  </a:cxn>
                  <a:cxn ang="0">
                    <a:pos x="230" y="232"/>
                  </a:cxn>
                  <a:cxn ang="0">
                    <a:pos x="212" y="227"/>
                  </a:cxn>
                  <a:cxn ang="0">
                    <a:pos x="195" y="256"/>
                  </a:cxn>
                  <a:cxn ang="0">
                    <a:pos x="189" y="274"/>
                  </a:cxn>
                  <a:cxn ang="0">
                    <a:pos x="176" y="290"/>
                  </a:cxn>
                  <a:cxn ang="0">
                    <a:pos x="155" y="307"/>
                  </a:cxn>
                  <a:cxn ang="0">
                    <a:pos x="147" y="317"/>
                  </a:cxn>
                  <a:cxn ang="0">
                    <a:pos x="108" y="349"/>
                  </a:cxn>
                  <a:cxn ang="0">
                    <a:pos x="88" y="331"/>
                  </a:cxn>
                  <a:cxn ang="0">
                    <a:pos x="85" y="283"/>
                  </a:cxn>
                  <a:cxn ang="0">
                    <a:pos x="79" y="264"/>
                  </a:cxn>
                  <a:cxn ang="0">
                    <a:pos x="63" y="286"/>
                  </a:cxn>
                  <a:cxn ang="0">
                    <a:pos x="37" y="285"/>
                  </a:cxn>
                  <a:cxn ang="0">
                    <a:pos x="4" y="293"/>
                  </a:cxn>
                  <a:cxn ang="0">
                    <a:pos x="20" y="249"/>
                  </a:cxn>
                  <a:cxn ang="0">
                    <a:pos x="51" y="211"/>
                  </a:cxn>
                  <a:cxn ang="0">
                    <a:pos x="44" y="174"/>
                  </a:cxn>
                  <a:cxn ang="0">
                    <a:pos x="55" y="125"/>
                  </a:cxn>
                  <a:cxn ang="0">
                    <a:pos x="59" y="72"/>
                  </a:cxn>
                  <a:cxn ang="0">
                    <a:pos x="66" y="29"/>
                  </a:cxn>
                </a:cxnLst>
                <a:rect l="0" t="0" r="r" b="b"/>
                <a:pathLst>
                  <a:path w="384" h="349">
                    <a:moveTo>
                      <a:pt x="77" y="14"/>
                    </a:moveTo>
                    <a:lnTo>
                      <a:pt x="86" y="1"/>
                    </a:lnTo>
                    <a:lnTo>
                      <a:pt x="91" y="0"/>
                    </a:lnTo>
                    <a:lnTo>
                      <a:pt x="93" y="11"/>
                    </a:lnTo>
                    <a:lnTo>
                      <a:pt x="106" y="10"/>
                    </a:lnTo>
                    <a:lnTo>
                      <a:pt x="110" y="27"/>
                    </a:lnTo>
                    <a:lnTo>
                      <a:pt x="119" y="38"/>
                    </a:lnTo>
                    <a:lnTo>
                      <a:pt x="114" y="48"/>
                    </a:lnTo>
                    <a:lnTo>
                      <a:pt x="118" y="61"/>
                    </a:lnTo>
                    <a:lnTo>
                      <a:pt x="120" y="81"/>
                    </a:lnTo>
                    <a:lnTo>
                      <a:pt x="129" y="85"/>
                    </a:lnTo>
                    <a:lnTo>
                      <a:pt x="134" y="70"/>
                    </a:lnTo>
                    <a:lnTo>
                      <a:pt x="142" y="57"/>
                    </a:lnTo>
                    <a:lnTo>
                      <a:pt x="150" y="59"/>
                    </a:lnTo>
                    <a:lnTo>
                      <a:pt x="161" y="70"/>
                    </a:lnTo>
                    <a:lnTo>
                      <a:pt x="169" y="72"/>
                    </a:lnTo>
                    <a:lnTo>
                      <a:pt x="168" y="89"/>
                    </a:lnTo>
                    <a:lnTo>
                      <a:pt x="179" y="96"/>
                    </a:lnTo>
                    <a:lnTo>
                      <a:pt x="207" y="100"/>
                    </a:lnTo>
                    <a:lnTo>
                      <a:pt x="209" y="108"/>
                    </a:lnTo>
                    <a:lnTo>
                      <a:pt x="212" y="116"/>
                    </a:lnTo>
                    <a:lnTo>
                      <a:pt x="222" y="127"/>
                    </a:lnTo>
                    <a:lnTo>
                      <a:pt x="233" y="132"/>
                    </a:lnTo>
                    <a:lnTo>
                      <a:pt x="243" y="143"/>
                    </a:lnTo>
                    <a:lnTo>
                      <a:pt x="255" y="151"/>
                    </a:lnTo>
                    <a:lnTo>
                      <a:pt x="265" y="148"/>
                    </a:lnTo>
                    <a:lnTo>
                      <a:pt x="276" y="157"/>
                    </a:lnTo>
                    <a:lnTo>
                      <a:pt x="286" y="161"/>
                    </a:lnTo>
                    <a:lnTo>
                      <a:pt x="290" y="172"/>
                    </a:lnTo>
                    <a:lnTo>
                      <a:pt x="296" y="183"/>
                    </a:lnTo>
                    <a:lnTo>
                      <a:pt x="301" y="213"/>
                    </a:lnTo>
                    <a:lnTo>
                      <a:pt x="307" y="222"/>
                    </a:lnTo>
                    <a:lnTo>
                      <a:pt x="303" y="236"/>
                    </a:lnTo>
                    <a:lnTo>
                      <a:pt x="308" y="239"/>
                    </a:lnTo>
                    <a:lnTo>
                      <a:pt x="319" y="236"/>
                    </a:lnTo>
                    <a:lnTo>
                      <a:pt x="327" y="237"/>
                    </a:lnTo>
                    <a:lnTo>
                      <a:pt x="329" y="240"/>
                    </a:lnTo>
                    <a:lnTo>
                      <a:pt x="343" y="227"/>
                    </a:lnTo>
                    <a:lnTo>
                      <a:pt x="351" y="232"/>
                    </a:lnTo>
                    <a:lnTo>
                      <a:pt x="356" y="240"/>
                    </a:lnTo>
                    <a:lnTo>
                      <a:pt x="362" y="245"/>
                    </a:lnTo>
                    <a:lnTo>
                      <a:pt x="364" y="256"/>
                    </a:lnTo>
                    <a:lnTo>
                      <a:pt x="362" y="260"/>
                    </a:lnTo>
                    <a:lnTo>
                      <a:pt x="383" y="266"/>
                    </a:lnTo>
                    <a:lnTo>
                      <a:pt x="384" y="272"/>
                    </a:lnTo>
                    <a:lnTo>
                      <a:pt x="376" y="274"/>
                    </a:lnTo>
                    <a:lnTo>
                      <a:pt x="360" y="291"/>
                    </a:lnTo>
                    <a:lnTo>
                      <a:pt x="351" y="296"/>
                    </a:lnTo>
                    <a:lnTo>
                      <a:pt x="343" y="307"/>
                    </a:lnTo>
                    <a:lnTo>
                      <a:pt x="335" y="309"/>
                    </a:lnTo>
                    <a:lnTo>
                      <a:pt x="319" y="303"/>
                    </a:lnTo>
                    <a:lnTo>
                      <a:pt x="314" y="298"/>
                    </a:lnTo>
                    <a:lnTo>
                      <a:pt x="313" y="295"/>
                    </a:lnTo>
                    <a:lnTo>
                      <a:pt x="307" y="298"/>
                    </a:lnTo>
                    <a:lnTo>
                      <a:pt x="302" y="288"/>
                    </a:lnTo>
                    <a:lnTo>
                      <a:pt x="293" y="285"/>
                    </a:lnTo>
                    <a:lnTo>
                      <a:pt x="285" y="283"/>
                    </a:lnTo>
                    <a:lnTo>
                      <a:pt x="280" y="280"/>
                    </a:lnTo>
                    <a:lnTo>
                      <a:pt x="275" y="283"/>
                    </a:lnTo>
                    <a:lnTo>
                      <a:pt x="263" y="282"/>
                    </a:lnTo>
                    <a:lnTo>
                      <a:pt x="260" y="275"/>
                    </a:lnTo>
                    <a:lnTo>
                      <a:pt x="265" y="264"/>
                    </a:lnTo>
                    <a:lnTo>
                      <a:pt x="263" y="253"/>
                    </a:lnTo>
                    <a:lnTo>
                      <a:pt x="255" y="249"/>
                    </a:lnTo>
                    <a:lnTo>
                      <a:pt x="236" y="244"/>
                    </a:lnTo>
                    <a:lnTo>
                      <a:pt x="233" y="247"/>
                    </a:lnTo>
                    <a:lnTo>
                      <a:pt x="233" y="249"/>
                    </a:lnTo>
                    <a:lnTo>
                      <a:pt x="225" y="245"/>
                    </a:lnTo>
                    <a:lnTo>
                      <a:pt x="230" y="232"/>
                    </a:lnTo>
                    <a:lnTo>
                      <a:pt x="236" y="226"/>
                    </a:lnTo>
                    <a:lnTo>
                      <a:pt x="233" y="222"/>
                    </a:lnTo>
                    <a:lnTo>
                      <a:pt x="212" y="227"/>
                    </a:lnTo>
                    <a:lnTo>
                      <a:pt x="198" y="233"/>
                    </a:lnTo>
                    <a:lnTo>
                      <a:pt x="198" y="239"/>
                    </a:lnTo>
                    <a:lnTo>
                      <a:pt x="195" y="256"/>
                    </a:lnTo>
                    <a:lnTo>
                      <a:pt x="198" y="263"/>
                    </a:lnTo>
                    <a:lnTo>
                      <a:pt x="196" y="274"/>
                    </a:lnTo>
                    <a:lnTo>
                      <a:pt x="189" y="274"/>
                    </a:lnTo>
                    <a:lnTo>
                      <a:pt x="185" y="281"/>
                    </a:lnTo>
                    <a:lnTo>
                      <a:pt x="178" y="283"/>
                    </a:lnTo>
                    <a:lnTo>
                      <a:pt x="176" y="290"/>
                    </a:lnTo>
                    <a:lnTo>
                      <a:pt x="171" y="296"/>
                    </a:lnTo>
                    <a:lnTo>
                      <a:pt x="162" y="296"/>
                    </a:lnTo>
                    <a:lnTo>
                      <a:pt x="155" y="307"/>
                    </a:lnTo>
                    <a:lnTo>
                      <a:pt x="151" y="315"/>
                    </a:lnTo>
                    <a:lnTo>
                      <a:pt x="147" y="314"/>
                    </a:lnTo>
                    <a:lnTo>
                      <a:pt x="147" y="317"/>
                    </a:lnTo>
                    <a:lnTo>
                      <a:pt x="145" y="325"/>
                    </a:lnTo>
                    <a:lnTo>
                      <a:pt x="137" y="335"/>
                    </a:lnTo>
                    <a:lnTo>
                      <a:pt x="108" y="349"/>
                    </a:lnTo>
                    <a:lnTo>
                      <a:pt x="104" y="345"/>
                    </a:lnTo>
                    <a:lnTo>
                      <a:pt x="97" y="349"/>
                    </a:lnTo>
                    <a:lnTo>
                      <a:pt x="88" y="331"/>
                    </a:lnTo>
                    <a:lnTo>
                      <a:pt x="86" y="309"/>
                    </a:lnTo>
                    <a:lnTo>
                      <a:pt x="87" y="290"/>
                    </a:lnTo>
                    <a:lnTo>
                      <a:pt x="85" y="283"/>
                    </a:lnTo>
                    <a:lnTo>
                      <a:pt x="83" y="269"/>
                    </a:lnTo>
                    <a:lnTo>
                      <a:pt x="82" y="259"/>
                    </a:lnTo>
                    <a:lnTo>
                      <a:pt x="79" y="264"/>
                    </a:lnTo>
                    <a:lnTo>
                      <a:pt x="76" y="281"/>
                    </a:lnTo>
                    <a:lnTo>
                      <a:pt x="69" y="281"/>
                    </a:lnTo>
                    <a:lnTo>
                      <a:pt x="63" y="286"/>
                    </a:lnTo>
                    <a:lnTo>
                      <a:pt x="47" y="286"/>
                    </a:lnTo>
                    <a:lnTo>
                      <a:pt x="43" y="283"/>
                    </a:lnTo>
                    <a:lnTo>
                      <a:pt x="37" y="285"/>
                    </a:lnTo>
                    <a:lnTo>
                      <a:pt x="23" y="295"/>
                    </a:lnTo>
                    <a:lnTo>
                      <a:pt x="8" y="299"/>
                    </a:lnTo>
                    <a:lnTo>
                      <a:pt x="4" y="293"/>
                    </a:lnTo>
                    <a:lnTo>
                      <a:pt x="0" y="283"/>
                    </a:lnTo>
                    <a:lnTo>
                      <a:pt x="12" y="256"/>
                    </a:lnTo>
                    <a:lnTo>
                      <a:pt x="20" y="249"/>
                    </a:lnTo>
                    <a:lnTo>
                      <a:pt x="32" y="245"/>
                    </a:lnTo>
                    <a:lnTo>
                      <a:pt x="51" y="223"/>
                    </a:lnTo>
                    <a:lnTo>
                      <a:pt x="51" y="211"/>
                    </a:lnTo>
                    <a:lnTo>
                      <a:pt x="48" y="206"/>
                    </a:lnTo>
                    <a:lnTo>
                      <a:pt x="47" y="182"/>
                    </a:lnTo>
                    <a:lnTo>
                      <a:pt x="44" y="174"/>
                    </a:lnTo>
                    <a:lnTo>
                      <a:pt x="47" y="158"/>
                    </a:lnTo>
                    <a:lnTo>
                      <a:pt x="53" y="141"/>
                    </a:lnTo>
                    <a:lnTo>
                      <a:pt x="55" y="125"/>
                    </a:lnTo>
                    <a:lnTo>
                      <a:pt x="55" y="121"/>
                    </a:lnTo>
                    <a:lnTo>
                      <a:pt x="58" y="110"/>
                    </a:lnTo>
                    <a:lnTo>
                      <a:pt x="59" y="72"/>
                    </a:lnTo>
                    <a:lnTo>
                      <a:pt x="59" y="60"/>
                    </a:lnTo>
                    <a:lnTo>
                      <a:pt x="63" y="49"/>
                    </a:lnTo>
                    <a:lnTo>
                      <a:pt x="66" y="29"/>
                    </a:lnTo>
                    <a:lnTo>
                      <a:pt x="72" y="19"/>
                    </a:lnTo>
                    <a:lnTo>
                      <a:pt x="77" y="1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" name="Canada"/>
              <p:cNvSpPr>
                <a:spLocks noChangeAspect="1"/>
              </p:cNvSpPr>
              <p:nvPr>
                <p:custDataLst>
                  <p:tags r:id="rId191"/>
                </p:custDataLst>
              </p:nvPr>
            </p:nvSpPr>
            <p:spPr bwMode="gray">
              <a:xfrm>
                <a:off x="1668" y="1452"/>
                <a:ext cx="24" cy="32"/>
              </a:xfrm>
              <a:custGeom>
                <a:avLst/>
                <a:gdLst/>
                <a:ahLst/>
                <a:cxnLst>
                  <a:cxn ang="0">
                    <a:pos x="52" y="4"/>
                  </a:cxn>
                  <a:cxn ang="0">
                    <a:pos x="56" y="0"/>
                  </a:cxn>
                  <a:cxn ang="0">
                    <a:pos x="59" y="5"/>
                  </a:cxn>
                  <a:cxn ang="0">
                    <a:pos x="65" y="11"/>
                  </a:cxn>
                  <a:cxn ang="0">
                    <a:pos x="75" y="3"/>
                  </a:cxn>
                  <a:cxn ang="0">
                    <a:pos x="87" y="5"/>
                  </a:cxn>
                  <a:cxn ang="0">
                    <a:pos x="92" y="17"/>
                  </a:cxn>
                  <a:cxn ang="0">
                    <a:pos x="100" y="19"/>
                  </a:cxn>
                  <a:cxn ang="0">
                    <a:pos x="111" y="17"/>
                  </a:cxn>
                  <a:cxn ang="0">
                    <a:pos x="119" y="33"/>
                  </a:cxn>
                  <a:cxn ang="0">
                    <a:pos x="120" y="49"/>
                  </a:cxn>
                  <a:cxn ang="0">
                    <a:pos x="119" y="74"/>
                  </a:cxn>
                  <a:cxn ang="0">
                    <a:pos x="122" y="97"/>
                  </a:cxn>
                  <a:cxn ang="0">
                    <a:pos x="119" y="119"/>
                  </a:cxn>
                  <a:cxn ang="0">
                    <a:pos x="104" y="139"/>
                  </a:cxn>
                  <a:cxn ang="0">
                    <a:pos x="88" y="151"/>
                  </a:cxn>
                  <a:cxn ang="0">
                    <a:pos x="39" y="161"/>
                  </a:cxn>
                  <a:cxn ang="0">
                    <a:pos x="33" y="158"/>
                  </a:cxn>
                  <a:cxn ang="0">
                    <a:pos x="17" y="153"/>
                  </a:cxn>
                  <a:cxn ang="0">
                    <a:pos x="6" y="132"/>
                  </a:cxn>
                  <a:cxn ang="0">
                    <a:pos x="1" y="110"/>
                  </a:cxn>
                  <a:cxn ang="0">
                    <a:pos x="0" y="90"/>
                  </a:cxn>
                  <a:cxn ang="0">
                    <a:pos x="2" y="72"/>
                  </a:cxn>
                  <a:cxn ang="0">
                    <a:pos x="8" y="62"/>
                  </a:cxn>
                  <a:cxn ang="0">
                    <a:pos x="13" y="46"/>
                  </a:cxn>
                  <a:cxn ang="0">
                    <a:pos x="22" y="27"/>
                  </a:cxn>
                  <a:cxn ang="0">
                    <a:pos x="33" y="13"/>
                  </a:cxn>
                  <a:cxn ang="0">
                    <a:pos x="44" y="10"/>
                  </a:cxn>
                  <a:cxn ang="0">
                    <a:pos x="52" y="4"/>
                  </a:cxn>
                </a:cxnLst>
                <a:rect l="0" t="0" r="r" b="b"/>
                <a:pathLst>
                  <a:path w="122" h="161">
                    <a:moveTo>
                      <a:pt x="52" y="4"/>
                    </a:moveTo>
                    <a:lnTo>
                      <a:pt x="56" y="0"/>
                    </a:lnTo>
                    <a:lnTo>
                      <a:pt x="59" y="5"/>
                    </a:lnTo>
                    <a:lnTo>
                      <a:pt x="65" y="11"/>
                    </a:lnTo>
                    <a:lnTo>
                      <a:pt x="75" y="3"/>
                    </a:lnTo>
                    <a:lnTo>
                      <a:pt x="87" y="5"/>
                    </a:lnTo>
                    <a:lnTo>
                      <a:pt x="92" y="17"/>
                    </a:lnTo>
                    <a:lnTo>
                      <a:pt x="100" y="19"/>
                    </a:lnTo>
                    <a:lnTo>
                      <a:pt x="111" y="17"/>
                    </a:lnTo>
                    <a:lnTo>
                      <a:pt x="119" y="33"/>
                    </a:lnTo>
                    <a:lnTo>
                      <a:pt x="120" y="49"/>
                    </a:lnTo>
                    <a:lnTo>
                      <a:pt x="119" y="74"/>
                    </a:lnTo>
                    <a:lnTo>
                      <a:pt x="122" y="97"/>
                    </a:lnTo>
                    <a:lnTo>
                      <a:pt x="119" y="119"/>
                    </a:lnTo>
                    <a:lnTo>
                      <a:pt x="104" y="139"/>
                    </a:lnTo>
                    <a:lnTo>
                      <a:pt x="88" y="151"/>
                    </a:lnTo>
                    <a:lnTo>
                      <a:pt x="39" y="161"/>
                    </a:lnTo>
                    <a:lnTo>
                      <a:pt x="33" y="158"/>
                    </a:lnTo>
                    <a:lnTo>
                      <a:pt x="17" y="153"/>
                    </a:lnTo>
                    <a:lnTo>
                      <a:pt x="6" y="132"/>
                    </a:lnTo>
                    <a:lnTo>
                      <a:pt x="1" y="110"/>
                    </a:lnTo>
                    <a:lnTo>
                      <a:pt x="0" y="90"/>
                    </a:lnTo>
                    <a:lnTo>
                      <a:pt x="2" y="72"/>
                    </a:lnTo>
                    <a:lnTo>
                      <a:pt x="8" y="62"/>
                    </a:lnTo>
                    <a:lnTo>
                      <a:pt x="13" y="46"/>
                    </a:lnTo>
                    <a:lnTo>
                      <a:pt x="22" y="27"/>
                    </a:lnTo>
                    <a:lnTo>
                      <a:pt x="33" y="13"/>
                    </a:lnTo>
                    <a:lnTo>
                      <a:pt x="44" y="10"/>
                    </a:lnTo>
                    <a:lnTo>
                      <a:pt x="52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4" name="Canada"/>
              <p:cNvSpPr>
                <a:spLocks noChangeAspect="1"/>
              </p:cNvSpPr>
              <p:nvPr>
                <p:custDataLst>
                  <p:tags r:id="rId192"/>
                </p:custDataLst>
              </p:nvPr>
            </p:nvSpPr>
            <p:spPr bwMode="gray">
              <a:xfrm>
                <a:off x="1628" y="1270"/>
                <a:ext cx="53" cy="38"/>
              </a:xfrm>
              <a:custGeom>
                <a:avLst/>
                <a:gdLst/>
                <a:ahLst/>
                <a:cxnLst>
                  <a:cxn ang="0">
                    <a:pos x="110" y="18"/>
                  </a:cxn>
                  <a:cxn ang="0">
                    <a:pos x="129" y="14"/>
                  </a:cxn>
                  <a:cxn ang="0">
                    <a:pos x="149" y="16"/>
                  </a:cxn>
                  <a:cxn ang="0">
                    <a:pos x="200" y="45"/>
                  </a:cxn>
                  <a:cxn ang="0">
                    <a:pos x="207" y="57"/>
                  </a:cxn>
                  <a:cxn ang="0">
                    <a:pos x="208" y="68"/>
                  </a:cxn>
                  <a:cxn ang="0">
                    <a:pos x="217" y="81"/>
                  </a:cxn>
                  <a:cxn ang="0">
                    <a:pos x="227" y="87"/>
                  </a:cxn>
                  <a:cxn ang="0">
                    <a:pos x="243" y="118"/>
                  </a:cxn>
                  <a:cxn ang="0">
                    <a:pos x="254" y="129"/>
                  </a:cxn>
                  <a:cxn ang="0">
                    <a:pos x="253" y="136"/>
                  </a:cxn>
                  <a:cxn ang="0">
                    <a:pos x="255" y="147"/>
                  </a:cxn>
                  <a:cxn ang="0">
                    <a:pos x="265" y="158"/>
                  </a:cxn>
                  <a:cxn ang="0">
                    <a:pos x="256" y="172"/>
                  </a:cxn>
                  <a:cxn ang="0">
                    <a:pos x="238" y="173"/>
                  </a:cxn>
                  <a:cxn ang="0">
                    <a:pos x="213" y="170"/>
                  </a:cxn>
                  <a:cxn ang="0">
                    <a:pos x="186" y="159"/>
                  </a:cxn>
                  <a:cxn ang="0">
                    <a:pos x="148" y="158"/>
                  </a:cxn>
                  <a:cxn ang="0">
                    <a:pos x="109" y="183"/>
                  </a:cxn>
                  <a:cxn ang="0">
                    <a:pos x="86" y="190"/>
                  </a:cxn>
                  <a:cxn ang="0">
                    <a:pos x="65" y="179"/>
                  </a:cxn>
                  <a:cxn ang="0">
                    <a:pos x="49" y="165"/>
                  </a:cxn>
                  <a:cxn ang="0">
                    <a:pos x="41" y="145"/>
                  </a:cxn>
                  <a:cxn ang="0">
                    <a:pos x="39" y="100"/>
                  </a:cxn>
                  <a:cxn ang="0">
                    <a:pos x="11" y="92"/>
                  </a:cxn>
                  <a:cxn ang="0">
                    <a:pos x="0" y="72"/>
                  </a:cxn>
                  <a:cxn ang="0">
                    <a:pos x="1" y="51"/>
                  </a:cxn>
                  <a:cxn ang="0">
                    <a:pos x="6" y="44"/>
                  </a:cxn>
                  <a:cxn ang="0">
                    <a:pos x="6" y="18"/>
                  </a:cxn>
                  <a:cxn ang="0">
                    <a:pos x="14" y="1"/>
                  </a:cxn>
                  <a:cxn ang="0">
                    <a:pos x="28" y="0"/>
                  </a:cxn>
                  <a:cxn ang="0">
                    <a:pos x="40" y="8"/>
                  </a:cxn>
                  <a:cxn ang="0">
                    <a:pos x="49" y="7"/>
                  </a:cxn>
                  <a:cxn ang="0">
                    <a:pos x="73" y="17"/>
                  </a:cxn>
                  <a:cxn ang="0">
                    <a:pos x="102" y="23"/>
                  </a:cxn>
                  <a:cxn ang="0">
                    <a:pos x="110" y="18"/>
                  </a:cxn>
                </a:cxnLst>
                <a:rect l="0" t="0" r="r" b="b"/>
                <a:pathLst>
                  <a:path w="265" h="190">
                    <a:moveTo>
                      <a:pt x="110" y="18"/>
                    </a:moveTo>
                    <a:lnTo>
                      <a:pt x="129" y="14"/>
                    </a:lnTo>
                    <a:lnTo>
                      <a:pt x="149" y="16"/>
                    </a:lnTo>
                    <a:lnTo>
                      <a:pt x="200" y="45"/>
                    </a:lnTo>
                    <a:lnTo>
                      <a:pt x="207" y="57"/>
                    </a:lnTo>
                    <a:lnTo>
                      <a:pt x="208" y="68"/>
                    </a:lnTo>
                    <a:lnTo>
                      <a:pt x="217" y="81"/>
                    </a:lnTo>
                    <a:lnTo>
                      <a:pt x="227" y="87"/>
                    </a:lnTo>
                    <a:lnTo>
                      <a:pt x="243" y="118"/>
                    </a:lnTo>
                    <a:lnTo>
                      <a:pt x="254" y="129"/>
                    </a:lnTo>
                    <a:lnTo>
                      <a:pt x="253" y="136"/>
                    </a:lnTo>
                    <a:lnTo>
                      <a:pt x="255" y="147"/>
                    </a:lnTo>
                    <a:lnTo>
                      <a:pt x="265" y="158"/>
                    </a:lnTo>
                    <a:lnTo>
                      <a:pt x="256" y="172"/>
                    </a:lnTo>
                    <a:lnTo>
                      <a:pt x="238" y="173"/>
                    </a:lnTo>
                    <a:lnTo>
                      <a:pt x="213" y="170"/>
                    </a:lnTo>
                    <a:lnTo>
                      <a:pt x="186" y="159"/>
                    </a:lnTo>
                    <a:lnTo>
                      <a:pt x="148" y="158"/>
                    </a:lnTo>
                    <a:lnTo>
                      <a:pt x="109" y="183"/>
                    </a:lnTo>
                    <a:lnTo>
                      <a:pt x="86" y="190"/>
                    </a:lnTo>
                    <a:lnTo>
                      <a:pt x="65" y="179"/>
                    </a:lnTo>
                    <a:lnTo>
                      <a:pt x="49" y="165"/>
                    </a:lnTo>
                    <a:lnTo>
                      <a:pt x="41" y="145"/>
                    </a:lnTo>
                    <a:lnTo>
                      <a:pt x="39" y="100"/>
                    </a:lnTo>
                    <a:lnTo>
                      <a:pt x="11" y="92"/>
                    </a:lnTo>
                    <a:lnTo>
                      <a:pt x="0" y="72"/>
                    </a:lnTo>
                    <a:lnTo>
                      <a:pt x="1" y="51"/>
                    </a:lnTo>
                    <a:lnTo>
                      <a:pt x="6" y="44"/>
                    </a:lnTo>
                    <a:lnTo>
                      <a:pt x="6" y="18"/>
                    </a:lnTo>
                    <a:lnTo>
                      <a:pt x="14" y="1"/>
                    </a:lnTo>
                    <a:lnTo>
                      <a:pt x="28" y="0"/>
                    </a:lnTo>
                    <a:lnTo>
                      <a:pt x="40" y="8"/>
                    </a:lnTo>
                    <a:lnTo>
                      <a:pt x="49" y="7"/>
                    </a:lnTo>
                    <a:lnTo>
                      <a:pt x="73" y="17"/>
                    </a:lnTo>
                    <a:lnTo>
                      <a:pt x="102" y="23"/>
                    </a:lnTo>
                    <a:lnTo>
                      <a:pt x="110" y="1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Canada"/>
              <p:cNvSpPr>
                <a:spLocks noChangeAspect="1"/>
              </p:cNvSpPr>
              <p:nvPr>
                <p:custDataLst>
                  <p:tags r:id="rId193"/>
                </p:custDataLst>
              </p:nvPr>
            </p:nvSpPr>
            <p:spPr bwMode="gray">
              <a:xfrm>
                <a:off x="1527" y="1265"/>
                <a:ext cx="316" cy="356"/>
              </a:xfrm>
              <a:custGeom>
                <a:avLst/>
                <a:gdLst/>
                <a:ahLst/>
                <a:cxnLst>
                  <a:cxn ang="0">
                    <a:pos x="1131" y="1671"/>
                  </a:cxn>
                  <a:cxn ang="0">
                    <a:pos x="1196" y="1735"/>
                  </a:cxn>
                  <a:cxn ang="0">
                    <a:pos x="1317" y="1753"/>
                  </a:cxn>
                  <a:cxn ang="0">
                    <a:pos x="1220" y="1622"/>
                  </a:cxn>
                  <a:cxn ang="0">
                    <a:pos x="1258" y="1612"/>
                  </a:cxn>
                  <a:cxn ang="0">
                    <a:pos x="1376" y="1663"/>
                  </a:cxn>
                  <a:cxn ang="0">
                    <a:pos x="1400" y="1662"/>
                  </a:cxn>
                  <a:cxn ang="0">
                    <a:pos x="1406" y="1612"/>
                  </a:cxn>
                  <a:cxn ang="0">
                    <a:pos x="1383" y="1464"/>
                  </a:cxn>
                  <a:cxn ang="0">
                    <a:pos x="1312" y="1405"/>
                  </a:cxn>
                  <a:cxn ang="0">
                    <a:pos x="1253" y="1334"/>
                  </a:cxn>
                  <a:cxn ang="0">
                    <a:pos x="1242" y="1240"/>
                  </a:cxn>
                  <a:cxn ang="0">
                    <a:pos x="1265" y="1192"/>
                  </a:cxn>
                  <a:cxn ang="0">
                    <a:pos x="1384" y="1340"/>
                  </a:cxn>
                  <a:cxn ang="0">
                    <a:pos x="1470" y="1359"/>
                  </a:cxn>
                  <a:cxn ang="0">
                    <a:pos x="1512" y="1254"/>
                  </a:cxn>
                  <a:cxn ang="0">
                    <a:pos x="1581" y="1182"/>
                  </a:cxn>
                  <a:cxn ang="0">
                    <a:pos x="1471" y="1095"/>
                  </a:cxn>
                  <a:cxn ang="0">
                    <a:pos x="1374" y="1010"/>
                  </a:cxn>
                  <a:cxn ang="0">
                    <a:pos x="1283" y="958"/>
                  </a:cxn>
                  <a:cxn ang="0">
                    <a:pos x="1226" y="870"/>
                  </a:cxn>
                  <a:cxn ang="0">
                    <a:pos x="1248" y="812"/>
                  </a:cxn>
                  <a:cxn ang="0">
                    <a:pos x="1178" y="743"/>
                  </a:cxn>
                  <a:cxn ang="0">
                    <a:pos x="1201" y="661"/>
                  </a:cxn>
                  <a:cxn ang="0">
                    <a:pos x="1190" y="606"/>
                  </a:cxn>
                  <a:cxn ang="0">
                    <a:pos x="1102" y="546"/>
                  </a:cxn>
                  <a:cxn ang="0">
                    <a:pos x="1018" y="500"/>
                  </a:cxn>
                  <a:cxn ang="0">
                    <a:pos x="928" y="454"/>
                  </a:cxn>
                  <a:cxn ang="0">
                    <a:pos x="867" y="385"/>
                  </a:cxn>
                  <a:cxn ang="0">
                    <a:pos x="828" y="289"/>
                  </a:cxn>
                  <a:cxn ang="0">
                    <a:pos x="618" y="285"/>
                  </a:cxn>
                  <a:cxn ang="0">
                    <a:pos x="503" y="357"/>
                  </a:cxn>
                  <a:cxn ang="0">
                    <a:pos x="510" y="176"/>
                  </a:cxn>
                  <a:cxn ang="0">
                    <a:pos x="390" y="33"/>
                  </a:cxn>
                  <a:cxn ang="0">
                    <a:pos x="291" y="94"/>
                  </a:cxn>
                  <a:cxn ang="0">
                    <a:pos x="293" y="177"/>
                  </a:cxn>
                  <a:cxn ang="0">
                    <a:pos x="279" y="274"/>
                  </a:cxn>
                  <a:cxn ang="0">
                    <a:pos x="280" y="406"/>
                  </a:cxn>
                  <a:cxn ang="0">
                    <a:pos x="277" y="485"/>
                  </a:cxn>
                  <a:cxn ang="0">
                    <a:pos x="281" y="460"/>
                  </a:cxn>
                  <a:cxn ang="0">
                    <a:pos x="222" y="102"/>
                  </a:cxn>
                  <a:cxn ang="0">
                    <a:pos x="75" y="101"/>
                  </a:cxn>
                  <a:cxn ang="0">
                    <a:pos x="7" y="274"/>
                  </a:cxn>
                  <a:cxn ang="0">
                    <a:pos x="115" y="476"/>
                  </a:cxn>
                  <a:cxn ang="0">
                    <a:pos x="83" y="602"/>
                  </a:cxn>
                  <a:cxn ang="0">
                    <a:pos x="265" y="682"/>
                  </a:cxn>
                  <a:cxn ang="0">
                    <a:pos x="448" y="709"/>
                  </a:cxn>
                  <a:cxn ang="0">
                    <a:pos x="549" y="682"/>
                  </a:cxn>
                  <a:cxn ang="0">
                    <a:pos x="658" y="638"/>
                  </a:cxn>
                  <a:cxn ang="0">
                    <a:pos x="750" y="759"/>
                  </a:cxn>
                  <a:cxn ang="0">
                    <a:pos x="849" y="829"/>
                  </a:cxn>
                  <a:cxn ang="0">
                    <a:pos x="912" y="949"/>
                  </a:cxn>
                  <a:cxn ang="0">
                    <a:pos x="951" y="1121"/>
                  </a:cxn>
                  <a:cxn ang="0">
                    <a:pos x="908" y="1313"/>
                  </a:cxn>
                  <a:cxn ang="0">
                    <a:pos x="743" y="1348"/>
                  </a:cxn>
                  <a:cxn ang="0">
                    <a:pos x="668" y="1462"/>
                  </a:cxn>
                  <a:cxn ang="0">
                    <a:pos x="780" y="1452"/>
                  </a:cxn>
                  <a:cxn ang="0">
                    <a:pos x="846" y="1419"/>
                  </a:cxn>
                  <a:cxn ang="0">
                    <a:pos x="919" y="1456"/>
                  </a:cxn>
                  <a:cxn ang="0">
                    <a:pos x="968" y="1547"/>
                  </a:cxn>
                  <a:cxn ang="0">
                    <a:pos x="1003" y="1593"/>
                  </a:cxn>
                </a:cxnLst>
                <a:rect l="0" t="0" r="r" b="b"/>
                <a:pathLst>
                  <a:path w="1581" h="1779">
                    <a:moveTo>
                      <a:pt x="1037" y="1646"/>
                    </a:moveTo>
                    <a:lnTo>
                      <a:pt x="1053" y="1650"/>
                    </a:lnTo>
                    <a:lnTo>
                      <a:pt x="1071" y="1657"/>
                    </a:lnTo>
                    <a:lnTo>
                      <a:pt x="1072" y="1665"/>
                    </a:lnTo>
                    <a:lnTo>
                      <a:pt x="1078" y="1665"/>
                    </a:lnTo>
                    <a:lnTo>
                      <a:pt x="1091" y="1673"/>
                    </a:lnTo>
                    <a:lnTo>
                      <a:pt x="1102" y="1667"/>
                    </a:lnTo>
                    <a:lnTo>
                      <a:pt x="1109" y="1654"/>
                    </a:lnTo>
                    <a:lnTo>
                      <a:pt x="1111" y="1659"/>
                    </a:lnTo>
                    <a:lnTo>
                      <a:pt x="1109" y="1672"/>
                    </a:lnTo>
                    <a:lnTo>
                      <a:pt x="1118" y="1677"/>
                    </a:lnTo>
                    <a:lnTo>
                      <a:pt x="1121" y="1668"/>
                    </a:lnTo>
                    <a:lnTo>
                      <a:pt x="1131" y="1671"/>
                    </a:lnTo>
                    <a:lnTo>
                      <a:pt x="1137" y="1667"/>
                    </a:lnTo>
                    <a:lnTo>
                      <a:pt x="1135" y="1678"/>
                    </a:lnTo>
                    <a:lnTo>
                      <a:pt x="1138" y="1688"/>
                    </a:lnTo>
                    <a:lnTo>
                      <a:pt x="1145" y="1688"/>
                    </a:lnTo>
                    <a:lnTo>
                      <a:pt x="1148" y="1693"/>
                    </a:lnTo>
                    <a:lnTo>
                      <a:pt x="1150" y="1703"/>
                    </a:lnTo>
                    <a:lnTo>
                      <a:pt x="1159" y="1716"/>
                    </a:lnTo>
                    <a:lnTo>
                      <a:pt x="1170" y="1720"/>
                    </a:lnTo>
                    <a:lnTo>
                      <a:pt x="1175" y="1708"/>
                    </a:lnTo>
                    <a:lnTo>
                      <a:pt x="1175" y="1720"/>
                    </a:lnTo>
                    <a:lnTo>
                      <a:pt x="1181" y="1722"/>
                    </a:lnTo>
                    <a:lnTo>
                      <a:pt x="1185" y="1730"/>
                    </a:lnTo>
                    <a:lnTo>
                      <a:pt x="1196" y="1735"/>
                    </a:lnTo>
                    <a:lnTo>
                      <a:pt x="1205" y="1732"/>
                    </a:lnTo>
                    <a:lnTo>
                      <a:pt x="1213" y="1740"/>
                    </a:lnTo>
                    <a:lnTo>
                      <a:pt x="1236" y="1741"/>
                    </a:lnTo>
                    <a:lnTo>
                      <a:pt x="1238" y="1748"/>
                    </a:lnTo>
                    <a:lnTo>
                      <a:pt x="1249" y="1758"/>
                    </a:lnTo>
                    <a:lnTo>
                      <a:pt x="1254" y="1759"/>
                    </a:lnTo>
                    <a:lnTo>
                      <a:pt x="1267" y="1758"/>
                    </a:lnTo>
                    <a:lnTo>
                      <a:pt x="1280" y="1751"/>
                    </a:lnTo>
                    <a:lnTo>
                      <a:pt x="1306" y="1779"/>
                    </a:lnTo>
                    <a:lnTo>
                      <a:pt x="1325" y="1776"/>
                    </a:lnTo>
                    <a:lnTo>
                      <a:pt x="1323" y="1768"/>
                    </a:lnTo>
                    <a:lnTo>
                      <a:pt x="1317" y="1759"/>
                    </a:lnTo>
                    <a:lnTo>
                      <a:pt x="1317" y="1753"/>
                    </a:lnTo>
                    <a:lnTo>
                      <a:pt x="1320" y="1747"/>
                    </a:lnTo>
                    <a:lnTo>
                      <a:pt x="1322" y="1735"/>
                    </a:lnTo>
                    <a:lnTo>
                      <a:pt x="1319" y="1726"/>
                    </a:lnTo>
                    <a:lnTo>
                      <a:pt x="1301" y="1705"/>
                    </a:lnTo>
                    <a:lnTo>
                      <a:pt x="1285" y="1692"/>
                    </a:lnTo>
                    <a:lnTo>
                      <a:pt x="1279" y="1683"/>
                    </a:lnTo>
                    <a:lnTo>
                      <a:pt x="1270" y="1679"/>
                    </a:lnTo>
                    <a:lnTo>
                      <a:pt x="1253" y="1665"/>
                    </a:lnTo>
                    <a:lnTo>
                      <a:pt x="1249" y="1652"/>
                    </a:lnTo>
                    <a:lnTo>
                      <a:pt x="1236" y="1645"/>
                    </a:lnTo>
                    <a:lnTo>
                      <a:pt x="1236" y="1633"/>
                    </a:lnTo>
                    <a:lnTo>
                      <a:pt x="1224" y="1635"/>
                    </a:lnTo>
                    <a:lnTo>
                      <a:pt x="1220" y="1622"/>
                    </a:lnTo>
                    <a:lnTo>
                      <a:pt x="1216" y="1619"/>
                    </a:lnTo>
                    <a:lnTo>
                      <a:pt x="1213" y="1622"/>
                    </a:lnTo>
                    <a:lnTo>
                      <a:pt x="1210" y="1618"/>
                    </a:lnTo>
                    <a:lnTo>
                      <a:pt x="1188" y="1587"/>
                    </a:lnTo>
                    <a:lnTo>
                      <a:pt x="1178" y="1577"/>
                    </a:lnTo>
                    <a:lnTo>
                      <a:pt x="1167" y="1557"/>
                    </a:lnTo>
                    <a:lnTo>
                      <a:pt x="1180" y="1552"/>
                    </a:lnTo>
                    <a:lnTo>
                      <a:pt x="1197" y="1565"/>
                    </a:lnTo>
                    <a:lnTo>
                      <a:pt x="1216" y="1587"/>
                    </a:lnTo>
                    <a:lnTo>
                      <a:pt x="1231" y="1590"/>
                    </a:lnTo>
                    <a:lnTo>
                      <a:pt x="1227" y="1579"/>
                    </a:lnTo>
                    <a:lnTo>
                      <a:pt x="1236" y="1576"/>
                    </a:lnTo>
                    <a:lnTo>
                      <a:pt x="1258" y="1612"/>
                    </a:lnTo>
                    <a:lnTo>
                      <a:pt x="1269" y="1618"/>
                    </a:lnTo>
                    <a:lnTo>
                      <a:pt x="1280" y="1619"/>
                    </a:lnTo>
                    <a:lnTo>
                      <a:pt x="1287" y="1641"/>
                    </a:lnTo>
                    <a:lnTo>
                      <a:pt x="1318" y="1641"/>
                    </a:lnTo>
                    <a:lnTo>
                      <a:pt x="1330" y="1657"/>
                    </a:lnTo>
                    <a:lnTo>
                      <a:pt x="1335" y="1649"/>
                    </a:lnTo>
                    <a:lnTo>
                      <a:pt x="1341" y="1654"/>
                    </a:lnTo>
                    <a:lnTo>
                      <a:pt x="1350" y="1657"/>
                    </a:lnTo>
                    <a:lnTo>
                      <a:pt x="1356" y="1649"/>
                    </a:lnTo>
                    <a:lnTo>
                      <a:pt x="1360" y="1651"/>
                    </a:lnTo>
                    <a:lnTo>
                      <a:pt x="1361" y="1657"/>
                    </a:lnTo>
                    <a:lnTo>
                      <a:pt x="1367" y="1668"/>
                    </a:lnTo>
                    <a:lnTo>
                      <a:pt x="1376" y="1663"/>
                    </a:lnTo>
                    <a:lnTo>
                      <a:pt x="1376" y="1670"/>
                    </a:lnTo>
                    <a:lnTo>
                      <a:pt x="1372" y="1679"/>
                    </a:lnTo>
                    <a:lnTo>
                      <a:pt x="1371" y="1684"/>
                    </a:lnTo>
                    <a:lnTo>
                      <a:pt x="1382" y="1690"/>
                    </a:lnTo>
                    <a:lnTo>
                      <a:pt x="1387" y="1700"/>
                    </a:lnTo>
                    <a:lnTo>
                      <a:pt x="1394" y="1698"/>
                    </a:lnTo>
                    <a:lnTo>
                      <a:pt x="1390" y="1690"/>
                    </a:lnTo>
                    <a:lnTo>
                      <a:pt x="1389" y="1683"/>
                    </a:lnTo>
                    <a:lnTo>
                      <a:pt x="1382" y="1666"/>
                    </a:lnTo>
                    <a:lnTo>
                      <a:pt x="1380" y="1659"/>
                    </a:lnTo>
                    <a:lnTo>
                      <a:pt x="1384" y="1651"/>
                    </a:lnTo>
                    <a:lnTo>
                      <a:pt x="1393" y="1654"/>
                    </a:lnTo>
                    <a:lnTo>
                      <a:pt x="1400" y="1662"/>
                    </a:lnTo>
                    <a:lnTo>
                      <a:pt x="1410" y="1665"/>
                    </a:lnTo>
                    <a:lnTo>
                      <a:pt x="1412" y="1657"/>
                    </a:lnTo>
                    <a:lnTo>
                      <a:pt x="1411" y="1651"/>
                    </a:lnTo>
                    <a:lnTo>
                      <a:pt x="1408" y="1649"/>
                    </a:lnTo>
                    <a:lnTo>
                      <a:pt x="1408" y="1645"/>
                    </a:lnTo>
                    <a:lnTo>
                      <a:pt x="1403" y="1643"/>
                    </a:lnTo>
                    <a:lnTo>
                      <a:pt x="1393" y="1644"/>
                    </a:lnTo>
                    <a:lnTo>
                      <a:pt x="1387" y="1625"/>
                    </a:lnTo>
                    <a:lnTo>
                      <a:pt x="1380" y="1613"/>
                    </a:lnTo>
                    <a:lnTo>
                      <a:pt x="1383" y="1606"/>
                    </a:lnTo>
                    <a:lnTo>
                      <a:pt x="1383" y="1589"/>
                    </a:lnTo>
                    <a:lnTo>
                      <a:pt x="1395" y="1598"/>
                    </a:lnTo>
                    <a:lnTo>
                      <a:pt x="1406" y="1612"/>
                    </a:lnTo>
                    <a:lnTo>
                      <a:pt x="1408" y="1607"/>
                    </a:lnTo>
                    <a:lnTo>
                      <a:pt x="1405" y="1593"/>
                    </a:lnTo>
                    <a:lnTo>
                      <a:pt x="1409" y="1589"/>
                    </a:lnTo>
                    <a:lnTo>
                      <a:pt x="1409" y="1570"/>
                    </a:lnTo>
                    <a:lnTo>
                      <a:pt x="1411" y="1560"/>
                    </a:lnTo>
                    <a:lnTo>
                      <a:pt x="1405" y="1547"/>
                    </a:lnTo>
                    <a:lnTo>
                      <a:pt x="1401" y="1520"/>
                    </a:lnTo>
                    <a:lnTo>
                      <a:pt x="1388" y="1518"/>
                    </a:lnTo>
                    <a:lnTo>
                      <a:pt x="1374" y="1511"/>
                    </a:lnTo>
                    <a:lnTo>
                      <a:pt x="1368" y="1505"/>
                    </a:lnTo>
                    <a:lnTo>
                      <a:pt x="1367" y="1485"/>
                    </a:lnTo>
                    <a:lnTo>
                      <a:pt x="1379" y="1482"/>
                    </a:lnTo>
                    <a:lnTo>
                      <a:pt x="1383" y="1464"/>
                    </a:lnTo>
                    <a:lnTo>
                      <a:pt x="1380" y="1450"/>
                    </a:lnTo>
                    <a:lnTo>
                      <a:pt x="1367" y="1453"/>
                    </a:lnTo>
                    <a:lnTo>
                      <a:pt x="1368" y="1445"/>
                    </a:lnTo>
                    <a:lnTo>
                      <a:pt x="1366" y="1436"/>
                    </a:lnTo>
                    <a:lnTo>
                      <a:pt x="1362" y="1434"/>
                    </a:lnTo>
                    <a:lnTo>
                      <a:pt x="1346" y="1447"/>
                    </a:lnTo>
                    <a:lnTo>
                      <a:pt x="1346" y="1425"/>
                    </a:lnTo>
                    <a:lnTo>
                      <a:pt x="1344" y="1414"/>
                    </a:lnTo>
                    <a:lnTo>
                      <a:pt x="1331" y="1413"/>
                    </a:lnTo>
                    <a:lnTo>
                      <a:pt x="1315" y="1426"/>
                    </a:lnTo>
                    <a:lnTo>
                      <a:pt x="1308" y="1420"/>
                    </a:lnTo>
                    <a:lnTo>
                      <a:pt x="1320" y="1404"/>
                    </a:lnTo>
                    <a:lnTo>
                      <a:pt x="1312" y="1405"/>
                    </a:lnTo>
                    <a:lnTo>
                      <a:pt x="1299" y="1402"/>
                    </a:lnTo>
                    <a:lnTo>
                      <a:pt x="1291" y="1404"/>
                    </a:lnTo>
                    <a:lnTo>
                      <a:pt x="1288" y="1421"/>
                    </a:lnTo>
                    <a:lnTo>
                      <a:pt x="1283" y="1402"/>
                    </a:lnTo>
                    <a:lnTo>
                      <a:pt x="1275" y="1388"/>
                    </a:lnTo>
                    <a:lnTo>
                      <a:pt x="1275" y="1382"/>
                    </a:lnTo>
                    <a:lnTo>
                      <a:pt x="1271" y="1371"/>
                    </a:lnTo>
                    <a:lnTo>
                      <a:pt x="1258" y="1367"/>
                    </a:lnTo>
                    <a:lnTo>
                      <a:pt x="1258" y="1363"/>
                    </a:lnTo>
                    <a:lnTo>
                      <a:pt x="1263" y="1354"/>
                    </a:lnTo>
                    <a:lnTo>
                      <a:pt x="1256" y="1347"/>
                    </a:lnTo>
                    <a:lnTo>
                      <a:pt x="1263" y="1344"/>
                    </a:lnTo>
                    <a:lnTo>
                      <a:pt x="1253" y="1334"/>
                    </a:lnTo>
                    <a:lnTo>
                      <a:pt x="1252" y="1326"/>
                    </a:lnTo>
                    <a:lnTo>
                      <a:pt x="1256" y="1316"/>
                    </a:lnTo>
                    <a:lnTo>
                      <a:pt x="1240" y="1311"/>
                    </a:lnTo>
                    <a:lnTo>
                      <a:pt x="1221" y="1321"/>
                    </a:lnTo>
                    <a:lnTo>
                      <a:pt x="1220" y="1316"/>
                    </a:lnTo>
                    <a:lnTo>
                      <a:pt x="1224" y="1299"/>
                    </a:lnTo>
                    <a:lnTo>
                      <a:pt x="1221" y="1280"/>
                    </a:lnTo>
                    <a:lnTo>
                      <a:pt x="1229" y="1278"/>
                    </a:lnTo>
                    <a:lnTo>
                      <a:pt x="1236" y="1280"/>
                    </a:lnTo>
                    <a:lnTo>
                      <a:pt x="1252" y="1272"/>
                    </a:lnTo>
                    <a:lnTo>
                      <a:pt x="1263" y="1272"/>
                    </a:lnTo>
                    <a:lnTo>
                      <a:pt x="1256" y="1254"/>
                    </a:lnTo>
                    <a:lnTo>
                      <a:pt x="1242" y="1240"/>
                    </a:lnTo>
                    <a:lnTo>
                      <a:pt x="1222" y="1236"/>
                    </a:lnTo>
                    <a:lnTo>
                      <a:pt x="1215" y="1230"/>
                    </a:lnTo>
                    <a:lnTo>
                      <a:pt x="1209" y="1211"/>
                    </a:lnTo>
                    <a:lnTo>
                      <a:pt x="1226" y="1213"/>
                    </a:lnTo>
                    <a:lnTo>
                      <a:pt x="1221" y="1203"/>
                    </a:lnTo>
                    <a:lnTo>
                      <a:pt x="1231" y="1202"/>
                    </a:lnTo>
                    <a:lnTo>
                      <a:pt x="1253" y="1224"/>
                    </a:lnTo>
                    <a:lnTo>
                      <a:pt x="1260" y="1224"/>
                    </a:lnTo>
                    <a:lnTo>
                      <a:pt x="1252" y="1204"/>
                    </a:lnTo>
                    <a:lnTo>
                      <a:pt x="1260" y="1205"/>
                    </a:lnTo>
                    <a:lnTo>
                      <a:pt x="1247" y="1192"/>
                    </a:lnTo>
                    <a:lnTo>
                      <a:pt x="1253" y="1183"/>
                    </a:lnTo>
                    <a:lnTo>
                      <a:pt x="1265" y="1192"/>
                    </a:lnTo>
                    <a:lnTo>
                      <a:pt x="1277" y="1194"/>
                    </a:lnTo>
                    <a:lnTo>
                      <a:pt x="1279" y="1211"/>
                    </a:lnTo>
                    <a:lnTo>
                      <a:pt x="1272" y="1220"/>
                    </a:lnTo>
                    <a:lnTo>
                      <a:pt x="1288" y="1224"/>
                    </a:lnTo>
                    <a:lnTo>
                      <a:pt x="1317" y="1245"/>
                    </a:lnTo>
                    <a:lnTo>
                      <a:pt x="1329" y="1251"/>
                    </a:lnTo>
                    <a:lnTo>
                      <a:pt x="1333" y="1272"/>
                    </a:lnTo>
                    <a:lnTo>
                      <a:pt x="1350" y="1272"/>
                    </a:lnTo>
                    <a:lnTo>
                      <a:pt x="1362" y="1265"/>
                    </a:lnTo>
                    <a:lnTo>
                      <a:pt x="1358" y="1283"/>
                    </a:lnTo>
                    <a:lnTo>
                      <a:pt x="1362" y="1306"/>
                    </a:lnTo>
                    <a:lnTo>
                      <a:pt x="1366" y="1315"/>
                    </a:lnTo>
                    <a:lnTo>
                      <a:pt x="1384" y="1340"/>
                    </a:lnTo>
                    <a:lnTo>
                      <a:pt x="1400" y="1332"/>
                    </a:lnTo>
                    <a:lnTo>
                      <a:pt x="1403" y="1343"/>
                    </a:lnTo>
                    <a:lnTo>
                      <a:pt x="1395" y="1359"/>
                    </a:lnTo>
                    <a:lnTo>
                      <a:pt x="1405" y="1375"/>
                    </a:lnTo>
                    <a:lnTo>
                      <a:pt x="1422" y="1365"/>
                    </a:lnTo>
                    <a:lnTo>
                      <a:pt x="1430" y="1388"/>
                    </a:lnTo>
                    <a:lnTo>
                      <a:pt x="1442" y="1380"/>
                    </a:lnTo>
                    <a:lnTo>
                      <a:pt x="1446" y="1392"/>
                    </a:lnTo>
                    <a:lnTo>
                      <a:pt x="1451" y="1403"/>
                    </a:lnTo>
                    <a:lnTo>
                      <a:pt x="1459" y="1409"/>
                    </a:lnTo>
                    <a:lnTo>
                      <a:pt x="1465" y="1386"/>
                    </a:lnTo>
                    <a:lnTo>
                      <a:pt x="1466" y="1374"/>
                    </a:lnTo>
                    <a:lnTo>
                      <a:pt x="1470" y="1359"/>
                    </a:lnTo>
                    <a:lnTo>
                      <a:pt x="1479" y="1358"/>
                    </a:lnTo>
                    <a:lnTo>
                      <a:pt x="1475" y="1339"/>
                    </a:lnTo>
                    <a:lnTo>
                      <a:pt x="1466" y="1311"/>
                    </a:lnTo>
                    <a:lnTo>
                      <a:pt x="1468" y="1297"/>
                    </a:lnTo>
                    <a:lnTo>
                      <a:pt x="1491" y="1320"/>
                    </a:lnTo>
                    <a:lnTo>
                      <a:pt x="1506" y="1321"/>
                    </a:lnTo>
                    <a:lnTo>
                      <a:pt x="1508" y="1310"/>
                    </a:lnTo>
                    <a:lnTo>
                      <a:pt x="1512" y="1299"/>
                    </a:lnTo>
                    <a:lnTo>
                      <a:pt x="1523" y="1294"/>
                    </a:lnTo>
                    <a:lnTo>
                      <a:pt x="1524" y="1269"/>
                    </a:lnTo>
                    <a:lnTo>
                      <a:pt x="1541" y="1263"/>
                    </a:lnTo>
                    <a:lnTo>
                      <a:pt x="1533" y="1251"/>
                    </a:lnTo>
                    <a:lnTo>
                      <a:pt x="1512" y="1254"/>
                    </a:lnTo>
                    <a:lnTo>
                      <a:pt x="1514" y="1241"/>
                    </a:lnTo>
                    <a:lnTo>
                      <a:pt x="1527" y="1242"/>
                    </a:lnTo>
                    <a:lnTo>
                      <a:pt x="1529" y="1229"/>
                    </a:lnTo>
                    <a:lnTo>
                      <a:pt x="1513" y="1224"/>
                    </a:lnTo>
                    <a:lnTo>
                      <a:pt x="1525" y="1218"/>
                    </a:lnTo>
                    <a:lnTo>
                      <a:pt x="1549" y="1232"/>
                    </a:lnTo>
                    <a:lnTo>
                      <a:pt x="1562" y="1232"/>
                    </a:lnTo>
                    <a:lnTo>
                      <a:pt x="1567" y="1224"/>
                    </a:lnTo>
                    <a:lnTo>
                      <a:pt x="1557" y="1211"/>
                    </a:lnTo>
                    <a:lnTo>
                      <a:pt x="1560" y="1207"/>
                    </a:lnTo>
                    <a:lnTo>
                      <a:pt x="1564" y="1197"/>
                    </a:lnTo>
                    <a:lnTo>
                      <a:pt x="1573" y="1193"/>
                    </a:lnTo>
                    <a:lnTo>
                      <a:pt x="1581" y="1182"/>
                    </a:lnTo>
                    <a:lnTo>
                      <a:pt x="1573" y="1165"/>
                    </a:lnTo>
                    <a:lnTo>
                      <a:pt x="1555" y="1144"/>
                    </a:lnTo>
                    <a:lnTo>
                      <a:pt x="1544" y="1139"/>
                    </a:lnTo>
                    <a:lnTo>
                      <a:pt x="1535" y="1132"/>
                    </a:lnTo>
                    <a:lnTo>
                      <a:pt x="1523" y="1134"/>
                    </a:lnTo>
                    <a:lnTo>
                      <a:pt x="1513" y="1130"/>
                    </a:lnTo>
                    <a:lnTo>
                      <a:pt x="1496" y="1132"/>
                    </a:lnTo>
                    <a:lnTo>
                      <a:pt x="1474" y="1144"/>
                    </a:lnTo>
                    <a:lnTo>
                      <a:pt x="1480" y="1112"/>
                    </a:lnTo>
                    <a:lnTo>
                      <a:pt x="1490" y="1100"/>
                    </a:lnTo>
                    <a:lnTo>
                      <a:pt x="1489" y="1089"/>
                    </a:lnTo>
                    <a:lnTo>
                      <a:pt x="1478" y="1087"/>
                    </a:lnTo>
                    <a:lnTo>
                      <a:pt x="1471" y="1095"/>
                    </a:lnTo>
                    <a:lnTo>
                      <a:pt x="1439" y="1100"/>
                    </a:lnTo>
                    <a:lnTo>
                      <a:pt x="1426" y="1098"/>
                    </a:lnTo>
                    <a:lnTo>
                      <a:pt x="1435" y="1091"/>
                    </a:lnTo>
                    <a:lnTo>
                      <a:pt x="1422" y="1087"/>
                    </a:lnTo>
                    <a:lnTo>
                      <a:pt x="1427" y="1081"/>
                    </a:lnTo>
                    <a:lnTo>
                      <a:pt x="1441" y="1080"/>
                    </a:lnTo>
                    <a:lnTo>
                      <a:pt x="1441" y="1070"/>
                    </a:lnTo>
                    <a:lnTo>
                      <a:pt x="1423" y="1035"/>
                    </a:lnTo>
                    <a:lnTo>
                      <a:pt x="1416" y="1022"/>
                    </a:lnTo>
                    <a:lnTo>
                      <a:pt x="1410" y="1017"/>
                    </a:lnTo>
                    <a:lnTo>
                      <a:pt x="1401" y="1011"/>
                    </a:lnTo>
                    <a:lnTo>
                      <a:pt x="1379" y="1016"/>
                    </a:lnTo>
                    <a:lnTo>
                      <a:pt x="1374" y="1010"/>
                    </a:lnTo>
                    <a:lnTo>
                      <a:pt x="1377" y="999"/>
                    </a:lnTo>
                    <a:lnTo>
                      <a:pt x="1382" y="993"/>
                    </a:lnTo>
                    <a:lnTo>
                      <a:pt x="1383" y="979"/>
                    </a:lnTo>
                    <a:lnTo>
                      <a:pt x="1363" y="984"/>
                    </a:lnTo>
                    <a:lnTo>
                      <a:pt x="1342" y="985"/>
                    </a:lnTo>
                    <a:lnTo>
                      <a:pt x="1329" y="1000"/>
                    </a:lnTo>
                    <a:lnTo>
                      <a:pt x="1323" y="989"/>
                    </a:lnTo>
                    <a:lnTo>
                      <a:pt x="1312" y="985"/>
                    </a:lnTo>
                    <a:lnTo>
                      <a:pt x="1314" y="976"/>
                    </a:lnTo>
                    <a:lnTo>
                      <a:pt x="1324" y="968"/>
                    </a:lnTo>
                    <a:lnTo>
                      <a:pt x="1315" y="952"/>
                    </a:lnTo>
                    <a:lnTo>
                      <a:pt x="1297" y="957"/>
                    </a:lnTo>
                    <a:lnTo>
                      <a:pt x="1283" y="958"/>
                    </a:lnTo>
                    <a:lnTo>
                      <a:pt x="1279" y="952"/>
                    </a:lnTo>
                    <a:lnTo>
                      <a:pt x="1285" y="940"/>
                    </a:lnTo>
                    <a:lnTo>
                      <a:pt x="1288" y="929"/>
                    </a:lnTo>
                    <a:lnTo>
                      <a:pt x="1279" y="923"/>
                    </a:lnTo>
                    <a:lnTo>
                      <a:pt x="1252" y="918"/>
                    </a:lnTo>
                    <a:lnTo>
                      <a:pt x="1216" y="908"/>
                    </a:lnTo>
                    <a:lnTo>
                      <a:pt x="1204" y="902"/>
                    </a:lnTo>
                    <a:lnTo>
                      <a:pt x="1199" y="893"/>
                    </a:lnTo>
                    <a:lnTo>
                      <a:pt x="1215" y="893"/>
                    </a:lnTo>
                    <a:lnTo>
                      <a:pt x="1216" y="885"/>
                    </a:lnTo>
                    <a:lnTo>
                      <a:pt x="1233" y="882"/>
                    </a:lnTo>
                    <a:lnTo>
                      <a:pt x="1224" y="875"/>
                    </a:lnTo>
                    <a:lnTo>
                      <a:pt x="1226" y="870"/>
                    </a:lnTo>
                    <a:lnTo>
                      <a:pt x="1209" y="852"/>
                    </a:lnTo>
                    <a:lnTo>
                      <a:pt x="1210" y="842"/>
                    </a:lnTo>
                    <a:lnTo>
                      <a:pt x="1228" y="843"/>
                    </a:lnTo>
                    <a:lnTo>
                      <a:pt x="1231" y="836"/>
                    </a:lnTo>
                    <a:lnTo>
                      <a:pt x="1220" y="826"/>
                    </a:lnTo>
                    <a:lnTo>
                      <a:pt x="1202" y="815"/>
                    </a:lnTo>
                    <a:lnTo>
                      <a:pt x="1188" y="816"/>
                    </a:lnTo>
                    <a:lnTo>
                      <a:pt x="1186" y="807"/>
                    </a:lnTo>
                    <a:lnTo>
                      <a:pt x="1202" y="804"/>
                    </a:lnTo>
                    <a:lnTo>
                      <a:pt x="1207" y="807"/>
                    </a:lnTo>
                    <a:lnTo>
                      <a:pt x="1215" y="804"/>
                    </a:lnTo>
                    <a:lnTo>
                      <a:pt x="1215" y="791"/>
                    </a:lnTo>
                    <a:lnTo>
                      <a:pt x="1248" y="812"/>
                    </a:lnTo>
                    <a:lnTo>
                      <a:pt x="1263" y="812"/>
                    </a:lnTo>
                    <a:lnTo>
                      <a:pt x="1280" y="805"/>
                    </a:lnTo>
                    <a:lnTo>
                      <a:pt x="1295" y="811"/>
                    </a:lnTo>
                    <a:lnTo>
                      <a:pt x="1299" y="802"/>
                    </a:lnTo>
                    <a:lnTo>
                      <a:pt x="1299" y="793"/>
                    </a:lnTo>
                    <a:lnTo>
                      <a:pt x="1286" y="779"/>
                    </a:lnTo>
                    <a:lnTo>
                      <a:pt x="1269" y="768"/>
                    </a:lnTo>
                    <a:lnTo>
                      <a:pt x="1249" y="766"/>
                    </a:lnTo>
                    <a:lnTo>
                      <a:pt x="1228" y="767"/>
                    </a:lnTo>
                    <a:lnTo>
                      <a:pt x="1211" y="757"/>
                    </a:lnTo>
                    <a:lnTo>
                      <a:pt x="1206" y="769"/>
                    </a:lnTo>
                    <a:lnTo>
                      <a:pt x="1191" y="752"/>
                    </a:lnTo>
                    <a:lnTo>
                      <a:pt x="1178" y="743"/>
                    </a:lnTo>
                    <a:lnTo>
                      <a:pt x="1169" y="751"/>
                    </a:lnTo>
                    <a:lnTo>
                      <a:pt x="1180" y="735"/>
                    </a:lnTo>
                    <a:lnTo>
                      <a:pt x="1201" y="736"/>
                    </a:lnTo>
                    <a:lnTo>
                      <a:pt x="1215" y="729"/>
                    </a:lnTo>
                    <a:lnTo>
                      <a:pt x="1222" y="716"/>
                    </a:lnTo>
                    <a:lnTo>
                      <a:pt x="1238" y="713"/>
                    </a:lnTo>
                    <a:lnTo>
                      <a:pt x="1258" y="723"/>
                    </a:lnTo>
                    <a:lnTo>
                      <a:pt x="1267" y="705"/>
                    </a:lnTo>
                    <a:lnTo>
                      <a:pt x="1261" y="691"/>
                    </a:lnTo>
                    <a:lnTo>
                      <a:pt x="1226" y="641"/>
                    </a:lnTo>
                    <a:lnTo>
                      <a:pt x="1207" y="632"/>
                    </a:lnTo>
                    <a:lnTo>
                      <a:pt x="1200" y="646"/>
                    </a:lnTo>
                    <a:lnTo>
                      <a:pt x="1201" y="661"/>
                    </a:lnTo>
                    <a:lnTo>
                      <a:pt x="1185" y="673"/>
                    </a:lnTo>
                    <a:lnTo>
                      <a:pt x="1178" y="688"/>
                    </a:lnTo>
                    <a:lnTo>
                      <a:pt x="1161" y="687"/>
                    </a:lnTo>
                    <a:lnTo>
                      <a:pt x="1178" y="661"/>
                    </a:lnTo>
                    <a:lnTo>
                      <a:pt x="1178" y="649"/>
                    </a:lnTo>
                    <a:lnTo>
                      <a:pt x="1142" y="651"/>
                    </a:lnTo>
                    <a:lnTo>
                      <a:pt x="1130" y="660"/>
                    </a:lnTo>
                    <a:lnTo>
                      <a:pt x="1125" y="653"/>
                    </a:lnTo>
                    <a:lnTo>
                      <a:pt x="1140" y="640"/>
                    </a:lnTo>
                    <a:lnTo>
                      <a:pt x="1169" y="628"/>
                    </a:lnTo>
                    <a:lnTo>
                      <a:pt x="1178" y="606"/>
                    </a:lnTo>
                    <a:lnTo>
                      <a:pt x="1188" y="619"/>
                    </a:lnTo>
                    <a:lnTo>
                      <a:pt x="1190" y="606"/>
                    </a:lnTo>
                    <a:lnTo>
                      <a:pt x="1190" y="585"/>
                    </a:lnTo>
                    <a:lnTo>
                      <a:pt x="1154" y="570"/>
                    </a:lnTo>
                    <a:lnTo>
                      <a:pt x="1143" y="560"/>
                    </a:lnTo>
                    <a:lnTo>
                      <a:pt x="1131" y="557"/>
                    </a:lnTo>
                    <a:lnTo>
                      <a:pt x="1111" y="563"/>
                    </a:lnTo>
                    <a:lnTo>
                      <a:pt x="1099" y="580"/>
                    </a:lnTo>
                    <a:lnTo>
                      <a:pt x="1093" y="585"/>
                    </a:lnTo>
                    <a:lnTo>
                      <a:pt x="1083" y="597"/>
                    </a:lnTo>
                    <a:lnTo>
                      <a:pt x="1083" y="591"/>
                    </a:lnTo>
                    <a:lnTo>
                      <a:pt x="1089" y="575"/>
                    </a:lnTo>
                    <a:lnTo>
                      <a:pt x="1102" y="563"/>
                    </a:lnTo>
                    <a:lnTo>
                      <a:pt x="1110" y="542"/>
                    </a:lnTo>
                    <a:lnTo>
                      <a:pt x="1102" y="546"/>
                    </a:lnTo>
                    <a:lnTo>
                      <a:pt x="1091" y="556"/>
                    </a:lnTo>
                    <a:lnTo>
                      <a:pt x="1076" y="560"/>
                    </a:lnTo>
                    <a:lnTo>
                      <a:pt x="1057" y="575"/>
                    </a:lnTo>
                    <a:lnTo>
                      <a:pt x="1059" y="564"/>
                    </a:lnTo>
                    <a:lnTo>
                      <a:pt x="1066" y="552"/>
                    </a:lnTo>
                    <a:lnTo>
                      <a:pt x="1075" y="528"/>
                    </a:lnTo>
                    <a:lnTo>
                      <a:pt x="1071" y="509"/>
                    </a:lnTo>
                    <a:lnTo>
                      <a:pt x="1060" y="506"/>
                    </a:lnTo>
                    <a:lnTo>
                      <a:pt x="1044" y="520"/>
                    </a:lnTo>
                    <a:lnTo>
                      <a:pt x="1028" y="525"/>
                    </a:lnTo>
                    <a:lnTo>
                      <a:pt x="1021" y="513"/>
                    </a:lnTo>
                    <a:lnTo>
                      <a:pt x="990" y="506"/>
                    </a:lnTo>
                    <a:lnTo>
                      <a:pt x="1018" y="500"/>
                    </a:lnTo>
                    <a:lnTo>
                      <a:pt x="1034" y="501"/>
                    </a:lnTo>
                    <a:lnTo>
                      <a:pt x="1041" y="489"/>
                    </a:lnTo>
                    <a:lnTo>
                      <a:pt x="1048" y="477"/>
                    </a:lnTo>
                    <a:lnTo>
                      <a:pt x="1041" y="455"/>
                    </a:lnTo>
                    <a:lnTo>
                      <a:pt x="1028" y="431"/>
                    </a:lnTo>
                    <a:lnTo>
                      <a:pt x="986" y="412"/>
                    </a:lnTo>
                    <a:lnTo>
                      <a:pt x="968" y="393"/>
                    </a:lnTo>
                    <a:lnTo>
                      <a:pt x="965" y="395"/>
                    </a:lnTo>
                    <a:lnTo>
                      <a:pt x="962" y="412"/>
                    </a:lnTo>
                    <a:lnTo>
                      <a:pt x="949" y="425"/>
                    </a:lnTo>
                    <a:lnTo>
                      <a:pt x="935" y="419"/>
                    </a:lnTo>
                    <a:lnTo>
                      <a:pt x="922" y="423"/>
                    </a:lnTo>
                    <a:lnTo>
                      <a:pt x="928" y="454"/>
                    </a:lnTo>
                    <a:lnTo>
                      <a:pt x="927" y="463"/>
                    </a:lnTo>
                    <a:lnTo>
                      <a:pt x="926" y="455"/>
                    </a:lnTo>
                    <a:lnTo>
                      <a:pt x="914" y="457"/>
                    </a:lnTo>
                    <a:lnTo>
                      <a:pt x="912" y="452"/>
                    </a:lnTo>
                    <a:lnTo>
                      <a:pt x="904" y="443"/>
                    </a:lnTo>
                    <a:lnTo>
                      <a:pt x="906" y="419"/>
                    </a:lnTo>
                    <a:lnTo>
                      <a:pt x="896" y="418"/>
                    </a:lnTo>
                    <a:lnTo>
                      <a:pt x="882" y="438"/>
                    </a:lnTo>
                    <a:lnTo>
                      <a:pt x="895" y="408"/>
                    </a:lnTo>
                    <a:lnTo>
                      <a:pt x="912" y="385"/>
                    </a:lnTo>
                    <a:lnTo>
                      <a:pt x="910" y="379"/>
                    </a:lnTo>
                    <a:lnTo>
                      <a:pt x="883" y="385"/>
                    </a:lnTo>
                    <a:lnTo>
                      <a:pt x="867" y="385"/>
                    </a:lnTo>
                    <a:lnTo>
                      <a:pt x="851" y="406"/>
                    </a:lnTo>
                    <a:lnTo>
                      <a:pt x="844" y="411"/>
                    </a:lnTo>
                    <a:lnTo>
                      <a:pt x="845" y="391"/>
                    </a:lnTo>
                    <a:lnTo>
                      <a:pt x="829" y="401"/>
                    </a:lnTo>
                    <a:lnTo>
                      <a:pt x="846" y="381"/>
                    </a:lnTo>
                    <a:lnTo>
                      <a:pt x="863" y="370"/>
                    </a:lnTo>
                    <a:lnTo>
                      <a:pt x="871" y="357"/>
                    </a:lnTo>
                    <a:lnTo>
                      <a:pt x="867" y="334"/>
                    </a:lnTo>
                    <a:lnTo>
                      <a:pt x="846" y="328"/>
                    </a:lnTo>
                    <a:lnTo>
                      <a:pt x="825" y="328"/>
                    </a:lnTo>
                    <a:lnTo>
                      <a:pt x="819" y="322"/>
                    </a:lnTo>
                    <a:lnTo>
                      <a:pt x="831" y="305"/>
                    </a:lnTo>
                    <a:lnTo>
                      <a:pt x="828" y="289"/>
                    </a:lnTo>
                    <a:lnTo>
                      <a:pt x="818" y="266"/>
                    </a:lnTo>
                    <a:lnTo>
                      <a:pt x="808" y="259"/>
                    </a:lnTo>
                    <a:lnTo>
                      <a:pt x="812" y="250"/>
                    </a:lnTo>
                    <a:lnTo>
                      <a:pt x="791" y="240"/>
                    </a:lnTo>
                    <a:lnTo>
                      <a:pt x="771" y="239"/>
                    </a:lnTo>
                    <a:lnTo>
                      <a:pt x="712" y="209"/>
                    </a:lnTo>
                    <a:lnTo>
                      <a:pt x="685" y="208"/>
                    </a:lnTo>
                    <a:lnTo>
                      <a:pt x="656" y="221"/>
                    </a:lnTo>
                    <a:lnTo>
                      <a:pt x="631" y="245"/>
                    </a:lnTo>
                    <a:lnTo>
                      <a:pt x="630" y="266"/>
                    </a:lnTo>
                    <a:lnTo>
                      <a:pt x="646" y="280"/>
                    </a:lnTo>
                    <a:lnTo>
                      <a:pt x="634" y="285"/>
                    </a:lnTo>
                    <a:lnTo>
                      <a:pt x="618" y="285"/>
                    </a:lnTo>
                    <a:lnTo>
                      <a:pt x="607" y="300"/>
                    </a:lnTo>
                    <a:lnTo>
                      <a:pt x="588" y="274"/>
                    </a:lnTo>
                    <a:lnTo>
                      <a:pt x="575" y="289"/>
                    </a:lnTo>
                    <a:lnTo>
                      <a:pt x="565" y="283"/>
                    </a:lnTo>
                    <a:lnTo>
                      <a:pt x="566" y="267"/>
                    </a:lnTo>
                    <a:lnTo>
                      <a:pt x="562" y="251"/>
                    </a:lnTo>
                    <a:lnTo>
                      <a:pt x="550" y="275"/>
                    </a:lnTo>
                    <a:lnTo>
                      <a:pt x="550" y="283"/>
                    </a:lnTo>
                    <a:lnTo>
                      <a:pt x="545" y="306"/>
                    </a:lnTo>
                    <a:lnTo>
                      <a:pt x="537" y="304"/>
                    </a:lnTo>
                    <a:lnTo>
                      <a:pt x="533" y="322"/>
                    </a:lnTo>
                    <a:lnTo>
                      <a:pt x="519" y="344"/>
                    </a:lnTo>
                    <a:lnTo>
                      <a:pt x="503" y="357"/>
                    </a:lnTo>
                    <a:lnTo>
                      <a:pt x="506" y="347"/>
                    </a:lnTo>
                    <a:lnTo>
                      <a:pt x="498" y="336"/>
                    </a:lnTo>
                    <a:lnTo>
                      <a:pt x="503" y="325"/>
                    </a:lnTo>
                    <a:lnTo>
                      <a:pt x="517" y="328"/>
                    </a:lnTo>
                    <a:lnTo>
                      <a:pt x="519" y="323"/>
                    </a:lnTo>
                    <a:lnTo>
                      <a:pt x="511" y="312"/>
                    </a:lnTo>
                    <a:lnTo>
                      <a:pt x="506" y="312"/>
                    </a:lnTo>
                    <a:lnTo>
                      <a:pt x="512" y="289"/>
                    </a:lnTo>
                    <a:lnTo>
                      <a:pt x="518" y="274"/>
                    </a:lnTo>
                    <a:lnTo>
                      <a:pt x="528" y="230"/>
                    </a:lnTo>
                    <a:lnTo>
                      <a:pt x="534" y="212"/>
                    </a:lnTo>
                    <a:lnTo>
                      <a:pt x="518" y="196"/>
                    </a:lnTo>
                    <a:lnTo>
                      <a:pt x="510" y="176"/>
                    </a:lnTo>
                    <a:lnTo>
                      <a:pt x="508" y="167"/>
                    </a:lnTo>
                    <a:lnTo>
                      <a:pt x="518" y="159"/>
                    </a:lnTo>
                    <a:lnTo>
                      <a:pt x="519" y="148"/>
                    </a:lnTo>
                    <a:lnTo>
                      <a:pt x="512" y="134"/>
                    </a:lnTo>
                    <a:lnTo>
                      <a:pt x="496" y="122"/>
                    </a:lnTo>
                    <a:lnTo>
                      <a:pt x="475" y="115"/>
                    </a:lnTo>
                    <a:lnTo>
                      <a:pt x="489" y="99"/>
                    </a:lnTo>
                    <a:lnTo>
                      <a:pt x="484" y="47"/>
                    </a:lnTo>
                    <a:lnTo>
                      <a:pt x="475" y="33"/>
                    </a:lnTo>
                    <a:lnTo>
                      <a:pt x="470" y="22"/>
                    </a:lnTo>
                    <a:lnTo>
                      <a:pt x="417" y="26"/>
                    </a:lnTo>
                    <a:lnTo>
                      <a:pt x="401" y="25"/>
                    </a:lnTo>
                    <a:lnTo>
                      <a:pt x="390" y="33"/>
                    </a:lnTo>
                    <a:lnTo>
                      <a:pt x="378" y="37"/>
                    </a:lnTo>
                    <a:lnTo>
                      <a:pt x="358" y="49"/>
                    </a:lnTo>
                    <a:lnTo>
                      <a:pt x="339" y="68"/>
                    </a:lnTo>
                    <a:lnTo>
                      <a:pt x="355" y="84"/>
                    </a:lnTo>
                    <a:lnTo>
                      <a:pt x="351" y="103"/>
                    </a:lnTo>
                    <a:lnTo>
                      <a:pt x="347" y="92"/>
                    </a:lnTo>
                    <a:lnTo>
                      <a:pt x="340" y="80"/>
                    </a:lnTo>
                    <a:lnTo>
                      <a:pt x="325" y="73"/>
                    </a:lnTo>
                    <a:lnTo>
                      <a:pt x="307" y="81"/>
                    </a:lnTo>
                    <a:lnTo>
                      <a:pt x="304" y="94"/>
                    </a:lnTo>
                    <a:lnTo>
                      <a:pt x="313" y="118"/>
                    </a:lnTo>
                    <a:lnTo>
                      <a:pt x="303" y="112"/>
                    </a:lnTo>
                    <a:lnTo>
                      <a:pt x="291" y="94"/>
                    </a:lnTo>
                    <a:lnTo>
                      <a:pt x="277" y="97"/>
                    </a:lnTo>
                    <a:lnTo>
                      <a:pt x="272" y="115"/>
                    </a:lnTo>
                    <a:lnTo>
                      <a:pt x="285" y="131"/>
                    </a:lnTo>
                    <a:lnTo>
                      <a:pt x="344" y="153"/>
                    </a:lnTo>
                    <a:lnTo>
                      <a:pt x="341" y="160"/>
                    </a:lnTo>
                    <a:lnTo>
                      <a:pt x="324" y="156"/>
                    </a:lnTo>
                    <a:lnTo>
                      <a:pt x="266" y="138"/>
                    </a:lnTo>
                    <a:lnTo>
                      <a:pt x="264" y="148"/>
                    </a:lnTo>
                    <a:lnTo>
                      <a:pt x="258" y="144"/>
                    </a:lnTo>
                    <a:lnTo>
                      <a:pt x="250" y="148"/>
                    </a:lnTo>
                    <a:lnTo>
                      <a:pt x="261" y="156"/>
                    </a:lnTo>
                    <a:lnTo>
                      <a:pt x="276" y="160"/>
                    </a:lnTo>
                    <a:lnTo>
                      <a:pt x="293" y="177"/>
                    </a:lnTo>
                    <a:lnTo>
                      <a:pt x="312" y="186"/>
                    </a:lnTo>
                    <a:lnTo>
                      <a:pt x="331" y="204"/>
                    </a:lnTo>
                    <a:lnTo>
                      <a:pt x="319" y="207"/>
                    </a:lnTo>
                    <a:lnTo>
                      <a:pt x="280" y="176"/>
                    </a:lnTo>
                    <a:lnTo>
                      <a:pt x="255" y="170"/>
                    </a:lnTo>
                    <a:lnTo>
                      <a:pt x="243" y="171"/>
                    </a:lnTo>
                    <a:lnTo>
                      <a:pt x="238" y="181"/>
                    </a:lnTo>
                    <a:lnTo>
                      <a:pt x="239" y="210"/>
                    </a:lnTo>
                    <a:lnTo>
                      <a:pt x="248" y="237"/>
                    </a:lnTo>
                    <a:lnTo>
                      <a:pt x="243" y="246"/>
                    </a:lnTo>
                    <a:lnTo>
                      <a:pt x="250" y="263"/>
                    </a:lnTo>
                    <a:lnTo>
                      <a:pt x="269" y="274"/>
                    </a:lnTo>
                    <a:lnTo>
                      <a:pt x="279" y="274"/>
                    </a:lnTo>
                    <a:lnTo>
                      <a:pt x="285" y="268"/>
                    </a:lnTo>
                    <a:lnTo>
                      <a:pt x="288" y="273"/>
                    </a:lnTo>
                    <a:lnTo>
                      <a:pt x="282" y="291"/>
                    </a:lnTo>
                    <a:lnTo>
                      <a:pt x="272" y="302"/>
                    </a:lnTo>
                    <a:lnTo>
                      <a:pt x="254" y="299"/>
                    </a:lnTo>
                    <a:lnTo>
                      <a:pt x="249" y="314"/>
                    </a:lnTo>
                    <a:lnTo>
                      <a:pt x="248" y="325"/>
                    </a:lnTo>
                    <a:lnTo>
                      <a:pt x="226" y="343"/>
                    </a:lnTo>
                    <a:lnTo>
                      <a:pt x="229" y="354"/>
                    </a:lnTo>
                    <a:lnTo>
                      <a:pt x="245" y="364"/>
                    </a:lnTo>
                    <a:lnTo>
                      <a:pt x="245" y="381"/>
                    </a:lnTo>
                    <a:lnTo>
                      <a:pt x="259" y="398"/>
                    </a:lnTo>
                    <a:lnTo>
                      <a:pt x="280" y="406"/>
                    </a:lnTo>
                    <a:lnTo>
                      <a:pt x="295" y="406"/>
                    </a:lnTo>
                    <a:lnTo>
                      <a:pt x="298" y="419"/>
                    </a:lnTo>
                    <a:lnTo>
                      <a:pt x="295" y="441"/>
                    </a:lnTo>
                    <a:lnTo>
                      <a:pt x="295" y="447"/>
                    </a:lnTo>
                    <a:lnTo>
                      <a:pt x="290" y="455"/>
                    </a:lnTo>
                    <a:lnTo>
                      <a:pt x="291" y="471"/>
                    </a:lnTo>
                    <a:lnTo>
                      <a:pt x="290" y="485"/>
                    </a:lnTo>
                    <a:lnTo>
                      <a:pt x="288" y="504"/>
                    </a:lnTo>
                    <a:lnTo>
                      <a:pt x="281" y="525"/>
                    </a:lnTo>
                    <a:lnTo>
                      <a:pt x="275" y="519"/>
                    </a:lnTo>
                    <a:lnTo>
                      <a:pt x="277" y="500"/>
                    </a:lnTo>
                    <a:lnTo>
                      <a:pt x="281" y="490"/>
                    </a:lnTo>
                    <a:lnTo>
                      <a:pt x="277" y="485"/>
                    </a:lnTo>
                    <a:lnTo>
                      <a:pt x="271" y="489"/>
                    </a:lnTo>
                    <a:lnTo>
                      <a:pt x="254" y="487"/>
                    </a:lnTo>
                    <a:lnTo>
                      <a:pt x="242" y="490"/>
                    </a:lnTo>
                    <a:lnTo>
                      <a:pt x="227" y="498"/>
                    </a:lnTo>
                    <a:lnTo>
                      <a:pt x="207" y="515"/>
                    </a:lnTo>
                    <a:lnTo>
                      <a:pt x="190" y="513"/>
                    </a:lnTo>
                    <a:lnTo>
                      <a:pt x="215" y="495"/>
                    </a:lnTo>
                    <a:lnTo>
                      <a:pt x="227" y="481"/>
                    </a:lnTo>
                    <a:lnTo>
                      <a:pt x="252" y="476"/>
                    </a:lnTo>
                    <a:lnTo>
                      <a:pt x="256" y="470"/>
                    </a:lnTo>
                    <a:lnTo>
                      <a:pt x="268" y="465"/>
                    </a:lnTo>
                    <a:lnTo>
                      <a:pt x="281" y="467"/>
                    </a:lnTo>
                    <a:lnTo>
                      <a:pt x="281" y="460"/>
                    </a:lnTo>
                    <a:lnTo>
                      <a:pt x="277" y="446"/>
                    </a:lnTo>
                    <a:lnTo>
                      <a:pt x="274" y="438"/>
                    </a:lnTo>
                    <a:lnTo>
                      <a:pt x="255" y="433"/>
                    </a:lnTo>
                    <a:lnTo>
                      <a:pt x="205" y="361"/>
                    </a:lnTo>
                    <a:lnTo>
                      <a:pt x="196" y="334"/>
                    </a:lnTo>
                    <a:lnTo>
                      <a:pt x="198" y="306"/>
                    </a:lnTo>
                    <a:lnTo>
                      <a:pt x="206" y="274"/>
                    </a:lnTo>
                    <a:lnTo>
                      <a:pt x="198" y="252"/>
                    </a:lnTo>
                    <a:lnTo>
                      <a:pt x="185" y="229"/>
                    </a:lnTo>
                    <a:lnTo>
                      <a:pt x="186" y="198"/>
                    </a:lnTo>
                    <a:lnTo>
                      <a:pt x="207" y="155"/>
                    </a:lnTo>
                    <a:lnTo>
                      <a:pt x="211" y="124"/>
                    </a:lnTo>
                    <a:lnTo>
                      <a:pt x="222" y="102"/>
                    </a:lnTo>
                    <a:lnTo>
                      <a:pt x="236" y="88"/>
                    </a:lnTo>
                    <a:lnTo>
                      <a:pt x="247" y="67"/>
                    </a:lnTo>
                    <a:lnTo>
                      <a:pt x="275" y="38"/>
                    </a:lnTo>
                    <a:lnTo>
                      <a:pt x="285" y="25"/>
                    </a:lnTo>
                    <a:lnTo>
                      <a:pt x="285" y="21"/>
                    </a:lnTo>
                    <a:lnTo>
                      <a:pt x="279" y="16"/>
                    </a:lnTo>
                    <a:lnTo>
                      <a:pt x="270" y="8"/>
                    </a:lnTo>
                    <a:lnTo>
                      <a:pt x="206" y="0"/>
                    </a:lnTo>
                    <a:lnTo>
                      <a:pt x="190" y="3"/>
                    </a:lnTo>
                    <a:lnTo>
                      <a:pt x="146" y="20"/>
                    </a:lnTo>
                    <a:lnTo>
                      <a:pt x="114" y="42"/>
                    </a:lnTo>
                    <a:lnTo>
                      <a:pt x="81" y="76"/>
                    </a:lnTo>
                    <a:lnTo>
                      <a:pt x="75" y="101"/>
                    </a:lnTo>
                    <a:lnTo>
                      <a:pt x="61" y="118"/>
                    </a:lnTo>
                    <a:lnTo>
                      <a:pt x="55" y="123"/>
                    </a:lnTo>
                    <a:lnTo>
                      <a:pt x="49" y="134"/>
                    </a:lnTo>
                    <a:lnTo>
                      <a:pt x="44" y="149"/>
                    </a:lnTo>
                    <a:lnTo>
                      <a:pt x="51" y="164"/>
                    </a:lnTo>
                    <a:lnTo>
                      <a:pt x="39" y="172"/>
                    </a:lnTo>
                    <a:lnTo>
                      <a:pt x="38" y="199"/>
                    </a:lnTo>
                    <a:lnTo>
                      <a:pt x="48" y="204"/>
                    </a:lnTo>
                    <a:lnTo>
                      <a:pt x="29" y="204"/>
                    </a:lnTo>
                    <a:lnTo>
                      <a:pt x="24" y="230"/>
                    </a:lnTo>
                    <a:lnTo>
                      <a:pt x="16" y="236"/>
                    </a:lnTo>
                    <a:lnTo>
                      <a:pt x="14" y="261"/>
                    </a:lnTo>
                    <a:lnTo>
                      <a:pt x="7" y="274"/>
                    </a:lnTo>
                    <a:lnTo>
                      <a:pt x="12" y="310"/>
                    </a:lnTo>
                    <a:lnTo>
                      <a:pt x="27" y="310"/>
                    </a:lnTo>
                    <a:lnTo>
                      <a:pt x="17" y="316"/>
                    </a:lnTo>
                    <a:lnTo>
                      <a:pt x="7" y="330"/>
                    </a:lnTo>
                    <a:lnTo>
                      <a:pt x="0" y="347"/>
                    </a:lnTo>
                    <a:lnTo>
                      <a:pt x="7" y="369"/>
                    </a:lnTo>
                    <a:lnTo>
                      <a:pt x="13" y="381"/>
                    </a:lnTo>
                    <a:lnTo>
                      <a:pt x="3" y="401"/>
                    </a:lnTo>
                    <a:lnTo>
                      <a:pt x="3" y="441"/>
                    </a:lnTo>
                    <a:lnTo>
                      <a:pt x="8" y="454"/>
                    </a:lnTo>
                    <a:lnTo>
                      <a:pt x="12" y="460"/>
                    </a:lnTo>
                    <a:lnTo>
                      <a:pt x="62" y="471"/>
                    </a:lnTo>
                    <a:lnTo>
                      <a:pt x="115" y="476"/>
                    </a:lnTo>
                    <a:lnTo>
                      <a:pt x="126" y="490"/>
                    </a:lnTo>
                    <a:lnTo>
                      <a:pt x="145" y="506"/>
                    </a:lnTo>
                    <a:lnTo>
                      <a:pt x="162" y="516"/>
                    </a:lnTo>
                    <a:lnTo>
                      <a:pt x="131" y="528"/>
                    </a:lnTo>
                    <a:lnTo>
                      <a:pt x="107" y="530"/>
                    </a:lnTo>
                    <a:lnTo>
                      <a:pt x="73" y="510"/>
                    </a:lnTo>
                    <a:lnTo>
                      <a:pt x="53" y="509"/>
                    </a:lnTo>
                    <a:lnTo>
                      <a:pt x="37" y="504"/>
                    </a:lnTo>
                    <a:lnTo>
                      <a:pt x="45" y="515"/>
                    </a:lnTo>
                    <a:lnTo>
                      <a:pt x="38" y="532"/>
                    </a:lnTo>
                    <a:lnTo>
                      <a:pt x="48" y="548"/>
                    </a:lnTo>
                    <a:lnTo>
                      <a:pt x="61" y="575"/>
                    </a:lnTo>
                    <a:lnTo>
                      <a:pt x="83" y="602"/>
                    </a:lnTo>
                    <a:lnTo>
                      <a:pt x="118" y="624"/>
                    </a:lnTo>
                    <a:lnTo>
                      <a:pt x="105" y="627"/>
                    </a:lnTo>
                    <a:lnTo>
                      <a:pt x="124" y="634"/>
                    </a:lnTo>
                    <a:lnTo>
                      <a:pt x="126" y="628"/>
                    </a:lnTo>
                    <a:lnTo>
                      <a:pt x="141" y="627"/>
                    </a:lnTo>
                    <a:lnTo>
                      <a:pt x="167" y="632"/>
                    </a:lnTo>
                    <a:lnTo>
                      <a:pt x="186" y="627"/>
                    </a:lnTo>
                    <a:lnTo>
                      <a:pt x="194" y="606"/>
                    </a:lnTo>
                    <a:lnTo>
                      <a:pt x="196" y="635"/>
                    </a:lnTo>
                    <a:lnTo>
                      <a:pt x="209" y="656"/>
                    </a:lnTo>
                    <a:lnTo>
                      <a:pt x="226" y="673"/>
                    </a:lnTo>
                    <a:lnTo>
                      <a:pt x="253" y="682"/>
                    </a:lnTo>
                    <a:lnTo>
                      <a:pt x="265" y="682"/>
                    </a:lnTo>
                    <a:lnTo>
                      <a:pt x="250" y="672"/>
                    </a:lnTo>
                    <a:lnTo>
                      <a:pt x="265" y="670"/>
                    </a:lnTo>
                    <a:lnTo>
                      <a:pt x="292" y="680"/>
                    </a:lnTo>
                    <a:lnTo>
                      <a:pt x="344" y="688"/>
                    </a:lnTo>
                    <a:lnTo>
                      <a:pt x="358" y="696"/>
                    </a:lnTo>
                    <a:lnTo>
                      <a:pt x="360" y="689"/>
                    </a:lnTo>
                    <a:lnTo>
                      <a:pt x="384" y="678"/>
                    </a:lnTo>
                    <a:lnTo>
                      <a:pt x="419" y="702"/>
                    </a:lnTo>
                    <a:lnTo>
                      <a:pt x="435" y="703"/>
                    </a:lnTo>
                    <a:lnTo>
                      <a:pt x="437" y="708"/>
                    </a:lnTo>
                    <a:lnTo>
                      <a:pt x="442" y="700"/>
                    </a:lnTo>
                    <a:lnTo>
                      <a:pt x="441" y="702"/>
                    </a:lnTo>
                    <a:lnTo>
                      <a:pt x="448" y="709"/>
                    </a:lnTo>
                    <a:lnTo>
                      <a:pt x="455" y="693"/>
                    </a:lnTo>
                    <a:lnTo>
                      <a:pt x="469" y="687"/>
                    </a:lnTo>
                    <a:lnTo>
                      <a:pt x="483" y="696"/>
                    </a:lnTo>
                    <a:lnTo>
                      <a:pt x="496" y="718"/>
                    </a:lnTo>
                    <a:lnTo>
                      <a:pt x="506" y="718"/>
                    </a:lnTo>
                    <a:lnTo>
                      <a:pt x="501" y="704"/>
                    </a:lnTo>
                    <a:lnTo>
                      <a:pt x="481" y="680"/>
                    </a:lnTo>
                    <a:lnTo>
                      <a:pt x="462" y="672"/>
                    </a:lnTo>
                    <a:lnTo>
                      <a:pt x="464" y="659"/>
                    </a:lnTo>
                    <a:lnTo>
                      <a:pt x="517" y="676"/>
                    </a:lnTo>
                    <a:lnTo>
                      <a:pt x="530" y="682"/>
                    </a:lnTo>
                    <a:lnTo>
                      <a:pt x="543" y="676"/>
                    </a:lnTo>
                    <a:lnTo>
                      <a:pt x="549" y="682"/>
                    </a:lnTo>
                    <a:lnTo>
                      <a:pt x="556" y="682"/>
                    </a:lnTo>
                    <a:lnTo>
                      <a:pt x="569" y="707"/>
                    </a:lnTo>
                    <a:lnTo>
                      <a:pt x="596" y="698"/>
                    </a:lnTo>
                    <a:lnTo>
                      <a:pt x="618" y="696"/>
                    </a:lnTo>
                    <a:lnTo>
                      <a:pt x="625" y="684"/>
                    </a:lnTo>
                    <a:lnTo>
                      <a:pt x="620" y="659"/>
                    </a:lnTo>
                    <a:lnTo>
                      <a:pt x="605" y="624"/>
                    </a:lnTo>
                    <a:lnTo>
                      <a:pt x="591" y="626"/>
                    </a:lnTo>
                    <a:lnTo>
                      <a:pt x="581" y="618"/>
                    </a:lnTo>
                    <a:lnTo>
                      <a:pt x="593" y="607"/>
                    </a:lnTo>
                    <a:lnTo>
                      <a:pt x="620" y="614"/>
                    </a:lnTo>
                    <a:lnTo>
                      <a:pt x="653" y="649"/>
                    </a:lnTo>
                    <a:lnTo>
                      <a:pt x="658" y="638"/>
                    </a:lnTo>
                    <a:lnTo>
                      <a:pt x="670" y="646"/>
                    </a:lnTo>
                    <a:lnTo>
                      <a:pt x="684" y="643"/>
                    </a:lnTo>
                    <a:lnTo>
                      <a:pt x="685" y="707"/>
                    </a:lnTo>
                    <a:lnTo>
                      <a:pt x="694" y="716"/>
                    </a:lnTo>
                    <a:lnTo>
                      <a:pt x="701" y="700"/>
                    </a:lnTo>
                    <a:lnTo>
                      <a:pt x="711" y="708"/>
                    </a:lnTo>
                    <a:lnTo>
                      <a:pt x="723" y="707"/>
                    </a:lnTo>
                    <a:lnTo>
                      <a:pt x="728" y="714"/>
                    </a:lnTo>
                    <a:lnTo>
                      <a:pt x="727" y="726"/>
                    </a:lnTo>
                    <a:lnTo>
                      <a:pt x="715" y="736"/>
                    </a:lnTo>
                    <a:lnTo>
                      <a:pt x="727" y="737"/>
                    </a:lnTo>
                    <a:lnTo>
                      <a:pt x="738" y="745"/>
                    </a:lnTo>
                    <a:lnTo>
                      <a:pt x="750" y="759"/>
                    </a:lnTo>
                    <a:lnTo>
                      <a:pt x="787" y="793"/>
                    </a:lnTo>
                    <a:lnTo>
                      <a:pt x="792" y="816"/>
                    </a:lnTo>
                    <a:lnTo>
                      <a:pt x="772" y="833"/>
                    </a:lnTo>
                    <a:lnTo>
                      <a:pt x="752" y="828"/>
                    </a:lnTo>
                    <a:lnTo>
                      <a:pt x="737" y="828"/>
                    </a:lnTo>
                    <a:lnTo>
                      <a:pt x="743" y="854"/>
                    </a:lnTo>
                    <a:lnTo>
                      <a:pt x="740" y="887"/>
                    </a:lnTo>
                    <a:lnTo>
                      <a:pt x="761" y="880"/>
                    </a:lnTo>
                    <a:lnTo>
                      <a:pt x="791" y="859"/>
                    </a:lnTo>
                    <a:lnTo>
                      <a:pt x="798" y="843"/>
                    </a:lnTo>
                    <a:lnTo>
                      <a:pt x="812" y="849"/>
                    </a:lnTo>
                    <a:lnTo>
                      <a:pt x="829" y="834"/>
                    </a:lnTo>
                    <a:lnTo>
                      <a:pt x="849" y="829"/>
                    </a:lnTo>
                    <a:lnTo>
                      <a:pt x="868" y="833"/>
                    </a:lnTo>
                    <a:lnTo>
                      <a:pt x="836" y="843"/>
                    </a:lnTo>
                    <a:lnTo>
                      <a:pt x="842" y="848"/>
                    </a:lnTo>
                    <a:lnTo>
                      <a:pt x="835" y="863"/>
                    </a:lnTo>
                    <a:lnTo>
                      <a:pt x="858" y="892"/>
                    </a:lnTo>
                    <a:lnTo>
                      <a:pt x="872" y="906"/>
                    </a:lnTo>
                    <a:lnTo>
                      <a:pt x="878" y="901"/>
                    </a:lnTo>
                    <a:lnTo>
                      <a:pt x="871" y="887"/>
                    </a:lnTo>
                    <a:lnTo>
                      <a:pt x="872" y="877"/>
                    </a:lnTo>
                    <a:lnTo>
                      <a:pt x="892" y="883"/>
                    </a:lnTo>
                    <a:lnTo>
                      <a:pt x="890" y="920"/>
                    </a:lnTo>
                    <a:lnTo>
                      <a:pt x="895" y="936"/>
                    </a:lnTo>
                    <a:lnTo>
                      <a:pt x="912" y="949"/>
                    </a:lnTo>
                    <a:lnTo>
                      <a:pt x="925" y="941"/>
                    </a:lnTo>
                    <a:lnTo>
                      <a:pt x="939" y="963"/>
                    </a:lnTo>
                    <a:lnTo>
                      <a:pt x="942" y="988"/>
                    </a:lnTo>
                    <a:lnTo>
                      <a:pt x="948" y="1004"/>
                    </a:lnTo>
                    <a:lnTo>
                      <a:pt x="955" y="1014"/>
                    </a:lnTo>
                    <a:lnTo>
                      <a:pt x="958" y="1037"/>
                    </a:lnTo>
                    <a:lnTo>
                      <a:pt x="965" y="1049"/>
                    </a:lnTo>
                    <a:lnTo>
                      <a:pt x="967" y="1069"/>
                    </a:lnTo>
                    <a:lnTo>
                      <a:pt x="970" y="1085"/>
                    </a:lnTo>
                    <a:lnTo>
                      <a:pt x="976" y="1089"/>
                    </a:lnTo>
                    <a:lnTo>
                      <a:pt x="971" y="1103"/>
                    </a:lnTo>
                    <a:lnTo>
                      <a:pt x="964" y="1114"/>
                    </a:lnTo>
                    <a:lnTo>
                      <a:pt x="951" y="1121"/>
                    </a:lnTo>
                    <a:lnTo>
                      <a:pt x="942" y="1130"/>
                    </a:lnTo>
                    <a:lnTo>
                      <a:pt x="941" y="1166"/>
                    </a:lnTo>
                    <a:lnTo>
                      <a:pt x="937" y="1170"/>
                    </a:lnTo>
                    <a:lnTo>
                      <a:pt x="924" y="1173"/>
                    </a:lnTo>
                    <a:lnTo>
                      <a:pt x="911" y="1191"/>
                    </a:lnTo>
                    <a:lnTo>
                      <a:pt x="895" y="1204"/>
                    </a:lnTo>
                    <a:lnTo>
                      <a:pt x="882" y="1224"/>
                    </a:lnTo>
                    <a:lnTo>
                      <a:pt x="861" y="1242"/>
                    </a:lnTo>
                    <a:lnTo>
                      <a:pt x="863" y="1254"/>
                    </a:lnTo>
                    <a:lnTo>
                      <a:pt x="877" y="1275"/>
                    </a:lnTo>
                    <a:lnTo>
                      <a:pt x="894" y="1292"/>
                    </a:lnTo>
                    <a:lnTo>
                      <a:pt x="898" y="1310"/>
                    </a:lnTo>
                    <a:lnTo>
                      <a:pt x="908" y="1313"/>
                    </a:lnTo>
                    <a:lnTo>
                      <a:pt x="908" y="1338"/>
                    </a:lnTo>
                    <a:lnTo>
                      <a:pt x="889" y="1328"/>
                    </a:lnTo>
                    <a:lnTo>
                      <a:pt x="888" y="1333"/>
                    </a:lnTo>
                    <a:lnTo>
                      <a:pt x="874" y="1327"/>
                    </a:lnTo>
                    <a:lnTo>
                      <a:pt x="871" y="1334"/>
                    </a:lnTo>
                    <a:lnTo>
                      <a:pt x="862" y="1337"/>
                    </a:lnTo>
                    <a:lnTo>
                      <a:pt x="846" y="1347"/>
                    </a:lnTo>
                    <a:lnTo>
                      <a:pt x="822" y="1347"/>
                    </a:lnTo>
                    <a:lnTo>
                      <a:pt x="820" y="1360"/>
                    </a:lnTo>
                    <a:lnTo>
                      <a:pt x="811" y="1364"/>
                    </a:lnTo>
                    <a:lnTo>
                      <a:pt x="793" y="1354"/>
                    </a:lnTo>
                    <a:lnTo>
                      <a:pt x="765" y="1358"/>
                    </a:lnTo>
                    <a:lnTo>
                      <a:pt x="743" y="1348"/>
                    </a:lnTo>
                    <a:lnTo>
                      <a:pt x="731" y="1348"/>
                    </a:lnTo>
                    <a:lnTo>
                      <a:pt x="718" y="1344"/>
                    </a:lnTo>
                    <a:lnTo>
                      <a:pt x="711" y="1338"/>
                    </a:lnTo>
                    <a:lnTo>
                      <a:pt x="700" y="1339"/>
                    </a:lnTo>
                    <a:lnTo>
                      <a:pt x="707" y="1350"/>
                    </a:lnTo>
                    <a:lnTo>
                      <a:pt x="697" y="1350"/>
                    </a:lnTo>
                    <a:lnTo>
                      <a:pt x="700" y="1374"/>
                    </a:lnTo>
                    <a:lnTo>
                      <a:pt x="688" y="1378"/>
                    </a:lnTo>
                    <a:lnTo>
                      <a:pt x="668" y="1393"/>
                    </a:lnTo>
                    <a:lnTo>
                      <a:pt x="661" y="1408"/>
                    </a:lnTo>
                    <a:lnTo>
                      <a:pt x="658" y="1425"/>
                    </a:lnTo>
                    <a:lnTo>
                      <a:pt x="659" y="1441"/>
                    </a:lnTo>
                    <a:lnTo>
                      <a:pt x="668" y="1462"/>
                    </a:lnTo>
                    <a:lnTo>
                      <a:pt x="680" y="1473"/>
                    </a:lnTo>
                    <a:lnTo>
                      <a:pt x="690" y="1473"/>
                    </a:lnTo>
                    <a:lnTo>
                      <a:pt x="702" y="1488"/>
                    </a:lnTo>
                    <a:lnTo>
                      <a:pt x="710" y="1485"/>
                    </a:lnTo>
                    <a:lnTo>
                      <a:pt x="731" y="1491"/>
                    </a:lnTo>
                    <a:lnTo>
                      <a:pt x="737" y="1496"/>
                    </a:lnTo>
                    <a:lnTo>
                      <a:pt x="739" y="1493"/>
                    </a:lnTo>
                    <a:lnTo>
                      <a:pt x="761" y="1487"/>
                    </a:lnTo>
                    <a:lnTo>
                      <a:pt x="759" y="1478"/>
                    </a:lnTo>
                    <a:lnTo>
                      <a:pt x="776" y="1477"/>
                    </a:lnTo>
                    <a:lnTo>
                      <a:pt x="783" y="1473"/>
                    </a:lnTo>
                    <a:lnTo>
                      <a:pt x="785" y="1463"/>
                    </a:lnTo>
                    <a:lnTo>
                      <a:pt x="780" y="1452"/>
                    </a:lnTo>
                    <a:lnTo>
                      <a:pt x="792" y="1447"/>
                    </a:lnTo>
                    <a:lnTo>
                      <a:pt x="807" y="1447"/>
                    </a:lnTo>
                    <a:lnTo>
                      <a:pt x="812" y="1457"/>
                    </a:lnTo>
                    <a:lnTo>
                      <a:pt x="814" y="1467"/>
                    </a:lnTo>
                    <a:lnTo>
                      <a:pt x="840" y="1468"/>
                    </a:lnTo>
                    <a:lnTo>
                      <a:pt x="849" y="1472"/>
                    </a:lnTo>
                    <a:lnTo>
                      <a:pt x="847" y="1461"/>
                    </a:lnTo>
                    <a:lnTo>
                      <a:pt x="855" y="1453"/>
                    </a:lnTo>
                    <a:lnTo>
                      <a:pt x="857" y="1460"/>
                    </a:lnTo>
                    <a:lnTo>
                      <a:pt x="847" y="1441"/>
                    </a:lnTo>
                    <a:lnTo>
                      <a:pt x="835" y="1436"/>
                    </a:lnTo>
                    <a:lnTo>
                      <a:pt x="834" y="1423"/>
                    </a:lnTo>
                    <a:lnTo>
                      <a:pt x="846" y="1419"/>
                    </a:lnTo>
                    <a:lnTo>
                      <a:pt x="851" y="1413"/>
                    </a:lnTo>
                    <a:lnTo>
                      <a:pt x="851" y="1425"/>
                    </a:lnTo>
                    <a:lnTo>
                      <a:pt x="852" y="1435"/>
                    </a:lnTo>
                    <a:lnTo>
                      <a:pt x="860" y="1426"/>
                    </a:lnTo>
                    <a:lnTo>
                      <a:pt x="862" y="1435"/>
                    </a:lnTo>
                    <a:lnTo>
                      <a:pt x="871" y="1444"/>
                    </a:lnTo>
                    <a:lnTo>
                      <a:pt x="876" y="1439"/>
                    </a:lnTo>
                    <a:lnTo>
                      <a:pt x="885" y="1435"/>
                    </a:lnTo>
                    <a:lnTo>
                      <a:pt x="889" y="1436"/>
                    </a:lnTo>
                    <a:lnTo>
                      <a:pt x="898" y="1450"/>
                    </a:lnTo>
                    <a:lnTo>
                      <a:pt x="906" y="1444"/>
                    </a:lnTo>
                    <a:lnTo>
                      <a:pt x="914" y="1446"/>
                    </a:lnTo>
                    <a:lnTo>
                      <a:pt x="919" y="1456"/>
                    </a:lnTo>
                    <a:lnTo>
                      <a:pt x="916" y="1462"/>
                    </a:lnTo>
                    <a:lnTo>
                      <a:pt x="917" y="1473"/>
                    </a:lnTo>
                    <a:lnTo>
                      <a:pt x="921" y="1485"/>
                    </a:lnTo>
                    <a:lnTo>
                      <a:pt x="927" y="1482"/>
                    </a:lnTo>
                    <a:lnTo>
                      <a:pt x="938" y="1498"/>
                    </a:lnTo>
                    <a:lnTo>
                      <a:pt x="941" y="1507"/>
                    </a:lnTo>
                    <a:lnTo>
                      <a:pt x="939" y="1515"/>
                    </a:lnTo>
                    <a:lnTo>
                      <a:pt x="942" y="1518"/>
                    </a:lnTo>
                    <a:lnTo>
                      <a:pt x="943" y="1528"/>
                    </a:lnTo>
                    <a:lnTo>
                      <a:pt x="951" y="1526"/>
                    </a:lnTo>
                    <a:lnTo>
                      <a:pt x="955" y="1528"/>
                    </a:lnTo>
                    <a:lnTo>
                      <a:pt x="963" y="1544"/>
                    </a:lnTo>
                    <a:lnTo>
                      <a:pt x="968" y="1547"/>
                    </a:lnTo>
                    <a:lnTo>
                      <a:pt x="975" y="1541"/>
                    </a:lnTo>
                    <a:lnTo>
                      <a:pt x="980" y="1543"/>
                    </a:lnTo>
                    <a:lnTo>
                      <a:pt x="980" y="1550"/>
                    </a:lnTo>
                    <a:lnTo>
                      <a:pt x="986" y="1560"/>
                    </a:lnTo>
                    <a:lnTo>
                      <a:pt x="994" y="1563"/>
                    </a:lnTo>
                    <a:lnTo>
                      <a:pt x="995" y="1554"/>
                    </a:lnTo>
                    <a:lnTo>
                      <a:pt x="1001" y="1542"/>
                    </a:lnTo>
                    <a:lnTo>
                      <a:pt x="1012" y="1559"/>
                    </a:lnTo>
                    <a:lnTo>
                      <a:pt x="1018" y="1563"/>
                    </a:lnTo>
                    <a:lnTo>
                      <a:pt x="1022" y="1571"/>
                    </a:lnTo>
                    <a:lnTo>
                      <a:pt x="1033" y="1571"/>
                    </a:lnTo>
                    <a:lnTo>
                      <a:pt x="1019" y="1587"/>
                    </a:lnTo>
                    <a:lnTo>
                      <a:pt x="1003" y="1593"/>
                    </a:lnTo>
                    <a:lnTo>
                      <a:pt x="992" y="1579"/>
                    </a:lnTo>
                    <a:lnTo>
                      <a:pt x="998" y="1595"/>
                    </a:lnTo>
                    <a:lnTo>
                      <a:pt x="1014" y="1628"/>
                    </a:lnTo>
                    <a:lnTo>
                      <a:pt x="1024" y="1630"/>
                    </a:lnTo>
                    <a:lnTo>
                      <a:pt x="1035" y="1643"/>
                    </a:lnTo>
                    <a:lnTo>
                      <a:pt x="1037" y="164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6" name="Canada"/>
              <p:cNvSpPr>
                <a:spLocks noChangeAspect="1"/>
              </p:cNvSpPr>
              <p:nvPr>
                <p:custDataLst>
                  <p:tags r:id="rId194"/>
                </p:custDataLst>
              </p:nvPr>
            </p:nvSpPr>
            <p:spPr bwMode="gray">
              <a:xfrm>
                <a:off x="969" y="1334"/>
                <a:ext cx="937" cy="648"/>
              </a:xfrm>
              <a:custGeom>
                <a:avLst/>
                <a:gdLst/>
                <a:ahLst/>
                <a:cxnLst>
                  <a:cxn ang="0">
                    <a:pos x="4121" y="2577"/>
                  </a:cxn>
                  <a:cxn ang="0">
                    <a:pos x="3985" y="2718"/>
                  </a:cxn>
                  <a:cxn ang="0">
                    <a:pos x="4193" y="2896"/>
                  </a:cxn>
                  <a:cxn ang="0">
                    <a:pos x="4252" y="3041"/>
                  </a:cxn>
                  <a:cxn ang="0">
                    <a:pos x="4261" y="2980"/>
                  </a:cxn>
                  <a:cxn ang="0">
                    <a:pos x="3928" y="2815"/>
                  </a:cxn>
                  <a:cxn ang="0">
                    <a:pos x="3510" y="3092"/>
                  </a:cxn>
                  <a:cxn ang="0">
                    <a:pos x="3186" y="3206"/>
                  </a:cxn>
                  <a:cxn ang="0">
                    <a:pos x="3305" y="3028"/>
                  </a:cxn>
                  <a:cxn ang="0">
                    <a:pos x="3138" y="2904"/>
                  </a:cxn>
                  <a:cxn ang="0">
                    <a:pos x="2884" y="2730"/>
                  </a:cxn>
                  <a:cxn ang="0">
                    <a:pos x="2558" y="2711"/>
                  </a:cxn>
                  <a:cxn ang="0">
                    <a:pos x="999" y="2670"/>
                  </a:cxn>
                  <a:cxn ang="0">
                    <a:pos x="900" y="2578"/>
                  </a:cxn>
                  <a:cxn ang="0">
                    <a:pos x="745" y="2484"/>
                  </a:cxn>
                  <a:cxn ang="0">
                    <a:pos x="658" y="2308"/>
                  </a:cxn>
                  <a:cxn ang="0">
                    <a:pos x="605" y="2062"/>
                  </a:cxn>
                  <a:cxn ang="0">
                    <a:pos x="257" y="1689"/>
                  </a:cxn>
                  <a:cxn ang="0">
                    <a:pos x="0" y="1022"/>
                  </a:cxn>
                  <a:cxn ang="0">
                    <a:pos x="300" y="501"/>
                  </a:cxn>
                  <a:cxn ang="0">
                    <a:pos x="554" y="316"/>
                  </a:cxn>
                  <a:cxn ang="0">
                    <a:pos x="516" y="434"/>
                  </a:cxn>
                  <a:cxn ang="0">
                    <a:pos x="780" y="376"/>
                  </a:cxn>
                  <a:cxn ang="0">
                    <a:pos x="908" y="308"/>
                  </a:cxn>
                  <a:cxn ang="0">
                    <a:pos x="1229" y="461"/>
                  </a:cxn>
                  <a:cxn ang="0">
                    <a:pos x="1409" y="630"/>
                  </a:cxn>
                  <a:cxn ang="0">
                    <a:pos x="1713" y="655"/>
                  </a:cxn>
                  <a:cxn ang="0">
                    <a:pos x="1850" y="758"/>
                  </a:cxn>
                  <a:cxn ang="0">
                    <a:pos x="1884" y="566"/>
                  </a:cxn>
                  <a:cxn ang="0">
                    <a:pos x="1897" y="496"/>
                  </a:cxn>
                  <a:cxn ang="0">
                    <a:pos x="2137" y="669"/>
                  </a:cxn>
                  <a:cxn ang="0">
                    <a:pos x="2360" y="650"/>
                  </a:cxn>
                  <a:cxn ang="0">
                    <a:pos x="2467" y="619"/>
                  </a:cxn>
                  <a:cxn ang="0">
                    <a:pos x="2592" y="506"/>
                  </a:cxn>
                  <a:cxn ang="0">
                    <a:pos x="2465" y="360"/>
                  </a:cxn>
                  <a:cxn ang="0">
                    <a:pos x="2513" y="2"/>
                  </a:cxn>
                  <a:cxn ang="0">
                    <a:pos x="2671" y="301"/>
                  </a:cxn>
                  <a:cxn ang="0">
                    <a:pos x="2773" y="515"/>
                  </a:cxn>
                  <a:cxn ang="0">
                    <a:pos x="2955" y="732"/>
                  </a:cxn>
                  <a:cxn ang="0">
                    <a:pos x="3048" y="400"/>
                  </a:cxn>
                  <a:cxn ang="0">
                    <a:pos x="3223" y="566"/>
                  </a:cxn>
                  <a:cxn ang="0">
                    <a:pos x="3139" y="886"/>
                  </a:cxn>
                  <a:cxn ang="0">
                    <a:pos x="2869" y="956"/>
                  </a:cxn>
                  <a:cxn ang="0">
                    <a:pos x="2806" y="1170"/>
                  </a:cxn>
                  <a:cxn ang="0">
                    <a:pos x="2662" y="1202"/>
                  </a:cxn>
                  <a:cxn ang="0">
                    <a:pos x="2634" y="1400"/>
                  </a:cxn>
                  <a:cxn ang="0">
                    <a:pos x="2596" y="1772"/>
                  </a:cxn>
                  <a:cxn ang="0">
                    <a:pos x="2978" y="2076"/>
                  </a:cxn>
                  <a:cxn ang="0">
                    <a:pos x="3253" y="2406"/>
                  </a:cxn>
                  <a:cxn ang="0">
                    <a:pos x="3435" y="2410"/>
                  </a:cxn>
                  <a:cxn ang="0">
                    <a:pos x="3543" y="2007"/>
                  </a:cxn>
                  <a:cxn ang="0">
                    <a:pos x="3489" y="1658"/>
                  </a:cxn>
                  <a:cxn ang="0">
                    <a:pos x="3454" y="1379"/>
                  </a:cxn>
                  <a:cxn ang="0">
                    <a:pos x="3782" y="1465"/>
                  </a:cxn>
                  <a:cxn ang="0">
                    <a:pos x="3908" y="1642"/>
                  </a:cxn>
                  <a:cxn ang="0">
                    <a:pos x="3931" y="1765"/>
                  </a:cxn>
                  <a:cxn ang="0">
                    <a:pos x="4124" y="1745"/>
                  </a:cxn>
                  <a:cxn ang="0">
                    <a:pos x="4254" y="1721"/>
                  </a:cxn>
                  <a:cxn ang="0">
                    <a:pos x="4305" y="1837"/>
                  </a:cxn>
                  <a:cxn ang="0">
                    <a:pos x="4379" y="2060"/>
                  </a:cxn>
                  <a:cxn ang="0">
                    <a:pos x="4580" y="2206"/>
                  </a:cxn>
                  <a:cxn ang="0">
                    <a:pos x="4538" y="2229"/>
                  </a:cxn>
                  <a:cxn ang="0">
                    <a:pos x="4668" y="2398"/>
                  </a:cxn>
                </a:cxnLst>
                <a:rect l="0" t="0" r="r" b="b"/>
                <a:pathLst>
                  <a:path w="4686" h="3236">
                    <a:moveTo>
                      <a:pt x="4668" y="2398"/>
                    </a:moveTo>
                    <a:lnTo>
                      <a:pt x="4678" y="2405"/>
                    </a:lnTo>
                    <a:lnTo>
                      <a:pt x="4684" y="2412"/>
                    </a:lnTo>
                    <a:lnTo>
                      <a:pt x="4675" y="2423"/>
                    </a:lnTo>
                    <a:lnTo>
                      <a:pt x="4664" y="2437"/>
                    </a:lnTo>
                    <a:lnTo>
                      <a:pt x="4646" y="2449"/>
                    </a:lnTo>
                    <a:lnTo>
                      <a:pt x="4630" y="2469"/>
                    </a:lnTo>
                    <a:lnTo>
                      <a:pt x="4619" y="2470"/>
                    </a:lnTo>
                    <a:lnTo>
                      <a:pt x="4616" y="2475"/>
                    </a:lnTo>
                    <a:lnTo>
                      <a:pt x="4601" y="2475"/>
                    </a:lnTo>
                    <a:lnTo>
                      <a:pt x="4578" y="2474"/>
                    </a:lnTo>
                    <a:lnTo>
                      <a:pt x="4564" y="2481"/>
                    </a:lnTo>
                    <a:lnTo>
                      <a:pt x="4533" y="2487"/>
                    </a:lnTo>
                    <a:lnTo>
                      <a:pt x="4521" y="2496"/>
                    </a:lnTo>
                    <a:lnTo>
                      <a:pt x="4510" y="2512"/>
                    </a:lnTo>
                    <a:lnTo>
                      <a:pt x="4505" y="2511"/>
                    </a:lnTo>
                    <a:lnTo>
                      <a:pt x="4493" y="2531"/>
                    </a:lnTo>
                    <a:lnTo>
                      <a:pt x="4476" y="2554"/>
                    </a:lnTo>
                    <a:lnTo>
                      <a:pt x="4465" y="2560"/>
                    </a:lnTo>
                    <a:lnTo>
                      <a:pt x="4453" y="2574"/>
                    </a:lnTo>
                    <a:lnTo>
                      <a:pt x="4444" y="2579"/>
                    </a:lnTo>
                    <a:lnTo>
                      <a:pt x="4438" y="2579"/>
                    </a:lnTo>
                    <a:lnTo>
                      <a:pt x="4433" y="2574"/>
                    </a:lnTo>
                    <a:lnTo>
                      <a:pt x="4438" y="2563"/>
                    </a:lnTo>
                    <a:lnTo>
                      <a:pt x="4431" y="2566"/>
                    </a:lnTo>
                    <a:lnTo>
                      <a:pt x="4425" y="2577"/>
                    </a:lnTo>
                    <a:lnTo>
                      <a:pt x="4385" y="2583"/>
                    </a:lnTo>
                    <a:lnTo>
                      <a:pt x="4359" y="2593"/>
                    </a:lnTo>
                    <a:lnTo>
                      <a:pt x="4353" y="2590"/>
                    </a:lnTo>
                    <a:lnTo>
                      <a:pt x="4352" y="2584"/>
                    </a:lnTo>
                    <a:lnTo>
                      <a:pt x="4343" y="2579"/>
                    </a:lnTo>
                    <a:lnTo>
                      <a:pt x="4325" y="2577"/>
                    </a:lnTo>
                    <a:lnTo>
                      <a:pt x="4280" y="2577"/>
                    </a:lnTo>
                    <a:lnTo>
                      <a:pt x="4264" y="2581"/>
                    </a:lnTo>
                    <a:lnTo>
                      <a:pt x="4232" y="2574"/>
                    </a:lnTo>
                    <a:lnTo>
                      <a:pt x="4225" y="2574"/>
                    </a:lnTo>
                    <a:lnTo>
                      <a:pt x="4200" y="2572"/>
                    </a:lnTo>
                    <a:lnTo>
                      <a:pt x="4173" y="2579"/>
                    </a:lnTo>
                    <a:lnTo>
                      <a:pt x="4164" y="2577"/>
                    </a:lnTo>
                    <a:lnTo>
                      <a:pt x="4151" y="2577"/>
                    </a:lnTo>
                    <a:lnTo>
                      <a:pt x="4134" y="2579"/>
                    </a:lnTo>
                    <a:lnTo>
                      <a:pt x="4121" y="2577"/>
                    </a:lnTo>
                    <a:lnTo>
                      <a:pt x="4113" y="2581"/>
                    </a:lnTo>
                    <a:lnTo>
                      <a:pt x="4100" y="2581"/>
                    </a:lnTo>
                    <a:lnTo>
                      <a:pt x="4095" y="2583"/>
                    </a:lnTo>
                    <a:lnTo>
                      <a:pt x="4094" y="2590"/>
                    </a:lnTo>
                    <a:lnTo>
                      <a:pt x="4084" y="2589"/>
                    </a:lnTo>
                    <a:lnTo>
                      <a:pt x="4080" y="2593"/>
                    </a:lnTo>
                    <a:lnTo>
                      <a:pt x="4074" y="2597"/>
                    </a:lnTo>
                    <a:lnTo>
                      <a:pt x="4068" y="2604"/>
                    </a:lnTo>
                    <a:lnTo>
                      <a:pt x="4058" y="2617"/>
                    </a:lnTo>
                    <a:lnTo>
                      <a:pt x="4053" y="2635"/>
                    </a:lnTo>
                    <a:lnTo>
                      <a:pt x="4044" y="2654"/>
                    </a:lnTo>
                    <a:lnTo>
                      <a:pt x="4042" y="2657"/>
                    </a:lnTo>
                    <a:lnTo>
                      <a:pt x="4004" y="2659"/>
                    </a:lnTo>
                    <a:lnTo>
                      <a:pt x="3993" y="2670"/>
                    </a:lnTo>
                    <a:lnTo>
                      <a:pt x="3987" y="2670"/>
                    </a:lnTo>
                    <a:lnTo>
                      <a:pt x="3987" y="2675"/>
                    </a:lnTo>
                    <a:lnTo>
                      <a:pt x="3968" y="2694"/>
                    </a:lnTo>
                    <a:lnTo>
                      <a:pt x="3958" y="2699"/>
                    </a:lnTo>
                    <a:lnTo>
                      <a:pt x="3930" y="2743"/>
                    </a:lnTo>
                    <a:lnTo>
                      <a:pt x="3919" y="2751"/>
                    </a:lnTo>
                    <a:lnTo>
                      <a:pt x="3908" y="2753"/>
                    </a:lnTo>
                    <a:lnTo>
                      <a:pt x="3909" y="2769"/>
                    </a:lnTo>
                    <a:lnTo>
                      <a:pt x="3887" y="2810"/>
                    </a:lnTo>
                    <a:lnTo>
                      <a:pt x="3882" y="2810"/>
                    </a:lnTo>
                    <a:lnTo>
                      <a:pt x="3860" y="2832"/>
                    </a:lnTo>
                    <a:lnTo>
                      <a:pt x="3834" y="2858"/>
                    </a:lnTo>
                    <a:lnTo>
                      <a:pt x="3834" y="2861"/>
                    </a:lnTo>
                    <a:lnTo>
                      <a:pt x="3848" y="2858"/>
                    </a:lnTo>
                    <a:lnTo>
                      <a:pt x="3859" y="2851"/>
                    </a:lnTo>
                    <a:lnTo>
                      <a:pt x="3859" y="2847"/>
                    </a:lnTo>
                    <a:lnTo>
                      <a:pt x="3864" y="2845"/>
                    </a:lnTo>
                    <a:lnTo>
                      <a:pt x="3879" y="2827"/>
                    </a:lnTo>
                    <a:lnTo>
                      <a:pt x="3888" y="2814"/>
                    </a:lnTo>
                    <a:lnTo>
                      <a:pt x="3898" y="2805"/>
                    </a:lnTo>
                    <a:lnTo>
                      <a:pt x="3908" y="2794"/>
                    </a:lnTo>
                    <a:lnTo>
                      <a:pt x="3920" y="2770"/>
                    </a:lnTo>
                    <a:lnTo>
                      <a:pt x="3930" y="2761"/>
                    </a:lnTo>
                    <a:lnTo>
                      <a:pt x="3952" y="2739"/>
                    </a:lnTo>
                    <a:lnTo>
                      <a:pt x="3958" y="2735"/>
                    </a:lnTo>
                    <a:lnTo>
                      <a:pt x="3968" y="2733"/>
                    </a:lnTo>
                    <a:lnTo>
                      <a:pt x="3974" y="2726"/>
                    </a:lnTo>
                    <a:lnTo>
                      <a:pt x="3985" y="2718"/>
                    </a:lnTo>
                    <a:lnTo>
                      <a:pt x="3998" y="2713"/>
                    </a:lnTo>
                    <a:lnTo>
                      <a:pt x="4030" y="2694"/>
                    </a:lnTo>
                    <a:lnTo>
                      <a:pt x="4084" y="2670"/>
                    </a:lnTo>
                    <a:lnTo>
                      <a:pt x="4114" y="2663"/>
                    </a:lnTo>
                    <a:lnTo>
                      <a:pt x="4128" y="2664"/>
                    </a:lnTo>
                    <a:lnTo>
                      <a:pt x="4139" y="2662"/>
                    </a:lnTo>
                    <a:lnTo>
                      <a:pt x="4167" y="2664"/>
                    </a:lnTo>
                    <a:lnTo>
                      <a:pt x="4194" y="2676"/>
                    </a:lnTo>
                    <a:lnTo>
                      <a:pt x="4207" y="2685"/>
                    </a:lnTo>
                    <a:lnTo>
                      <a:pt x="4214" y="2701"/>
                    </a:lnTo>
                    <a:lnTo>
                      <a:pt x="4207" y="2697"/>
                    </a:lnTo>
                    <a:lnTo>
                      <a:pt x="4205" y="2700"/>
                    </a:lnTo>
                    <a:lnTo>
                      <a:pt x="4211" y="2707"/>
                    </a:lnTo>
                    <a:lnTo>
                      <a:pt x="4211" y="2723"/>
                    </a:lnTo>
                    <a:lnTo>
                      <a:pt x="4200" y="2733"/>
                    </a:lnTo>
                    <a:lnTo>
                      <a:pt x="4176" y="2753"/>
                    </a:lnTo>
                    <a:lnTo>
                      <a:pt x="4160" y="2761"/>
                    </a:lnTo>
                    <a:lnTo>
                      <a:pt x="4141" y="2760"/>
                    </a:lnTo>
                    <a:lnTo>
                      <a:pt x="4126" y="2753"/>
                    </a:lnTo>
                    <a:lnTo>
                      <a:pt x="4105" y="2756"/>
                    </a:lnTo>
                    <a:lnTo>
                      <a:pt x="4089" y="2762"/>
                    </a:lnTo>
                    <a:lnTo>
                      <a:pt x="4085" y="2765"/>
                    </a:lnTo>
                    <a:lnTo>
                      <a:pt x="4100" y="2765"/>
                    </a:lnTo>
                    <a:lnTo>
                      <a:pt x="4127" y="2773"/>
                    </a:lnTo>
                    <a:lnTo>
                      <a:pt x="4132" y="2787"/>
                    </a:lnTo>
                    <a:lnTo>
                      <a:pt x="4137" y="2791"/>
                    </a:lnTo>
                    <a:lnTo>
                      <a:pt x="4166" y="2776"/>
                    </a:lnTo>
                    <a:lnTo>
                      <a:pt x="4170" y="2777"/>
                    </a:lnTo>
                    <a:lnTo>
                      <a:pt x="4168" y="2782"/>
                    </a:lnTo>
                    <a:lnTo>
                      <a:pt x="4177" y="2783"/>
                    </a:lnTo>
                    <a:lnTo>
                      <a:pt x="4183" y="2788"/>
                    </a:lnTo>
                    <a:lnTo>
                      <a:pt x="4182" y="2798"/>
                    </a:lnTo>
                    <a:lnTo>
                      <a:pt x="4173" y="2823"/>
                    </a:lnTo>
                    <a:lnTo>
                      <a:pt x="4157" y="2839"/>
                    </a:lnTo>
                    <a:lnTo>
                      <a:pt x="4157" y="2841"/>
                    </a:lnTo>
                    <a:lnTo>
                      <a:pt x="4165" y="2840"/>
                    </a:lnTo>
                    <a:lnTo>
                      <a:pt x="4180" y="2842"/>
                    </a:lnTo>
                    <a:lnTo>
                      <a:pt x="4178" y="2862"/>
                    </a:lnTo>
                    <a:lnTo>
                      <a:pt x="4180" y="2870"/>
                    </a:lnTo>
                    <a:lnTo>
                      <a:pt x="4184" y="2879"/>
                    </a:lnTo>
                    <a:lnTo>
                      <a:pt x="4188" y="2889"/>
                    </a:lnTo>
                    <a:lnTo>
                      <a:pt x="4193" y="2896"/>
                    </a:lnTo>
                    <a:lnTo>
                      <a:pt x="4199" y="2902"/>
                    </a:lnTo>
                    <a:lnTo>
                      <a:pt x="4198" y="2906"/>
                    </a:lnTo>
                    <a:lnTo>
                      <a:pt x="4215" y="2907"/>
                    </a:lnTo>
                    <a:lnTo>
                      <a:pt x="4236" y="2917"/>
                    </a:lnTo>
                    <a:lnTo>
                      <a:pt x="4240" y="2921"/>
                    </a:lnTo>
                    <a:lnTo>
                      <a:pt x="4231" y="2926"/>
                    </a:lnTo>
                    <a:lnTo>
                      <a:pt x="4230" y="2932"/>
                    </a:lnTo>
                    <a:lnTo>
                      <a:pt x="4239" y="2936"/>
                    </a:lnTo>
                    <a:lnTo>
                      <a:pt x="4250" y="2937"/>
                    </a:lnTo>
                    <a:lnTo>
                      <a:pt x="4266" y="2943"/>
                    </a:lnTo>
                    <a:lnTo>
                      <a:pt x="4294" y="2947"/>
                    </a:lnTo>
                    <a:lnTo>
                      <a:pt x="4297" y="2953"/>
                    </a:lnTo>
                    <a:lnTo>
                      <a:pt x="4320" y="2950"/>
                    </a:lnTo>
                    <a:lnTo>
                      <a:pt x="4339" y="2937"/>
                    </a:lnTo>
                    <a:lnTo>
                      <a:pt x="4344" y="2947"/>
                    </a:lnTo>
                    <a:lnTo>
                      <a:pt x="4342" y="2955"/>
                    </a:lnTo>
                    <a:lnTo>
                      <a:pt x="4348" y="2954"/>
                    </a:lnTo>
                    <a:lnTo>
                      <a:pt x="4358" y="2955"/>
                    </a:lnTo>
                    <a:lnTo>
                      <a:pt x="4368" y="2954"/>
                    </a:lnTo>
                    <a:lnTo>
                      <a:pt x="4375" y="2963"/>
                    </a:lnTo>
                    <a:lnTo>
                      <a:pt x="4379" y="2968"/>
                    </a:lnTo>
                    <a:lnTo>
                      <a:pt x="4372" y="2971"/>
                    </a:lnTo>
                    <a:lnTo>
                      <a:pt x="4371" y="2977"/>
                    </a:lnTo>
                    <a:lnTo>
                      <a:pt x="4387" y="2979"/>
                    </a:lnTo>
                    <a:lnTo>
                      <a:pt x="4391" y="2981"/>
                    </a:lnTo>
                    <a:lnTo>
                      <a:pt x="4385" y="2986"/>
                    </a:lnTo>
                    <a:lnTo>
                      <a:pt x="4375" y="2985"/>
                    </a:lnTo>
                    <a:lnTo>
                      <a:pt x="4366" y="2991"/>
                    </a:lnTo>
                    <a:lnTo>
                      <a:pt x="4359" y="2988"/>
                    </a:lnTo>
                    <a:lnTo>
                      <a:pt x="4345" y="2997"/>
                    </a:lnTo>
                    <a:lnTo>
                      <a:pt x="4325" y="3006"/>
                    </a:lnTo>
                    <a:lnTo>
                      <a:pt x="4316" y="3012"/>
                    </a:lnTo>
                    <a:lnTo>
                      <a:pt x="4311" y="3013"/>
                    </a:lnTo>
                    <a:lnTo>
                      <a:pt x="4309" y="3018"/>
                    </a:lnTo>
                    <a:lnTo>
                      <a:pt x="4300" y="3017"/>
                    </a:lnTo>
                    <a:lnTo>
                      <a:pt x="4289" y="3025"/>
                    </a:lnTo>
                    <a:lnTo>
                      <a:pt x="4279" y="3026"/>
                    </a:lnTo>
                    <a:lnTo>
                      <a:pt x="4277" y="3024"/>
                    </a:lnTo>
                    <a:lnTo>
                      <a:pt x="4269" y="3028"/>
                    </a:lnTo>
                    <a:lnTo>
                      <a:pt x="4262" y="3033"/>
                    </a:lnTo>
                    <a:lnTo>
                      <a:pt x="4250" y="3028"/>
                    </a:lnTo>
                    <a:lnTo>
                      <a:pt x="4252" y="3041"/>
                    </a:lnTo>
                    <a:lnTo>
                      <a:pt x="4251" y="3046"/>
                    </a:lnTo>
                    <a:lnTo>
                      <a:pt x="4239" y="3046"/>
                    </a:lnTo>
                    <a:lnTo>
                      <a:pt x="4232" y="3038"/>
                    </a:lnTo>
                    <a:lnTo>
                      <a:pt x="4232" y="3033"/>
                    </a:lnTo>
                    <a:lnTo>
                      <a:pt x="4224" y="3046"/>
                    </a:lnTo>
                    <a:lnTo>
                      <a:pt x="4220" y="3038"/>
                    </a:lnTo>
                    <a:lnTo>
                      <a:pt x="4215" y="3047"/>
                    </a:lnTo>
                    <a:lnTo>
                      <a:pt x="4213" y="3061"/>
                    </a:lnTo>
                    <a:lnTo>
                      <a:pt x="4203" y="3068"/>
                    </a:lnTo>
                    <a:lnTo>
                      <a:pt x="4189" y="3085"/>
                    </a:lnTo>
                    <a:lnTo>
                      <a:pt x="4187" y="3090"/>
                    </a:lnTo>
                    <a:lnTo>
                      <a:pt x="4176" y="3095"/>
                    </a:lnTo>
                    <a:lnTo>
                      <a:pt x="4170" y="3108"/>
                    </a:lnTo>
                    <a:lnTo>
                      <a:pt x="4162" y="3104"/>
                    </a:lnTo>
                    <a:lnTo>
                      <a:pt x="4156" y="3106"/>
                    </a:lnTo>
                    <a:lnTo>
                      <a:pt x="4155" y="3117"/>
                    </a:lnTo>
                    <a:lnTo>
                      <a:pt x="4149" y="3121"/>
                    </a:lnTo>
                    <a:lnTo>
                      <a:pt x="4145" y="3121"/>
                    </a:lnTo>
                    <a:lnTo>
                      <a:pt x="4134" y="3119"/>
                    </a:lnTo>
                    <a:lnTo>
                      <a:pt x="4129" y="3105"/>
                    </a:lnTo>
                    <a:lnTo>
                      <a:pt x="4124" y="3098"/>
                    </a:lnTo>
                    <a:lnTo>
                      <a:pt x="4116" y="3098"/>
                    </a:lnTo>
                    <a:lnTo>
                      <a:pt x="4111" y="3083"/>
                    </a:lnTo>
                    <a:lnTo>
                      <a:pt x="4110" y="3068"/>
                    </a:lnTo>
                    <a:lnTo>
                      <a:pt x="4112" y="3056"/>
                    </a:lnTo>
                    <a:lnTo>
                      <a:pt x="4124" y="3038"/>
                    </a:lnTo>
                    <a:lnTo>
                      <a:pt x="4119" y="3044"/>
                    </a:lnTo>
                    <a:lnTo>
                      <a:pt x="4108" y="3050"/>
                    </a:lnTo>
                    <a:lnTo>
                      <a:pt x="4111" y="3042"/>
                    </a:lnTo>
                    <a:lnTo>
                      <a:pt x="4127" y="3030"/>
                    </a:lnTo>
                    <a:lnTo>
                      <a:pt x="4133" y="3031"/>
                    </a:lnTo>
                    <a:lnTo>
                      <a:pt x="4143" y="3026"/>
                    </a:lnTo>
                    <a:lnTo>
                      <a:pt x="4143" y="3020"/>
                    </a:lnTo>
                    <a:lnTo>
                      <a:pt x="4166" y="3004"/>
                    </a:lnTo>
                    <a:lnTo>
                      <a:pt x="4189" y="2990"/>
                    </a:lnTo>
                    <a:lnTo>
                      <a:pt x="4203" y="2982"/>
                    </a:lnTo>
                    <a:lnTo>
                      <a:pt x="4207" y="2987"/>
                    </a:lnTo>
                    <a:lnTo>
                      <a:pt x="4209" y="2995"/>
                    </a:lnTo>
                    <a:lnTo>
                      <a:pt x="4218" y="2999"/>
                    </a:lnTo>
                    <a:lnTo>
                      <a:pt x="4227" y="2988"/>
                    </a:lnTo>
                    <a:lnTo>
                      <a:pt x="4237" y="2983"/>
                    </a:lnTo>
                    <a:lnTo>
                      <a:pt x="4261" y="2980"/>
                    </a:lnTo>
                    <a:lnTo>
                      <a:pt x="4262" y="2975"/>
                    </a:lnTo>
                    <a:lnTo>
                      <a:pt x="4247" y="2974"/>
                    </a:lnTo>
                    <a:lnTo>
                      <a:pt x="4232" y="2977"/>
                    </a:lnTo>
                    <a:lnTo>
                      <a:pt x="4207" y="2972"/>
                    </a:lnTo>
                    <a:lnTo>
                      <a:pt x="4194" y="2979"/>
                    </a:lnTo>
                    <a:lnTo>
                      <a:pt x="4183" y="2980"/>
                    </a:lnTo>
                    <a:lnTo>
                      <a:pt x="4182" y="2968"/>
                    </a:lnTo>
                    <a:lnTo>
                      <a:pt x="4196" y="2958"/>
                    </a:lnTo>
                    <a:lnTo>
                      <a:pt x="4207" y="2943"/>
                    </a:lnTo>
                    <a:lnTo>
                      <a:pt x="4199" y="2943"/>
                    </a:lnTo>
                    <a:lnTo>
                      <a:pt x="4197" y="2936"/>
                    </a:lnTo>
                    <a:lnTo>
                      <a:pt x="4187" y="2953"/>
                    </a:lnTo>
                    <a:lnTo>
                      <a:pt x="4176" y="2955"/>
                    </a:lnTo>
                    <a:lnTo>
                      <a:pt x="4144" y="2980"/>
                    </a:lnTo>
                    <a:lnTo>
                      <a:pt x="4134" y="2985"/>
                    </a:lnTo>
                    <a:lnTo>
                      <a:pt x="4124" y="2986"/>
                    </a:lnTo>
                    <a:lnTo>
                      <a:pt x="4116" y="2985"/>
                    </a:lnTo>
                    <a:lnTo>
                      <a:pt x="4110" y="2991"/>
                    </a:lnTo>
                    <a:lnTo>
                      <a:pt x="4101" y="2996"/>
                    </a:lnTo>
                    <a:lnTo>
                      <a:pt x="4079" y="2999"/>
                    </a:lnTo>
                    <a:lnTo>
                      <a:pt x="4074" y="2998"/>
                    </a:lnTo>
                    <a:lnTo>
                      <a:pt x="4068" y="2995"/>
                    </a:lnTo>
                    <a:lnTo>
                      <a:pt x="4058" y="2992"/>
                    </a:lnTo>
                    <a:lnTo>
                      <a:pt x="4057" y="2996"/>
                    </a:lnTo>
                    <a:lnTo>
                      <a:pt x="4052" y="2996"/>
                    </a:lnTo>
                    <a:lnTo>
                      <a:pt x="4043" y="2995"/>
                    </a:lnTo>
                    <a:lnTo>
                      <a:pt x="4035" y="2988"/>
                    </a:lnTo>
                    <a:lnTo>
                      <a:pt x="4032" y="2983"/>
                    </a:lnTo>
                    <a:lnTo>
                      <a:pt x="4031" y="2979"/>
                    </a:lnTo>
                    <a:lnTo>
                      <a:pt x="4031" y="2963"/>
                    </a:lnTo>
                    <a:lnTo>
                      <a:pt x="4016" y="2955"/>
                    </a:lnTo>
                    <a:lnTo>
                      <a:pt x="4016" y="2899"/>
                    </a:lnTo>
                    <a:lnTo>
                      <a:pt x="4016" y="2848"/>
                    </a:lnTo>
                    <a:lnTo>
                      <a:pt x="3990" y="2823"/>
                    </a:lnTo>
                    <a:lnTo>
                      <a:pt x="3983" y="2823"/>
                    </a:lnTo>
                    <a:lnTo>
                      <a:pt x="3976" y="2834"/>
                    </a:lnTo>
                    <a:lnTo>
                      <a:pt x="3958" y="2837"/>
                    </a:lnTo>
                    <a:lnTo>
                      <a:pt x="3946" y="2832"/>
                    </a:lnTo>
                    <a:lnTo>
                      <a:pt x="3944" y="2829"/>
                    </a:lnTo>
                    <a:lnTo>
                      <a:pt x="3941" y="2823"/>
                    </a:lnTo>
                    <a:lnTo>
                      <a:pt x="3934" y="2816"/>
                    </a:lnTo>
                    <a:lnTo>
                      <a:pt x="3928" y="2815"/>
                    </a:lnTo>
                    <a:lnTo>
                      <a:pt x="3922" y="2819"/>
                    </a:lnTo>
                    <a:lnTo>
                      <a:pt x="3895" y="2864"/>
                    </a:lnTo>
                    <a:lnTo>
                      <a:pt x="3891" y="2888"/>
                    </a:lnTo>
                    <a:lnTo>
                      <a:pt x="3885" y="2900"/>
                    </a:lnTo>
                    <a:lnTo>
                      <a:pt x="3884" y="2906"/>
                    </a:lnTo>
                    <a:lnTo>
                      <a:pt x="3879" y="2915"/>
                    </a:lnTo>
                    <a:lnTo>
                      <a:pt x="3876" y="2922"/>
                    </a:lnTo>
                    <a:lnTo>
                      <a:pt x="3872" y="2958"/>
                    </a:lnTo>
                    <a:lnTo>
                      <a:pt x="3871" y="2960"/>
                    </a:lnTo>
                    <a:lnTo>
                      <a:pt x="3864" y="2965"/>
                    </a:lnTo>
                    <a:lnTo>
                      <a:pt x="3861" y="2970"/>
                    </a:lnTo>
                    <a:lnTo>
                      <a:pt x="3860" y="2975"/>
                    </a:lnTo>
                    <a:lnTo>
                      <a:pt x="3861" y="2981"/>
                    </a:lnTo>
                    <a:lnTo>
                      <a:pt x="3861" y="2983"/>
                    </a:lnTo>
                    <a:lnTo>
                      <a:pt x="3854" y="2980"/>
                    </a:lnTo>
                    <a:lnTo>
                      <a:pt x="3853" y="2981"/>
                    </a:lnTo>
                    <a:lnTo>
                      <a:pt x="3853" y="2987"/>
                    </a:lnTo>
                    <a:lnTo>
                      <a:pt x="3842" y="2983"/>
                    </a:lnTo>
                    <a:lnTo>
                      <a:pt x="3833" y="2986"/>
                    </a:lnTo>
                    <a:lnTo>
                      <a:pt x="3831" y="2988"/>
                    </a:lnTo>
                    <a:lnTo>
                      <a:pt x="3818" y="2990"/>
                    </a:lnTo>
                    <a:lnTo>
                      <a:pt x="3815" y="2993"/>
                    </a:lnTo>
                    <a:lnTo>
                      <a:pt x="3809" y="3009"/>
                    </a:lnTo>
                    <a:lnTo>
                      <a:pt x="3807" y="3009"/>
                    </a:lnTo>
                    <a:lnTo>
                      <a:pt x="3709" y="3009"/>
                    </a:lnTo>
                    <a:lnTo>
                      <a:pt x="3634" y="3009"/>
                    </a:lnTo>
                    <a:lnTo>
                      <a:pt x="3619" y="3009"/>
                    </a:lnTo>
                    <a:lnTo>
                      <a:pt x="3603" y="3024"/>
                    </a:lnTo>
                    <a:lnTo>
                      <a:pt x="3584" y="3035"/>
                    </a:lnTo>
                    <a:lnTo>
                      <a:pt x="3581" y="3040"/>
                    </a:lnTo>
                    <a:lnTo>
                      <a:pt x="3580" y="3041"/>
                    </a:lnTo>
                    <a:lnTo>
                      <a:pt x="3567" y="3056"/>
                    </a:lnTo>
                    <a:lnTo>
                      <a:pt x="3554" y="3058"/>
                    </a:lnTo>
                    <a:lnTo>
                      <a:pt x="3524" y="3072"/>
                    </a:lnTo>
                    <a:lnTo>
                      <a:pt x="3514" y="3078"/>
                    </a:lnTo>
                    <a:lnTo>
                      <a:pt x="3511" y="3071"/>
                    </a:lnTo>
                    <a:lnTo>
                      <a:pt x="3508" y="3071"/>
                    </a:lnTo>
                    <a:lnTo>
                      <a:pt x="3499" y="3072"/>
                    </a:lnTo>
                    <a:lnTo>
                      <a:pt x="3498" y="3076"/>
                    </a:lnTo>
                    <a:lnTo>
                      <a:pt x="3503" y="3076"/>
                    </a:lnTo>
                    <a:lnTo>
                      <a:pt x="3509" y="3087"/>
                    </a:lnTo>
                    <a:lnTo>
                      <a:pt x="3510" y="3092"/>
                    </a:lnTo>
                    <a:lnTo>
                      <a:pt x="3501" y="3093"/>
                    </a:lnTo>
                    <a:lnTo>
                      <a:pt x="3497" y="3089"/>
                    </a:lnTo>
                    <a:lnTo>
                      <a:pt x="3485" y="3088"/>
                    </a:lnTo>
                    <a:lnTo>
                      <a:pt x="3479" y="3085"/>
                    </a:lnTo>
                    <a:lnTo>
                      <a:pt x="3466" y="3084"/>
                    </a:lnTo>
                    <a:lnTo>
                      <a:pt x="3449" y="3085"/>
                    </a:lnTo>
                    <a:lnTo>
                      <a:pt x="3392" y="3103"/>
                    </a:lnTo>
                    <a:lnTo>
                      <a:pt x="3377" y="3114"/>
                    </a:lnTo>
                    <a:lnTo>
                      <a:pt x="3371" y="3119"/>
                    </a:lnTo>
                    <a:lnTo>
                      <a:pt x="3369" y="3125"/>
                    </a:lnTo>
                    <a:lnTo>
                      <a:pt x="3358" y="3138"/>
                    </a:lnTo>
                    <a:lnTo>
                      <a:pt x="3380" y="3146"/>
                    </a:lnTo>
                    <a:lnTo>
                      <a:pt x="3388" y="3143"/>
                    </a:lnTo>
                    <a:lnTo>
                      <a:pt x="3398" y="3142"/>
                    </a:lnTo>
                    <a:lnTo>
                      <a:pt x="3401" y="3152"/>
                    </a:lnTo>
                    <a:lnTo>
                      <a:pt x="3406" y="3159"/>
                    </a:lnTo>
                    <a:lnTo>
                      <a:pt x="3408" y="3171"/>
                    </a:lnTo>
                    <a:lnTo>
                      <a:pt x="3386" y="3168"/>
                    </a:lnTo>
                    <a:lnTo>
                      <a:pt x="3379" y="3168"/>
                    </a:lnTo>
                    <a:lnTo>
                      <a:pt x="3368" y="3169"/>
                    </a:lnTo>
                    <a:lnTo>
                      <a:pt x="3363" y="3169"/>
                    </a:lnTo>
                    <a:lnTo>
                      <a:pt x="3344" y="3173"/>
                    </a:lnTo>
                    <a:lnTo>
                      <a:pt x="3332" y="3178"/>
                    </a:lnTo>
                    <a:lnTo>
                      <a:pt x="3317" y="3191"/>
                    </a:lnTo>
                    <a:lnTo>
                      <a:pt x="3305" y="3187"/>
                    </a:lnTo>
                    <a:lnTo>
                      <a:pt x="3285" y="3184"/>
                    </a:lnTo>
                    <a:lnTo>
                      <a:pt x="3266" y="3190"/>
                    </a:lnTo>
                    <a:lnTo>
                      <a:pt x="3261" y="3194"/>
                    </a:lnTo>
                    <a:lnTo>
                      <a:pt x="3256" y="3196"/>
                    </a:lnTo>
                    <a:lnTo>
                      <a:pt x="3248" y="3211"/>
                    </a:lnTo>
                    <a:lnTo>
                      <a:pt x="3246" y="3209"/>
                    </a:lnTo>
                    <a:lnTo>
                      <a:pt x="3234" y="3214"/>
                    </a:lnTo>
                    <a:lnTo>
                      <a:pt x="3228" y="3219"/>
                    </a:lnTo>
                    <a:lnTo>
                      <a:pt x="3218" y="3227"/>
                    </a:lnTo>
                    <a:lnTo>
                      <a:pt x="3213" y="3232"/>
                    </a:lnTo>
                    <a:lnTo>
                      <a:pt x="3212" y="3236"/>
                    </a:lnTo>
                    <a:lnTo>
                      <a:pt x="3197" y="3233"/>
                    </a:lnTo>
                    <a:lnTo>
                      <a:pt x="3191" y="3235"/>
                    </a:lnTo>
                    <a:lnTo>
                      <a:pt x="3175" y="3234"/>
                    </a:lnTo>
                    <a:lnTo>
                      <a:pt x="3175" y="3223"/>
                    </a:lnTo>
                    <a:lnTo>
                      <a:pt x="3180" y="3211"/>
                    </a:lnTo>
                    <a:lnTo>
                      <a:pt x="3186" y="3206"/>
                    </a:lnTo>
                    <a:lnTo>
                      <a:pt x="3187" y="3209"/>
                    </a:lnTo>
                    <a:lnTo>
                      <a:pt x="3198" y="3212"/>
                    </a:lnTo>
                    <a:lnTo>
                      <a:pt x="3207" y="3211"/>
                    </a:lnTo>
                    <a:lnTo>
                      <a:pt x="3210" y="3208"/>
                    </a:lnTo>
                    <a:lnTo>
                      <a:pt x="3212" y="3205"/>
                    </a:lnTo>
                    <a:lnTo>
                      <a:pt x="3213" y="3201"/>
                    </a:lnTo>
                    <a:lnTo>
                      <a:pt x="3212" y="3197"/>
                    </a:lnTo>
                    <a:lnTo>
                      <a:pt x="3207" y="3195"/>
                    </a:lnTo>
                    <a:lnTo>
                      <a:pt x="3205" y="3187"/>
                    </a:lnTo>
                    <a:lnTo>
                      <a:pt x="3205" y="3187"/>
                    </a:lnTo>
                    <a:lnTo>
                      <a:pt x="3213" y="3160"/>
                    </a:lnTo>
                    <a:lnTo>
                      <a:pt x="3213" y="3153"/>
                    </a:lnTo>
                    <a:lnTo>
                      <a:pt x="3223" y="3153"/>
                    </a:lnTo>
                    <a:lnTo>
                      <a:pt x="3228" y="3148"/>
                    </a:lnTo>
                    <a:lnTo>
                      <a:pt x="3230" y="3143"/>
                    </a:lnTo>
                    <a:lnTo>
                      <a:pt x="3239" y="3142"/>
                    </a:lnTo>
                    <a:lnTo>
                      <a:pt x="3247" y="3132"/>
                    </a:lnTo>
                    <a:lnTo>
                      <a:pt x="3251" y="3116"/>
                    </a:lnTo>
                    <a:lnTo>
                      <a:pt x="3250" y="3100"/>
                    </a:lnTo>
                    <a:lnTo>
                      <a:pt x="3248" y="3084"/>
                    </a:lnTo>
                    <a:lnTo>
                      <a:pt x="3248" y="3072"/>
                    </a:lnTo>
                    <a:lnTo>
                      <a:pt x="3266" y="3044"/>
                    </a:lnTo>
                    <a:lnTo>
                      <a:pt x="3269" y="3035"/>
                    </a:lnTo>
                    <a:lnTo>
                      <a:pt x="3271" y="3028"/>
                    </a:lnTo>
                    <a:lnTo>
                      <a:pt x="3271" y="3020"/>
                    </a:lnTo>
                    <a:lnTo>
                      <a:pt x="3267" y="3008"/>
                    </a:lnTo>
                    <a:lnTo>
                      <a:pt x="3261" y="2995"/>
                    </a:lnTo>
                    <a:lnTo>
                      <a:pt x="3257" y="2993"/>
                    </a:lnTo>
                    <a:lnTo>
                      <a:pt x="3255" y="2987"/>
                    </a:lnTo>
                    <a:lnTo>
                      <a:pt x="3257" y="2986"/>
                    </a:lnTo>
                    <a:lnTo>
                      <a:pt x="3273" y="2988"/>
                    </a:lnTo>
                    <a:lnTo>
                      <a:pt x="3275" y="3002"/>
                    </a:lnTo>
                    <a:lnTo>
                      <a:pt x="3282" y="3014"/>
                    </a:lnTo>
                    <a:lnTo>
                      <a:pt x="3284" y="3015"/>
                    </a:lnTo>
                    <a:lnTo>
                      <a:pt x="3286" y="3012"/>
                    </a:lnTo>
                    <a:lnTo>
                      <a:pt x="3290" y="3009"/>
                    </a:lnTo>
                    <a:lnTo>
                      <a:pt x="3288" y="3023"/>
                    </a:lnTo>
                    <a:lnTo>
                      <a:pt x="3293" y="3023"/>
                    </a:lnTo>
                    <a:lnTo>
                      <a:pt x="3294" y="3031"/>
                    </a:lnTo>
                    <a:lnTo>
                      <a:pt x="3294" y="3038"/>
                    </a:lnTo>
                    <a:lnTo>
                      <a:pt x="3302" y="3029"/>
                    </a:lnTo>
                    <a:lnTo>
                      <a:pt x="3305" y="3028"/>
                    </a:lnTo>
                    <a:lnTo>
                      <a:pt x="3310" y="3036"/>
                    </a:lnTo>
                    <a:lnTo>
                      <a:pt x="3315" y="3039"/>
                    </a:lnTo>
                    <a:lnTo>
                      <a:pt x="3327" y="3044"/>
                    </a:lnTo>
                    <a:lnTo>
                      <a:pt x="3342" y="3044"/>
                    </a:lnTo>
                    <a:lnTo>
                      <a:pt x="3345" y="3038"/>
                    </a:lnTo>
                    <a:lnTo>
                      <a:pt x="3345" y="3033"/>
                    </a:lnTo>
                    <a:lnTo>
                      <a:pt x="3341" y="3023"/>
                    </a:lnTo>
                    <a:lnTo>
                      <a:pt x="3342" y="3018"/>
                    </a:lnTo>
                    <a:lnTo>
                      <a:pt x="3344" y="3017"/>
                    </a:lnTo>
                    <a:lnTo>
                      <a:pt x="3350" y="3023"/>
                    </a:lnTo>
                    <a:lnTo>
                      <a:pt x="3359" y="3023"/>
                    </a:lnTo>
                    <a:lnTo>
                      <a:pt x="3363" y="3020"/>
                    </a:lnTo>
                    <a:lnTo>
                      <a:pt x="3363" y="3019"/>
                    </a:lnTo>
                    <a:lnTo>
                      <a:pt x="3361" y="3015"/>
                    </a:lnTo>
                    <a:lnTo>
                      <a:pt x="3360" y="3013"/>
                    </a:lnTo>
                    <a:lnTo>
                      <a:pt x="3350" y="3009"/>
                    </a:lnTo>
                    <a:lnTo>
                      <a:pt x="3343" y="2997"/>
                    </a:lnTo>
                    <a:lnTo>
                      <a:pt x="3345" y="2995"/>
                    </a:lnTo>
                    <a:lnTo>
                      <a:pt x="3343" y="2986"/>
                    </a:lnTo>
                    <a:lnTo>
                      <a:pt x="3343" y="2979"/>
                    </a:lnTo>
                    <a:lnTo>
                      <a:pt x="3337" y="2979"/>
                    </a:lnTo>
                    <a:lnTo>
                      <a:pt x="3331" y="2975"/>
                    </a:lnTo>
                    <a:lnTo>
                      <a:pt x="3326" y="2968"/>
                    </a:lnTo>
                    <a:lnTo>
                      <a:pt x="3316" y="2960"/>
                    </a:lnTo>
                    <a:lnTo>
                      <a:pt x="3311" y="2942"/>
                    </a:lnTo>
                    <a:lnTo>
                      <a:pt x="3301" y="2936"/>
                    </a:lnTo>
                    <a:lnTo>
                      <a:pt x="3291" y="2933"/>
                    </a:lnTo>
                    <a:lnTo>
                      <a:pt x="3272" y="2931"/>
                    </a:lnTo>
                    <a:lnTo>
                      <a:pt x="3259" y="2933"/>
                    </a:lnTo>
                    <a:lnTo>
                      <a:pt x="3258" y="2928"/>
                    </a:lnTo>
                    <a:lnTo>
                      <a:pt x="3258" y="2923"/>
                    </a:lnTo>
                    <a:lnTo>
                      <a:pt x="3246" y="2925"/>
                    </a:lnTo>
                    <a:lnTo>
                      <a:pt x="3231" y="2923"/>
                    </a:lnTo>
                    <a:lnTo>
                      <a:pt x="3214" y="2920"/>
                    </a:lnTo>
                    <a:lnTo>
                      <a:pt x="3209" y="2917"/>
                    </a:lnTo>
                    <a:lnTo>
                      <a:pt x="3205" y="2918"/>
                    </a:lnTo>
                    <a:lnTo>
                      <a:pt x="3198" y="2917"/>
                    </a:lnTo>
                    <a:lnTo>
                      <a:pt x="3193" y="2912"/>
                    </a:lnTo>
                    <a:lnTo>
                      <a:pt x="3181" y="2915"/>
                    </a:lnTo>
                    <a:lnTo>
                      <a:pt x="3177" y="2917"/>
                    </a:lnTo>
                    <a:lnTo>
                      <a:pt x="3171" y="2916"/>
                    </a:lnTo>
                    <a:lnTo>
                      <a:pt x="3138" y="2904"/>
                    </a:lnTo>
                    <a:lnTo>
                      <a:pt x="3126" y="2905"/>
                    </a:lnTo>
                    <a:lnTo>
                      <a:pt x="3119" y="2906"/>
                    </a:lnTo>
                    <a:lnTo>
                      <a:pt x="3119" y="2899"/>
                    </a:lnTo>
                    <a:lnTo>
                      <a:pt x="3111" y="2884"/>
                    </a:lnTo>
                    <a:lnTo>
                      <a:pt x="3108" y="2882"/>
                    </a:lnTo>
                    <a:lnTo>
                      <a:pt x="3107" y="2883"/>
                    </a:lnTo>
                    <a:lnTo>
                      <a:pt x="3106" y="2886"/>
                    </a:lnTo>
                    <a:lnTo>
                      <a:pt x="3106" y="2891"/>
                    </a:lnTo>
                    <a:lnTo>
                      <a:pt x="3099" y="2891"/>
                    </a:lnTo>
                    <a:lnTo>
                      <a:pt x="3101" y="2890"/>
                    </a:lnTo>
                    <a:lnTo>
                      <a:pt x="3101" y="2889"/>
                    </a:lnTo>
                    <a:lnTo>
                      <a:pt x="3099" y="2888"/>
                    </a:lnTo>
                    <a:lnTo>
                      <a:pt x="3096" y="2880"/>
                    </a:lnTo>
                    <a:lnTo>
                      <a:pt x="3100" y="2873"/>
                    </a:lnTo>
                    <a:lnTo>
                      <a:pt x="3097" y="2873"/>
                    </a:lnTo>
                    <a:lnTo>
                      <a:pt x="3096" y="2868"/>
                    </a:lnTo>
                    <a:lnTo>
                      <a:pt x="3102" y="2861"/>
                    </a:lnTo>
                    <a:lnTo>
                      <a:pt x="3089" y="2853"/>
                    </a:lnTo>
                    <a:lnTo>
                      <a:pt x="3085" y="2840"/>
                    </a:lnTo>
                    <a:lnTo>
                      <a:pt x="3090" y="2824"/>
                    </a:lnTo>
                    <a:lnTo>
                      <a:pt x="3075" y="2805"/>
                    </a:lnTo>
                    <a:lnTo>
                      <a:pt x="3072" y="2798"/>
                    </a:lnTo>
                    <a:lnTo>
                      <a:pt x="3074" y="2781"/>
                    </a:lnTo>
                    <a:lnTo>
                      <a:pt x="3076" y="2770"/>
                    </a:lnTo>
                    <a:lnTo>
                      <a:pt x="3053" y="2773"/>
                    </a:lnTo>
                    <a:lnTo>
                      <a:pt x="3031" y="2775"/>
                    </a:lnTo>
                    <a:lnTo>
                      <a:pt x="3020" y="2766"/>
                    </a:lnTo>
                    <a:lnTo>
                      <a:pt x="3005" y="2733"/>
                    </a:lnTo>
                    <a:lnTo>
                      <a:pt x="2999" y="2717"/>
                    </a:lnTo>
                    <a:lnTo>
                      <a:pt x="2994" y="2710"/>
                    </a:lnTo>
                    <a:lnTo>
                      <a:pt x="2986" y="2710"/>
                    </a:lnTo>
                    <a:lnTo>
                      <a:pt x="2972" y="2705"/>
                    </a:lnTo>
                    <a:lnTo>
                      <a:pt x="2957" y="2705"/>
                    </a:lnTo>
                    <a:lnTo>
                      <a:pt x="2957" y="2744"/>
                    </a:lnTo>
                    <a:lnTo>
                      <a:pt x="2938" y="2699"/>
                    </a:lnTo>
                    <a:lnTo>
                      <a:pt x="2903" y="2686"/>
                    </a:lnTo>
                    <a:lnTo>
                      <a:pt x="2898" y="2690"/>
                    </a:lnTo>
                    <a:lnTo>
                      <a:pt x="2897" y="2692"/>
                    </a:lnTo>
                    <a:lnTo>
                      <a:pt x="2898" y="2712"/>
                    </a:lnTo>
                    <a:lnTo>
                      <a:pt x="2897" y="2716"/>
                    </a:lnTo>
                    <a:lnTo>
                      <a:pt x="2888" y="2722"/>
                    </a:lnTo>
                    <a:lnTo>
                      <a:pt x="2884" y="2730"/>
                    </a:lnTo>
                    <a:lnTo>
                      <a:pt x="2880" y="2733"/>
                    </a:lnTo>
                    <a:lnTo>
                      <a:pt x="2877" y="2726"/>
                    </a:lnTo>
                    <a:lnTo>
                      <a:pt x="2882" y="2716"/>
                    </a:lnTo>
                    <a:lnTo>
                      <a:pt x="2885" y="2707"/>
                    </a:lnTo>
                    <a:lnTo>
                      <a:pt x="2884" y="2702"/>
                    </a:lnTo>
                    <a:lnTo>
                      <a:pt x="2879" y="2711"/>
                    </a:lnTo>
                    <a:lnTo>
                      <a:pt x="2869" y="2734"/>
                    </a:lnTo>
                    <a:lnTo>
                      <a:pt x="2866" y="2738"/>
                    </a:lnTo>
                    <a:lnTo>
                      <a:pt x="2860" y="2740"/>
                    </a:lnTo>
                    <a:lnTo>
                      <a:pt x="2858" y="2732"/>
                    </a:lnTo>
                    <a:lnTo>
                      <a:pt x="2859" y="2721"/>
                    </a:lnTo>
                    <a:lnTo>
                      <a:pt x="2845" y="2738"/>
                    </a:lnTo>
                    <a:lnTo>
                      <a:pt x="2839" y="2753"/>
                    </a:lnTo>
                    <a:lnTo>
                      <a:pt x="2834" y="2756"/>
                    </a:lnTo>
                    <a:lnTo>
                      <a:pt x="2833" y="2761"/>
                    </a:lnTo>
                    <a:lnTo>
                      <a:pt x="2812" y="2771"/>
                    </a:lnTo>
                    <a:lnTo>
                      <a:pt x="2807" y="2771"/>
                    </a:lnTo>
                    <a:lnTo>
                      <a:pt x="2793" y="2764"/>
                    </a:lnTo>
                    <a:lnTo>
                      <a:pt x="2767" y="2764"/>
                    </a:lnTo>
                    <a:lnTo>
                      <a:pt x="2750" y="2756"/>
                    </a:lnTo>
                    <a:lnTo>
                      <a:pt x="2741" y="2757"/>
                    </a:lnTo>
                    <a:lnTo>
                      <a:pt x="2728" y="2764"/>
                    </a:lnTo>
                    <a:lnTo>
                      <a:pt x="2721" y="2765"/>
                    </a:lnTo>
                    <a:lnTo>
                      <a:pt x="2709" y="2759"/>
                    </a:lnTo>
                    <a:lnTo>
                      <a:pt x="2702" y="2749"/>
                    </a:lnTo>
                    <a:lnTo>
                      <a:pt x="2689" y="2745"/>
                    </a:lnTo>
                    <a:lnTo>
                      <a:pt x="2682" y="2739"/>
                    </a:lnTo>
                    <a:lnTo>
                      <a:pt x="2673" y="2737"/>
                    </a:lnTo>
                    <a:lnTo>
                      <a:pt x="2669" y="2734"/>
                    </a:lnTo>
                    <a:lnTo>
                      <a:pt x="2662" y="2727"/>
                    </a:lnTo>
                    <a:lnTo>
                      <a:pt x="2654" y="2721"/>
                    </a:lnTo>
                    <a:lnTo>
                      <a:pt x="2644" y="2717"/>
                    </a:lnTo>
                    <a:lnTo>
                      <a:pt x="2618" y="2716"/>
                    </a:lnTo>
                    <a:lnTo>
                      <a:pt x="2610" y="2721"/>
                    </a:lnTo>
                    <a:lnTo>
                      <a:pt x="2599" y="2721"/>
                    </a:lnTo>
                    <a:lnTo>
                      <a:pt x="2592" y="2719"/>
                    </a:lnTo>
                    <a:lnTo>
                      <a:pt x="2592" y="2717"/>
                    </a:lnTo>
                    <a:lnTo>
                      <a:pt x="2590" y="2716"/>
                    </a:lnTo>
                    <a:lnTo>
                      <a:pt x="2576" y="2712"/>
                    </a:lnTo>
                    <a:lnTo>
                      <a:pt x="2572" y="2708"/>
                    </a:lnTo>
                    <a:lnTo>
                      <a:pt x="2562" y="2711"/>
                    </a:lnTo>
                    <a:lnTo>
                      <a:pt x="2558" y="2711"/>
                    </a:lnTo>
                    <a:lnTo>
                      <a:pt x="2557" y="2708"/>
                    </a:lnTo>
                    <a:lnTo>
                      <a:pt x="2548" y="2710"/>
                    </a:lnTo>
                    <a:lnTo>
                      <a:pt x="2540" y="2687"/>
                    </a:lnTo>
                    <a:lnTo>
                      <a:pt x="2537" y="2686"/>
                    </a:lnTo>
                    <a:lnTo>
                      <a:pt x="2526" y="2654"/>
                    </a:lnTo>
                    <a:lnTo>
                      <a:pt x="2519" y="2653"/>
                    </a:lnTo>
                    <a:lnTo>
                      <a:pt x="2514" y="2653"/>
                    </a:lnTo>
                    <a:lnTo>
                      <a:pt x="2514" y="2689"/>
                    </a:lnTo>
                    <a:lnTo>
                      <a:pt x="2455" y="2689"/>
                    </a:lnTo>
                    <a:lnTo>
                      <a:pt x="2400" y="2689"/>
                    </a:lnTo>
                    <a:lnTo>
                      <a:pt x="2388" y="2689"/>
                    </a:lnTo>
                    <a:lnTo>
                      <a:pt x="2342" y="2689"/>
                    </a:lnTo>
                    <a:lnTo>
                      <a:pt x="2294" y="2689"/>
                    </a:lnTo>
                    <a:lnTo>
                      <a:pt x="2241" y="2689"/>
                    </a:lnTo>
                    <a:lnTo>
                      <a:pt x="2191" y="2689"/>
                    </a:lnTo>
                    <a:lnTo>
                      <a:pt x="2174" y="2689"/>
                    </a:lnTo>
                    <a:lnTo>
                      <a:pt x="2027" y="2689"/>
                    </a:lnTo>
                    <a:lnTo>
                      <a:pt x="1983" y="2689"/>
                    </a:lnTo>
                    <a:lnTo>
                      <a:pt x="1929" y="2689"/>
                    </a:lnTo>
                    <a:lnTo>
                      <a:pt x="1880" y="2689"/>
                    </a:lnTo>
                    <a:lnTo>
                      <a:pt x="1833" y="2689"/>
                    </a:lnTo>
                    <a:lnTo>
                      <a:pt x="1785" y="2689"/>
                    </a:lnTo>
                    <a:lnTo>
                      <a:pt x="1731" y="2689"/>
                    </a:lnTo>
                    <a:lnTo>
                      <a:pt x="1699" y="2689"/>
                    </a:lnTo>
                    <a:lnTo>
                      <a:pt x="1650" y="2687"/>
                    </a:lnTo>
                    <a:lnTo>
                      <a:pt x="1596" y="2687"/>
                    </a:lnTo>
                    <a:lnTo>
                      <a:pt x="1546" y="2687"/>
                    </a:lnTo>
                    <a:lnTo>
                      <a:pt x="1477" y="2687"/>
                    </a:lnTo>
                    <a:lnTo>
                      <a:pt x="1368" y="2687"/>
                    </a:lnTo>
                    <a:lnTo>
                      <a:pt x="1315" y="2687"/>
                    </a:lnTo>
                    <a:lnTo>
                      <a:pt x="1262" y="2687"/>
                    </a:lnTo>
                    <a:lnTo>
                      <a:pt x="1217" y="2687"/>
                    </a:lnTo>
                    <a:lnTo>
                      <a:pt x="1167" y="2687"/>
                    </a:lnTo>
                    <a:lnTo>
                      <a:pt x="1115" y="2687"/>
                    </a:lnTo>
                    <a:lnTo>
                      <a:pt x="1064" y="2687"/>
                    </a:lnTo>
                    <a:lnTo>
                      <a:pt x="1002" y="2687"/>
                    </a:lnTo>
                    <a:lnTo>
                      <a:pt x="1000" y="2683"/>
                    </a:lnTo>
                    <a:lnTo>
                      <a:pt x="994" y="2679"/>
                    </a:lnTo>
                    <a:lnTo>
                      <a:pt x="989" y="2680"/>
                    </a:lnTo>
                    <a:lnTo>
                      <a:pt x="988" y="2678"/>
                    </a:lnTo>
                    <a:lnTo>
                      <a:pt x="989" y="2674"/>
                    </a:lnTo>
                    <a:lnTo>
                      <a:pt x="999" y="2670"/>
                    </a:lnTo>
                    <a:lnTo>
                      <a:pt x="1011" y="2671"/>
                    </a:lnTo>
                    <a:lnTo>
                      <a:pt x="1010" y="2665"/>
                    </a:lnTo>
                    <a:lnTo>
                      <a:pt x="1008" y="2665"/>
                    </a:lnTo>
                    <a:lnTo>
                      <a:pt x="1006" y="2663"/>
                    </a:lnTo>
                    <a:lnTo>
                      <a:pt x="1004" y="2662"/>
                    </a:lnTo>
                    <a:lnTo>
                      <a:pt x="992" y="2665"/>
                    </a:lnTo>
                    <a:lnTo>
                      <a:pt x="981" y="2664"/>
                    </a:lnTo>
                    <a:lnTo>
                      <a:pt x="979" y="2660"/>
                    </a:lnTo>
                    <a:lnTo>
                      <a:pt x="979" y="2659"/>
                    </a:lnTo>
                    <a:lnTo>
                      <a:pt x="977" y="2656"/>
                    </a:lnTo>
                    <a:lnTo>
                      <a:pt x="977" y="2652"/>
                    </a:lnTo>
                    <a:lnTo>
                      <a:pt x="979" y="2651"/>
                    </a:lnTo>
                    <a:lnTo>
                      <a:pt x="981" y="2626"/>
                    </a:lnTo>
                    <a:lnTo>
                      <a:pt x="976" y="2625"/>
                    </a:lnTo>
                    <a:lnTo>
                      <a:pt x="975" y="2630"/>
                    </a:lnTo>
                    <a:lnTo>
                      <a:pt x="966" y="2638"/>
                    </a:lnTo>
                    <a:lnTo>
                      <a:pt x="960" y="2649"/>
                    </a:lnTo>
                    <a:lnTo>
                      <a:pt x="955" y="2648"/>
                    </a:lnTo>
                    <a:lnTo>
                      <a:pt x="952" y="2641"/>
                    </a:lnTo>
                    <a:lnTo>
                      <a:pt x="952" y="2637"/>
                    </a:lnTo>
                    <a:lnTo>
                      <a:pt x="955" y="2626"/>
                    </a:lnTo>
                    <a:lnTo>
                      <a:pt x="949" y="2626"/>
                    </a:lnTo>
                    <a:lnTo>
                      <a:pt x="949" y="2621"/>
                    </a:lnTo>
                    <a:lnTo>
                      <a:pt x="946" y="2621"/>
                    </a:lnTo>
                    <a:lnTo>
                      <a:pt x="944" y="2616"/>
                    </a:lnTo>
                    <a:lnTo>
                      <a:pt x="944" y="2611"/>
                    </a:lnTo>
                    <a:lnTo>
                      <a:pt x="939" y="2606"/>
                    </a:lnTo>
                    <a:lnTo>
                      <a:pt x="936" y="2598"/>
                    </a:lnTo>
                    <a:lnTo>
                      <a:pt x="935" y="2600"/>
                    </a:lnTo>
                    <a:lnTo>
                      <a:pt x="938" y="2609"/>
                    </a:lnTo>
                    <a:lnTo>
                      <a:pt x="936" y="2614"/>
                    </a:lnTo>
                    <a:lnTo>
                      <a:pt x="930" y="2605"/>
                    </a:lnTo>
                    <a:lnTo>
                      <a:pt x="927" y="2615"/>
                    </a:lnTo>
                    <a:lnTo>
                      <a:pt x="923" y="2617"/>
                    </a:lnTo>
                    <a:lnTo>
                      <a:pt x="911" y="2617"/>
                    </a:lnTo>
                    <a:lnTo>
                      <a:pt x="902" y="2610"/>
                    </a:lnTo>
                    <a:lnTo>
                      <a:pt x="898" y="2605"/>
                    </a:lnTo>
                    <a:lnTo>
                      <a:pt x="892" y="2599"/>
                    </a:lnTo>
                    <a:lnTo>
                      <a:pt x="891" y="2594"/>
                    </a:lnTo>
                    <a:lnTo>
                      <a:pt x="898" y="2588"/>
                    </a:lnTo>
                    <a:lnTo>
                      <a:pt x="900" y="2584"/>
                    </a:lnTo>
                    <a:lnTo>
                      <a:pt x="900" y="2578"/>
                    </a:lnTo>
                    <a:lnTo>
                      <a:pt x="897" y="2573"/>
                    </a:lnTo>
                    <a:lnTo>
                      <a:pt x="900" y="2565"/>
                    </a:lnTo>
                    <a:lnTo>
                      <a:pt x="896" y="2563"/>
                    </a:lnTo>
                    <a:lnTo>
                      <a:pt x="890" y="2568"/>
                    </a:lnTo>
                    <a:lnTo>
                      <a:pt x="884" y="2570"/>
                    </a:lnTo>
                    <a:lnTo>
                      <a:pt x="880" y="2565"/>
                    </a:lnTo>
                    <a:lnTo>
                      <a:pt x="878" y="2555"/>
                    </a:lnTo>
                    <a:lnTo>
                      <a:pt x="875" y="2555"/>
                    </a:lnTo>
                    <a:lnTo>
                      <a:pt x="864" y="2561"/>
                    </a:lnTo>
                    <a:lnTo>
                      <a:pt x="853" y="2557"/>
                    </a:lnTo>
                    <a:lnTo>
                      <a:pt x="849" y="2560"/>
                    </a:lnTo>
                    <a:lnTo>
                      <a:pt x="842" y="2554"/>
                    </a:lnTo>
                    <a:lnTo>
                      <a:pt x="841" y="2558"/>
                    </a:lnTo>
                    <a:lnTo>
                      <a:pt x="837" y="2561"/>
                    </a:lnTo>
                    <a:lnTo>
                      <a:pt x="833" y="2557"/>
                    </a:lnTo>
                    <a:lnTo>
                      <a:pt x="803" y="2556"/>
                    </a:lnTo>
                    <a:lnTo>
                      <a:pt x="800" y="2552"/>
                    </a:lnTo>
                    <a:lnTo>
                      <a:pt x="826" y="2545"/>
                    </a:lnTo>
                    <a:lnTo>
                      <a:pt x="828" y="2541"/>
                    </a:lnTo>
                    <a:lnTo>
                      <a:pt x="816" y="2541"/>
                    </a:lnTo>
                    <a:lnTo>
                      <a:pt x="819" y="2531"/>
                    </a:lnTo>
                    <a:lnTo>
                      <a:pt x="809" y="2528"/>
                    </a:lnTo>
                    <a:lnTo>
                      <a:pt x="803" y="2527"/>
                    </a:lnTo>
                    <a:lnTo>
                      <a:pt x="803" y="2525"/>
                    </a:lnTo>
                    <a:lnTo>
                      <a:pt x="810" y="2525"/>
                    </a:lnTo>
                    <a:lnTo>
                      <a:pt x="815" y="2523"/>
                    </a:lnTo>
                    <a:lnTo>
                      <a:pt x="810" y="2517"/>
                    </a:lnTo>
                    <a:lnTo>
                      <a:pt x="794" y="2514"/>
                    </a:lnTo>
                    <a:lnTo>
                      <a:pt x="787" y="2522"/>
                    </a:lnTo>
                    <a:lnTo>
                      <a:pt x="783" y="2518"/>
                    </a:lnTo>
                    <a:lnTo>
                      <a:pt x="766" y="2517"/>
                    </a:lnTo>
                    <a:lnTo>
                      <a:pt x="764" y="2520"/>
                    </a:lnTo>
                    <a:lnTo>
                      <a:pt x="767" y="2524"/>
                    </a:lnTo>
                    <a:lnTo>
                      <a:pt x="762" y="2525"/>
                    </a:lnTo>
                    <a:lnTo>
                      <a:pt x="740" y="2514"/>
                    </a:lnTo>
                    <a:lnTo>
                      <a:pt x="731" y="2504"/>
                    </a:lnTo>
                    <a:lnTo>
                      <a:pt x="729" y="2498"/>
                    </a:lnTo>
                    <a:lnTo>
                      <a:pt x="729" y="2492"/>
                    </a:lnTo>
                    <a:lnTo>
                      <a:pt x="735" y="2490"/>
                    </a:lnTo>
                    <a:lnTo>
                      <a:pt x="741" y="2490"/>
                    </a:lnTo>
                    <a:lnTo>
                      <a:pt x="747" y="2487"/>
                    </a:lnTo>
                    <a:lnTo>
                      <a:pt x="745" y="2484"/>
                    </a:lnTo>
                    <a:lnTo>
                      <a:pt x="740" y="2481"/>
                    </a:lnTo>
                    <a:lnTo>
                      <a:pt x="729" y="2484"/>
                    </a:lnTo>
                    <a:lnTo>
                      <a:pt x="730" y="2479"/>
                    </a:lnTo>
                    <a:lnTo>
                      <a:pt x="741" y="2474"/>
                    </a:lnTo>
                    <a:lnTo>
                      <a:pt x="752" y="2475"/>
                    </a:lnTo>
                    <a:lnTo>
                      <a:pt x="756" y="2472"/>
                    </a:lnTo>
                    <a:lnTo>
                      <a:pt x="745" y="2469"/>
                    </a:lnTo>
                    <a:lnTo>
                      <a:pt x="742" y="2465"/>
                    </a:lnTo>
                    <a:lnTo>
                      <a:pt x="750" y="2457"/>
                    </a:lnTo>
                    <a:lnTo>
                      <a:pt x="742" y="2448"/>
                    </a:lnTo>
                    <a:lnTo>
                      <a:pt x="734" y="2461"/>
                    </a:lnTo>
                    <a:lnTo>
                      <a:pt x="728" y="2463"/>
                    </a:lnTo>
                    <a:lnTo>
                      <a:pt x="725" y="2461"/>
                    </a:lnTo>
                    <a:lnTo>
                      <a:pt x="723" y="2454"/>
                    </a:lnTo>
                    <a:lnTo>
                      <a:pt x="723" y="2443"/>
                    </a:lnTo>
                    <a:lnTo>
                      <a:pt x="725" y="2430"/>
                    </a:lnTo>
                    <a:lnTo>
                      <a:pt x="723" y="2428"/>
                    </a:lnTo>
                    <a:lnTo>
                      <a:pt x="722" y="2425"/>
                    </a:lnTo>
                    <a:lnTo>
                      <a:pt x="722" y="2420"/>
                    </a:lnTo>
                    <a:lnTo>
                      <a:pt x="724" y="2409"/>
                    </a:lnTo>
                    <a:lnTo>
                      <a:pt x="723" y="2402"/>
                    </a:lnTo>
                    <a:lnTo>
                      <a:pt x="719" y="2400"/>
                    </a:lnTo>
                    <a:lnTo>
                      <a:pt x="719" y="2393"/>
                    </a:lnTo>
                    <a:lnTo>
                      <a:pt x="718" y="2388"/>
                    </a:lnTo>
                    <a:lnTo>
                      <a:pt x="707" y="2394"/>
                    </a:lnTo>
                    <a:lnTo>
                      <a:pt x="698" y="2395"/>
                    </a:lnTo>
                    <a:lnTo>
                      <a:pt x="699" y="2390"/>
                    </a:lnTo>
                    <a:lnTo>
                      <a:pt x="702" y="2388"/>
                    </a:lnTo>
                    <a:lnTo>
                      <a:pt x="702" y="2383"/>
                    </a:lnTo>
                    <a:lnTo>
                      <a:pt x="699" y="2378"/>
                    </a:lnTo>
                    <a:lnTo>
                      <a:pt x="693" y="2378"/>
                    </a:lnTo>
                    <a:lnTo>
                      <a:pt x="683" y="2382"/>
                    </a:lnTo>
                    <a:lnTo>
                      <a:pt x="674" y="2380"/>
                    </a:lnTo>
                    <a:lnTo>
                      <a:pt x="671" y="2377"/>
                    </a:lnTo>
                    <a:lnTo>
                      <a:pt x="669" y="2363"/>
                    </a:lnTo>
                    <a:lnTo>
                      <a:pt x="663" y="2361"/>
                    </a:lnTo>
                    <a:lnTo>
                      <a:pt x="656" y="2350"/>
                    </a:lnTo>
                    <a:lnTo>
                      <a:pt x="655" y="2345"/>
                    </a:lnTo>
                    <a:lnTo>
                      <a:pt x="651" y="2337"/>
                    </a:lnTo>
                    <a:lnTo>
                      <a:pt x="654" y="2326"/>
                    </a:lnTo>
                    <a:lnTo>
                      <a:pt x="658" y="2321"/>
                    </a:lnTo>
                    <a:lnTo>
                      <a:pt x="658" y="2308"/>
                    </a:lnTo>
                    <a:lnTo>
                      <a:pt x="658" y="2298"/>
                    </a:lnTo>
                    <a:lnTo>
                      <a:pt x="656" y="2296"/>
                    </a:lnTo>
                    <a:lnTo>
                      <a:pt x="653" y="2292"/>
                    </a:lnTo>
                    <a:lnTo>
                      <a:pt x="647" y="2297"/>
                    </a:lnTo>
                    <a:lnTo>
                      <a:pt x="645" y="2299"/>
                    </a:lnTo>
                    <a:lnTo>
                      <a:pt x="643" y="2298"/>
                    </a:lnTo>
                    <a:lnTo>
                      <a:pt x="642" y="2296"/>
                    </a:lnTo>
                    <a:lnTo>
                      <a:pt x="640" y="2296"/>
                    </a:lnTo>
                    <a:lnTo>
                      <a:pt x="624" y="2278"/>
                    </a:lnTo>
                    <a:lnTo>
                      <a:pt x="621" y="2270"/>
                    </a:lnTo>
                    <a:lnTo>
                      <a:pt x="616" y="2264"/>
                    </a:lnTo>
                    <a:lnTo>
                      <a:pt x="600" y="2250"/>
                    </a:lnTo>
                    <a:lnTo>
                      <a:pt x="599" y="2246"/>
                    </a:lnTo>
                    <a:lnTo>
                      <a:pt x="600" y="2238"/>
                    </a:lnTo>
                    <a:lnTo>
                      <a:pt x="605" y="2233"/>
                    </a:lnTo>
                    <a:lnTo>
                      <a:pt x="610" y="2231"/>
                    </a:lnTo>
                    <a:lnTo>
                      <a:pt x="608" y="2226"/>
                    </a:lnTo>
                    <a:lnTo>
                      <a:pt x="595" y="2227"/>
                    </a:lnTo>
                    <a:lnTo>
                      <a:pt x="590" y="2224"/>
                    </a:lnTo>
                    <a:lnTo>
                      <a:pt x="583" y="2211"/>
                    </a:lnTo>
                    <a:lnTo>
                      <a:pt x="580" y="2208"/>
                    </a:lnTo>
                    <a:lnTo>
                      <a:pt x="580" y="2195"/>
                    </a:lnTo>
                    <a:lnTo>
                      <a:pt x="584" y="2189"/>
                    </a:lnTo>
                    <a:lnTo>
                      <a:pt x="586" y="2181"/>
                    </a:lnTo>
                    <a:lnTo>
                      <a:pt x="591" y="2179"/>
                    </a:lnTo>
                    <a:lnTo>
                      <a:pt x="599" y="2185"/>
                    </a:lnTo>
                    <a:lnTo>
                      <a:pt x="600" y="2181"/>
                    </a:lnTo>
                    <a:lnTo>
                      <a:pt x="596" y="2175"/>
                    </a:lnTo>
                    <a:lnTo>
                      <a:pt x="596" y="2170"/>
                    </a:lnTo>
                    <a:lnTo>
                      <a:pt x="599" y="2161"/>
                    </a:lnTo>
                    <a:lnTo>
                      <a:pt x="604" y="2157"/>
                    </a:lnTo>
                    <a:lnTo>
                      <a:pt x="604" y="2153"/>
                    </a:lnTo>
                    <a:lnTo>
                      <a:pt x="601" y="2147"/>
                    </a:lnTo>
                    <a:lnTo>
                      <a:pt x="599" y="2147"/>
                    </a:lnTo>
                    <a:lnTo>
                      <a:pt x="600" y="2140"/>
                    </a:lnTo>
                    <a:lnTo>
                      <a:pt x="602" y="2136"/>
                    </a:lnTo>
                    <a:lnTo>
                      <a:pt x="605" y="2130"/>
                    </a:lnTo>
                    <a:lnTo>
                      <a:pt x="605" y="2125"/>
                    </a:lnTo>
                    <a:lnTo>
                      <a:pt x="600" y="2109"/>
                    </a:lnTo>
                    <a:lnTo>
                      <a:pt x="600" y="2082"/>
                    </a:lnTo>
                    <a:lnTo>
                      <a:pt x="602" y="2067"/>
                    </a:lnTo>
                    <a:lnTo>
                      <a:pt x="605" y="2062"/>
                    </a:lnTo>
                    <a:lnTo>
                      <a:pt x="605" y="2060"/>
                    </a:lnTo>
                    <a:lnTo>
                      <a:pt x="601" y="2054"/>
                    </a:lnTo>
                    <a:lnTo>
                      <a:pt x="599" y="2050"/>
                    </a:lnTo>
                    <a:lnTo>
                      <a:pt x="580" y="2045"/>
                    </a:lnTo>
                    <a:lnTo>
                      <a:pt x="575" y="2039"/>
                    </a:lnTo>
                    <a:lnTo>
                      <a:pt x="550" y="2018"/>
                    </a:lnTo>
                    <a:lnTo>
                      <a:pt x="514" y="2008"/>
                    </a:lnTo>
                    <a:lnTo>
                      <a:pt x="502" y="2001"/>
                    </a:lnTo>
                    <a:lnTo>
                      <a:pt x="497" y="1995"/>
                    </a:lnTo>
                    <a:lnTo>
                      <a:pt x="492" y="1986"/>
                    </a:lnTo>
                    <a:lnTo>
                      <a:pt x="487" y="1969"/>
                    </a:lnTo>
                    <a:lnTo>
                      <a:pt x="487" y="1965"/>
                    </a:lnTo>
                    <a:lnTo>
                      <a:pt x="483" y="1958"/>
                    </a:lnTo>
                    <a:lnTo>
                      <a:pt x="473" y="1949"/>
                    </a:lnTo>
                    <a:lnTo>
                      <a:pt x="472" y="1944"/>
                    </a:lnTo>
                    <a:lnTo>
                      <a:pt x="475" y="1939"/>
                    </a:lnTo>
                    <a:lnTo>
                      <a:pt x="475" y="1936"/>
                    </a:lnTo>
                    <a:lnTo>
                      <a:pt x="471" y="1928"/>
                    </a:lnTo>
                    <a:lnTo>
                      <a:pt x="457" y="1911"/>
                    </a:lnTo>
                    <a:lnTo>
                      <a:pt x="452" y="1893"/>
                    </a:lnTo>
                    <a:lnTo>
                      <a:pt x="449" y="1893"/>
                    </a:lnTo>
                    <a:lnTo>
                      <a:pt x="448" y="1890"/>
                    </a:lnTo>
                    <a:lnTo>
                      <a:pt x="441" y="1872"/>
                    </a:lnTo>
                    <a:lnTo>
                      <a:pt x="413" y="1826"/>
                    </a:lnTo>
                    <a:lnTo>
                      <a:pt x="402" y="1807"/>
                    </a:lnTo>
                    <a:lnTo>
                      <a:pt x="395" y="1786"/>
                    </a:lnTo>
                    <a:lnTo>
                      <a:pt x="384" y="1775"/>
                    </a:lnTo>
                    <a:lnTo>
                      <a:pt x="363" y="1766"/>
                    </a:lnTo>
                    <a:lnTo>
                      <a:pt x="359" y="1759"/>
                    </a:lnTo>
                    <a:lnTo>
                      <a:pt x="359" y="1756"/>
                    </a:lnTo>
                    <a:lnTo>
                      <a:pt x="355" y="1740"/>
                    </a:lnTo>
                    <a:lnTo>
                      <a:pt x="343" y="1729"/>
                    </a:lnTo>
                    <a:lnTo>
                      <a:pt x="341" y="1721"/>
                    </a:lnTo>
                    <a:lnTo>
                      <a:pt x="332" y="1707"/>
                    </a:lnTo>
                    <a:lnTo>
                      <a:pt x="328" y="1695"/>
                    </a:lnTo>
                    <a:lnTo>
                      <a:pt x="323" y="1695"/>
                    </a:lnTo>
                    <a:lnTo>
                      <a:pt x="320" y="1691"/>
                    </a:lnTo>
                    <a:lnTo>
                      <a:pt x="311" y="1673"/>
                    </a:lnTo>
                    <a:lnTo>
                      <a:pt x="305" y="1667"/>
                    </a:lnTo>
                    <a:lnTo>
                      <a:pt x="300" y="1666"/>
                    </a:lnTo>
                    <a:lnTo>
                      <a:pt x="278" y="1683"/>
                    </a:lnTo>
                    <a:lnTo>
                      <a:pt x="257" y="1689"/>
                    </a:lnTo>
                    <a:lnTo>
                      <a:pt x="252" y="1695"/>
                    </a:lnTo>
                    <a:lnTo>
                      <a:pt x="251" y="1707"/>
                    </a:lnTo>
                    <a:lnTo>
                      <a:pt x="249" y="1710"/>
                    </a:lnTo>
                    <a:lnTo>
                      <a:pt x="242" y="1713"/>
                    </a:lnTo>
                    <a:lnTo>
                      <a:pt x="240" y="1717"/>
                    </a:lnTo>
                    <a:lnTo>
                      <a:pt x="240" y="1726"/>
                    </a:lnTo>
                    <a:lnTo>
                      <a:pt x="236" y="1734"/>
                    </a:lnTo>
                    <a:lnTo>
                      <a:pt x="220" y="1739"/>
                    </a:lnTo>
                    <a:lnTo>
                      <a:pt x="204" y="1753"/>
                    </a:lnTo>
                    <a:lnTo>
                      <a:pt x="191" y="1758"/>
                    </a:lnTo>
                    <a:lnTo>
                      <a:pt x="188" y="1756"/>
                    </a:lnTo>
                    <a:lnTo>
                      <a:pt x="188" y="1753"/>
                    </a:lnTo>
                    <a:lnTo>
                      <a:pt x="185" y="1747"/>
                    </a:lnTo>
                    <a:lnTo>
                      <a:pt x="175" y="1723"/>
                    </a:lnTo>
                    <a:lnTo>
                      <a:pt x="159" y="1710"/>
                    </a:lnTo>
                    <a:lnTo>
                      <a:pt x="176" y="1695"/>
                    </a:lnTo>
                    <a:lnTo>
                      <a:pt x="174" y="1691"/>
                    </a:lnTo>
                    <a:lnTo>
                      <a:pt x="158" y="1681"/>
                    </a:lnTo>
                    <a:lnTo>
                      <a:pt x="169" y="1693"/>
                    </a:lnTo>
                    <a:lnTo>
                      <a:pt x="166" y="1697"/>
                    </a:lnTo>
                    <a:lnTo>
                      <a:pt x="155" y="1695"/>
                    </a:lnTo>
                    <a:lnTo>
                      <a:pt x="152" y="1702"/>
                    </a:lnTo>
                    <a:lnTo>
                      <a:pt x="149" y="1699"/>
                    </a:lnTo>
                    <a:lnTo>
                      <a:pt x="122" y="1664"/>
                    </a:lnTo>
                    <a:lnTo>
                      <a:pt x="117" y="1653"/>
                    </a:lnTo>
                    <a:lnTo>
                      <a:pt x="104" y="1642"/>
                    </a:lnTo>
                    <a:lnTo>
                      <a:pt x="97" y="1636"/>
                    </a:lnTo>
                    <a:lnTo>
                      <a:pt x="101" y="1636"/>
                    </a:lnTo>
                    <a:lnTo>
                      <a:pt x="101" y="1630"/>
                    </a:lnTo>
                    <a:lnTo>
                      <a:pt x="101" y="1608"/>
                    </a:lnTo>
                    <a:lnTo>
                      <a:pt x="68" y="1609"/>
                    </a:lnTo>
                    <a:lnTo>
                      <a:pt x="56" y="1624"/>
                    </a:lnTo>
                    <a:lnTo>
                      <a:pt x="50" y="1621"/>
                    </a:lnTo>
                    <a:lnTo>
                      <a:pt x="35" y="1610"/>
                    </a:lnTo>
                    <a:lnTo>
                      <a:pt x="20" y="1621"/>
                    </a:lnTo>
                    <a:lnTo>
                      <a:pt x="0" y="1609"/>
                    </a:lnTo>
                    <a:lnTo>
                      <a:pt x="0" y="1573"/>
                    </a:lnTo>
                    <a:lnTo>
                      <a:pt x="0" y="1463"/>
                    </a:lnTo>
                    <a:lnTo>
                      <a:pt x="0" y="1356"/>
                    </a:lnTo>
                    <a:lnTo>
                      <a:pt x="0" y="1255"/>
                    </a:lnTo>
                    <a:lnTo>
                      <a:pt x="0" y="1146"/>
                    </a:lnTo>
                    <a:lnTo>
                      <a:pt x="0" y="1022"/>
                    </a:lnTo>
                    <a:lnTo>
                      <a:pt x="0" y="900"/>
                    </a:lnTo>
                    <a:lnTo>
                      <a:pt x="0" y="785"/>
                    </a:lnTo>
                    <a:lnTo>
                      <a:pt x="0" y="660"/>
                    </a:lnTo>
                    <a:lnTo>
                      <a:pt x="0" y="516"/>
                    </a:lnTo>
                    <a:lnTo>
                      <a:pt x="0" y="373"/>
                    </a:lnTo>
                    <a:lnTo>
                      <a:pt x="2" y="376"/>
                    </a:lnTo>
                    <a:lnTo>
                      <a:pt x="11" y="381"/>
                    </a:lnTo>
                    <a:lnTo>
                      <a:pt x="21" y="384"/>
                    </a:lnTo>
                    <a:lnTo>
                      <a:pt x="62" y="383"/>
                    </a:lnTo>
                    <a:lnTo>
                      <a:pt x="70" y="386"/>
                    </a:lnTo>
                    <a:lnTo>
                      <a:pt x="74" y="393"/>
                    </a:lnTo>
                    <a:lnTo>
                      <a:pt x="91" y="394"/>
                    </a:lnTo>
                    <a:lnTo>
                      <a:pt x="110" y="413"/>
                    </a:lnTo>
                    <a:lnTo>
                      <a:pt x="132" y="447"/>
                    </a:lnTo>
                    <a:lnTo>
                      <a:pt x="139" y="447"/>
                    </a:lnTo>
                    <a:lnTo>
                      <a:pt x="143" y="451"/>
                    </a:lnTo>
                    <a:lnTo>
                      <a:pt x="145" y="445"/>
                    </a:lnTo>
                    <a:lnTo>
                      <a:pt x="149" y="454"/>
                    </a:lnTo>
                    <a:lnTo>
                      <a:pt x="159" y="465"/>
                    </a:lnTo>
                    <a:lnTo>
                      <a:pt x="170" y="475"/>
                    </a:lnTo>
                    <a:lnTo>
                      <a:pt x="179" y="480"/>
                    </a:lnTo>
                    <a:lnTo>
                      <a:pt x="191" y="492"/>
                    </a:lnTo>
                    <a:lnTo>
                      <a:pt x="198" y="491"/>
                    </a:lnTo>
                    <a:lnTo>
                      <a:pt x="214" y="495"/>
                    </a:lnTo>
                    <a:lnTo>
                      <a:pt x="228" y="502"/>
                    </a:lnTo>
                    <a:lnTo>
                      <a:pt x="235" y="504"/>
                    </a:lnTo>
                    <a:lnTo>
                      <a:pt x="241" y="501"/>
                    </a:lnTo>
                    <a:lnTo>
                      <a:pt x="246" y="505"/>
                    </a:lnTo>
                    <a:lnTo>
                      <a:pt x="246" y="500"/>
                    </a:lnTo>
                    <a:lnTo>
                      <a:pt x="244" y="492"/>
                    </a:lnTo>
                    <a:lnTo>
                      <a:pt x="255" y="497"/>
                    </a:lnTo>
                    <a:lnTo>
                      <a:pt x="265" y="501"/>
                    </a:lnTo>
                    <a:lnTo>
                      <a:pt x="269" y="506"/>
                    </a:lnTo>
                    <a:lnTo>
                      <a:pt x="277" y="507"/>
                    </a:lnTo>
                    <a:lnTo>
                      <a:pt x="288" y="516"/>
                    </a:lnTo>
                    <a:lnTo>
                      <a:pt x="309" y="537"/>
                    </a:lnTo>
                    <a:lnTo>
                      <a:pt x="316" y="535"/>
                    </a:lnTo>
                    <a:lnTo>
                      <a:pt x="321" y="537"/>
                    </a:lnTo>
                    <a:lnTo>
                      <a:pt x="319" y="529"/>
                    </a:lnTo>
                    <a:lnTo>
                      <a:pt x="308" y="517"/>
                    </a:lnTo>
                    <a:lnTo>
                      <a:pt x="304" y="506"/>
                    </a:lnTo>
                    <a:lnTo>
                      <a:pt x="300" y="501"/>
                    </a:lnTo>
                    <a:lnTo>
                      <a:pt x="306" y="499"/>
                    </a:lnTo>
                    <a:lnTo>
                      <a:pt x="322" y="505"/>
                    </a:lnTo>
                    <a:lnTo>
                      <a:pt x="331" y="502"/>
                    </a:lnTo>
                    <a:lnTo>
                      <a:pt x="341" y="505"/>
                    </a:lnTo>
                    <a:lnTo>
                      <a:pt x="347" y="510"/>
                    </a:lnTo>
                    <a:lnTo>
                      <a:pt x="349" y="524"/>
                    </a:lnTo>
                    <a:lnTo>
                      <a:pt x="354" y="532"/>
                    </a:lnTo>
                    <a:lnTo>
                      <a:pt x="370" y="545"/>
                    </a:lnTo>
                    <a:lnTo>
                      <a:pt x="373" y="553"/>
                    </a:lnTo>
                    <a:lnTo>
                      <a:pt x="376" y="542"/>
                    </a:lnTo>
                    <a:lnTo>
                      <a:pt x="375" y="527"/>
                    </a:lnTo>
                    <a:lnTo>
                      <a:pt x="370" y="522"/>
                    </a:lnTo>
                    <a:lnTo>
                      <a:pt x="353" y="490"/>
                    </a:lnTo>
                    <a:lnTo>
                      <a:pt x="349" y="480"/>
                    </a:lnTo>
                    <a:lnTo>
                      <a:pt x="349" y="475"/>
                    </a:lnTo>
                    <a:lnTo>
                      <a:pt x="360" y="468"/>
                    </a:lnTo>
                    <a:lnTo>
                      <a:pt x="369" y="456"/>
                    </a:lnTo>
                    <a:lnTo>
                      <a:pt x="385" y="445"/>
                    </a:lnTo>
                    <a:lnTo>
                      <a:pt x="391" y="435"/>
                    </a:lnTo>
                    <a:lnTo>
                      <a:pt x="396" y="435"/>
                    </a:lnTo>
                    <a:lnTo>
                      <a:pt x="400" y="429"/>
                    </a:lnTo>
                    <a:lnTo>
                      <a:pt x="423" y="425"/>
                    </a:lnTo>
                    <a:lnTo>
                      <a:pt x="430" y="420"/>
                    </a:lnTo>
                    <a:lnTo>
                      <a:pt x="439" y="411"/>
                    </a:lnTo>
                    <a:lnTo>
                      <a:pt x="440" y="391"/>
                    </a:lnTo>
                    <a:lnTo>
                      <a:pt x="448" y="384"/>
                    </a:lnTo>
                    <a:lnTo>
                      <a:pt x="450" y="387"/>
                    </a:lnTo>
                    <a:lnTo>
                      <a:pt x="455" y="387"/>
                    </a:lnTo>
                    <a:lnTo>
                      <a:pt x="457" y="378"/>
                    </a:lnTo>
                    <a:lnTo>
                      <a:pt x="464" y="371"/>
                    </a:lnTo>
                    <a:lnTo>
                      <a:pt x="468" y="371"/>
                    </a:lnTo>
                    <a:lnTo>
                      <a:pt x="470" y="376"/>
                    </a:lnTo>
                    <a:lnTo>
                      <a:pt x="484" y="376"/>
                    </a:lnTo>
                    <a:lnTo>
                      <a:pt x="491" y="370"/>
                    </a:lnTo>
                    <a:lnTo>
                      <a:pt x="492" y="365"/>
                    </a:lnTo>
                    <a:lnTo>
                      <a:pt x="500" y="362"/>
                    </a:lnTo>
                    <a:lnTo>
                      <a:pt x="521" y="348"/>
                    </a:lnTo>
                    <a:lnTo>
                      <a:pt x="524" y="336"/>
                    </a:lnTo>
                    <a:lnTo>
                      <a:pt x="542" y="344"/>
                    </a:lnTo>
                    <a:lnTo>
                      <a:pt x="550" y="334"/>
                    </a:lnTo>
                    <a:lnTo>
                      <a:pt x="551" y="324"/>
                    </a:lnTo>
                    <a:lnTo>
                      <a:pt x="554" y="316"/>
                    </a:lnTo>
                    <a:lnTo>
                      <a:pt x="568" y="309"/>
                    </a:lnTo>
                    <a:lnTo>
                      <a:pt x="574" y="303"/>
                    </a:lnTo>
                    <a:lnTo>
                      <a:pt x="585" y="312"/>
                    </a:lnTo>
                    <a:lnTo>
                      <a:pt x="593" y="312"/>
                    </a:lnTo>
                    <a:lnTo>
                      <a:pt x="597" y="317"/>
                    </a:lnTo>
                    <a:lnTo>
                      <a:pt x="606" y="313"/>
                    </a:lnTo>
                    <a:lnTo>
                      <a:pt x="612" y="302"/>
                    </a:lnTo>
                    <a:lnTo>
                      <a:pt x="613" y="295"/>
                    </a:lnTo>
                    <a:lnTo>
                      <a:pt x="621" y="290"/>
                    </a:lnTo>
                    <a:lnTo>
                      <a:pt x="623" y="297"/>
                    </a:lnTo>
                    <a:lnTo>
                      <a:pt x="629" y="305"/>
                    </a:lnTo>
                    <a:lnTo>
                      <a:pt x="633" y="318"/>
                    </a:lnTo>
                    <a:lnTo>
                      <a:pt x="629" y="321"/>
                    </a:lnTo>
                    <a:lnTo>
                      <a:pt x="622" y="332"/>
                    </a:lnTo>
                    <a:lnTo>
                      <a:pt x="583" y="360"/>
                    </a:lnTo>
                    <a:lnTo>
                      <a:pt x="574" y="372"/>
                    </a:lnTo>
                    <a:lnTo>
                      <a:pt x="564" y="378"/>
                    </a:lnTo>
                    <a:lnTo>
                      <a:pt x="548" y="398"/>
                    </a:lnTo>
                    <a:lnTo>
                      <a:pt x="534" y="392"/>
                    </a:lnTo>
                    <a:lnTo>
                      <a:pt x="499" y="404"/>
                    </a:lnTo>
                    <a:lnTo>
                      <a:pt x="488" y="414"/>
                    </a:lnTo>
                    <a:lnTo>
                      <a:pt x="484" y="424"/>
                    </a:lnTo>
                    <a:lnTo>
                      <a:pt x="492" y="421"/>
                    </a:lnTo>
                    <a:lnTo>
                      <a:pt x="476" y="435"/>
                    </a:lnTo>
                    <a:lnTo>
                      <a:pt x="473" y="443"/>
                    </a:lnTo>
                    <a:lnTo>
                      <a:pt x="468" y="441"/>
                    </a:lnTo>
                    <a:lnTo>
                      <a:pt x="464" y="451"/>
                    </a:lnTo>
                    <a:lnTo>
                      <a:pt x="460" y="461"/>
                    </a:lnTo>
                    <a:lnTo>
                      <a:pt x="459" y="452"/>
                    </a:lnTo>
                    <a:lnTo>
                      <a:pt x="454" y="449"/>
                    </a:lnTo>
                    <a:lnTo>
                      <a:pt x="441" y="469"/>
                    </a:lnTo>
                    <a:lnTo>
                      <a:pt x="441" y="478"/>
                    </a:lnTo>
                    <a:lnTo>
                      <a:pt x="449" y="477"/>
                    </a:lnTo>
                    <a:lnTo>
                      <a:pt x="459" y="467"/>
                    </a:lnTo>
                    <a:lnTo>
                      <a:pt x="483" y="458"/>
                    </a:lnTo>
                    <a:lnTo>
                      <a:pt x="504" y="435"/>
                    </a:lnTo>
                    <a:lnTo>
                      <a:pt x="505" y="431"/>
                    </a:lnTo>
                    <a:lnTo>
                      <a:pt x="502" y="426"/>
                    </a:lnTo>
                    <a:lnTo>
                      <a:pt x="504" y="424"/>
                    </a:lnTo>
                    <a:lnTo>
                      <a:pt x="513" y="418"/>
                    </a:lnTo>
                    <a:lnTo>
                      <a:pt x="518" y="420"/>
                    </a:lnTo>
                    <a:lnTo>
                      <a:pt x="516" y="434"/>
                    </a:lnTo>
                    <a:lnTo>
                      <a:pt x="524" y="421"/>
                    </a:lnTo>
                    <a:lnTo>
                      <a:pt x="526" y="432"/>
                    </a:lnTo>
                    <a:lnTo>
                      <a:pt x="535" y="415"/>
                    </a:lnTo>
                    <a:lnTo>
                      <a:pt x="543" y="411"/>
                    </a:lnTo>
                    <a:lnTo>
                      <a:pt x="550" y="418"/>
                    </a:lnTo>
                    <a:lnTo>
                      <a:pt x="548" y="432"/>
                    </a:lnTo>
                    <a:lnTo>
                      <a:pt x="546" y="454"/>
                    </a:lnTo>
                    <a:lnTo>
                      <a:pt x="564" y="418"/>
                    </a:lnTo>
                    <a:lnTo>
                      <a:pt x="581" y="389"/>
                    </a:lnTo>
                    <a:lnTo>
                      <a:pt x="583" y="378"/>
                    </a:lnTo>
                    <a:lnTo>
                      <a:pt x="596" y="376"/>
                    </a:lnTo>
                    <a:lnTo>
                      <a:pt x="607" y="371"/>
                    </a:lnTo>
                    <a:lnTo>
                      <a:pt x="617" y="360"/>
                    </a:lnTo>
                    <a:lnTo>
                      <a:pt x="645" y="351"/>
                    </a:lnTo>
                    <a:lnTo>
                      <a:pt x="663" y="334"/>
                    </a:lnTo>
                    <a:lnTo>
                      <a:pt x="660" y="354"/>
                    </a:lnTo>
                    <a:lnTo>
                      <a:pt x="656" y="352"/>
                    </a:lnTo>
                    <a:lnTo>
                      <a:pt x="650" y="366"/>
                    </a:lnTo>
                    <a:lnTo>
                      <a:pt x="649" y="376"/>
                    </a:lnTo>
                    <a:lnTo>
                      <a:pt x="672" y="361"/>
                    </a:lnTo>
                    <a:lnTo>
                      <a:pt x="681" y="348"/>
                    </a:lnTo>
                    <a:lnTo>
                      <a:pt x="692" y="336"/>
                    </a:lnTo>
                    <a:lnTo>
                      <a:pt x="697" y="324"/>
                    </a:lnTo>
                    <a:lnTo>
                      <a:pt x="693" y="316"/>
                    </a:lnTo>
                    <a:lnTo>
                      <a:pt x="698" y="309"/>
                    </a:lnTo>
                    <a:lnTo>
                      <a:pt x="725" y="298"/>
                    </a:lnTo>
                    <a:lnTo>
                      <a:pt x="731" y="292"/>
                    </a:lnTo>
                    <a:lnTo>
                      <a:pt x="715" y="287"/>
                    </a:lnTo>
                    <a:lnTo>
                      <a:pt x="709" y="281"/>
                    </a:lnTo>
                    <a:lnTo>
                      <a:pt x="710" y="276"/>
                    </a:lnTo>
                    <a:lnTo>
                      <a:pt x="712" y="266"/>
                    </a:lnTo>
                    <a:lnTo>
                      <a:pt x="709" y="262"/>
                    </a:lnTo>
                    <a:lnTo>
                      <a:pt x="699" y="265"/>
                    </a:lnTo>
                    <a:lnTo>
                      <a:pt x="701" y="255"/>
                    </a:lnTo>
                    <a:lnTo>
                      <a:pt x="706" y="247"/>
                    </a:lnTo>
                    <a:lnTo>
                      <a:pt x="709" y="242"/>
                    </a:lnTo>
                    <a:lnTo>
                      <a:pt x="722" y="247"/>
                    </a:lnTo>
                    <a:lnTo>
                      <a:pt x="751" y="281"/>
                    </a:lnTo>
                    <a:lnTo>
                      <a:pt x="757" y="295"/>
                    </a:lnTo>
                    <a:lnTo>
                      <a:pt x="761" y="323"/>
                    </a:lnTo>
                    <a:lnTo>
                      <a:pt x="768" y="335"/>
                    </a:lnTo>
                    <a:lnTo>
                      <a:pt x="780" y="376"/>
                    </a:lnTo>
                    <a:lnTo>
                      <a:pt x="787" y="389"/>
                    </a:lnTo>
                    <a:lnTo>
                      <a:pt x="796" y="394"/>
                    </a:lnTo>
                    <a:lnTo>
                      <a:pt x="803" y="410"/>
                    </a:lnTo>
                    <a:lnTo>
                      <a:pt x="805" y="409"/>
                    </a:lnTo>
                    <a:lnTo>
                      <a:pt x="821" y="425"/>
                    </a:lnTo>
                    <a:lnTo>
                      <a:pt x="831" y="429"/>
                    </a:lnTo>
                    <a:lnTo>
                      <a:pt x="853" y="430"/>
                    </a:lnTo>
                    <a:lnTo>
                      <a:pt x="853" y="426"/>
                    </a:lnTo>
                    <a:lnTo>
                      <a:pt x="855" y="424"/>
                    </a:lnTo>
                    <a:lnTo>
                      <a:pt x="866" y="424"/>
                    </a:lnTo>
                    <a:lnTo>
                      <a:pt x="866" y="418"/>
                    </a:lnTo>
                    <a:lnTo>
                      <a:pt x="858" y="414"/>
                    </a:lnTo>
                    <a:lnTo>
                      <a:pt x="841" y="420"/>
                    </a:lnTo>
                    <a:lnTo>
                      <a:pt x="844" y="409"/>
                    </a:lnTo>
                    <a:lnTo>
                      <a:pt x="859" y="408"/>
                    </a:lnTo>
                    <a:lnTo>
                      <a:pt x="868" y="403"/>
                    </a:lnTo>
                    <a:lnTo>
                      <a:pt x="863" y="403"/>
                    </a:lnTo>
                    <a:lnTo>
                      <a:pt x="852" y="387"/>
                    </a:lnTo>
                    <a:lnTo>
                      <a:pt x="858" y="381"/>
                    </a:lnTo>
                    <a:lnTo>
                      <a:pt x="871" y="376"/>
                    </a:lnTo>
                    <a:lnTo>
                      <a:pt x="871" y="368"/>
                    </a:lnTo>
                    <a:lnTo>
                      <a:pt x="863" y="366"/>
                    </a:lnTo>
                    <a:lnTo>
                      <a:pt x="863" y="354"/>
                    </a:lnTo>
                    <a:lnTo>
                      <a:pt x="866" y="362"/>
                    </a:lnTo>
                    <a:lnTo>
                      <a:pt x="884" y="341"/>
                    </a:lnTo>
                    <a:lnTo>
                      <a:pt x="887" y="330"/>
                    </a:lnTo>
                    <a:lnTo>
                      <a:pt x="884" y="328"/>
                    </a:lnTo>
                    <a:lnTo>
                      <a:pt x="876" y="333"/>
                    </a:lnTo>
                    <a:lnTo>
                      <a:pt x="873" y="341"/>
                    </a:lnTo>
                    <a:lnTo>
                      <a:pt x="869" y="338"/>
                    </a:lnTo>
                    <a:lnTo>
                      <a:pt x="868" y="328"/>
                    </a:lnTo>
                    <a:lnTo>
                      <a:pt x="871" y="321"/>
                    </a:lnTo>
                    <a:lnTo>
                      <a:pt x="878" y="324"/>
                    </a:lnTo>
                    <a:lnTo>
                      <a:pt x="887" y="322"/>
                    </a:lnTo>
                    <a:lnTo>
                      <a:pt x="892" y="324"/>
                    </a:lnTo>
                    <a:lnTo>
                      <a:pt x="895" y="335"/>
                    </a:lnTo>
                    <a:lnTo>
                      <a:pt x="900" y="325"/>
                    </a:lnTo>
                    <a:lnTo>
                      <a:pt x="907" y="324"/>
                    </a:lnTo>
                    <a:lnTo>
                      <a:pt x="906" y="318"/>
                    </a:lnTo>
                    <a:lnTo>
                      <a:pt x="898" y="316"/>
                    </a:lnTo>
                    <a:lnTo>
                      <a:pt x="893" y="311"/>
                    </a:lnTo>
                    <a:lnTo>
                      <a:pt x="908" y="308"/>
                    </a:lnTo>
                    <a:lnTo>
                      <a:pt x="908" y="313"/>
                    </a:lnTo>
                    <a:lnTo>
                      <a:pt x="912" y="321"/>
                    </a:lnTo>
                    <a:lnTo>
                      <a:pt x="909" y="335"/>
                    </a:lnTo>
                    <a:lnTo>
                      <a:pt x="908" y="359"/>
                    </a:lnTo>
                    <a:lnTo>
                      <a:pt x="906" y="366"/>
                    </a:lnTo>
                    <a:lnTo>
                      <a:pt x="907" y="373"/>
                    </a:lnTo>
                    <a:lnTo>
                      <a:pt x="912" y="378"/>
                    </a:lnTo>
                    <a:lnTo>
                      <a:pt x="919" y="372"/>
                    </a:lnTo>
                    <a:lnTo>
                      <a:pt x="930" y="376"/>
                    </a:lnTo>
                    <a:lnTo>
                      <a:pt x="912" y="409"/>
                    </a:lnTo>
                    <a:lnTo>
                      <a:pt x="907" y="424"/>
                    </a:lnTo>
                    <a:lnTo>
                      <a:pt x="906" y="413"/>
                    </a:lnTo>
                    <a:lnTo>
                      <a:pt x="903" y="424"/>
                    </a:lnTo>
                    <a:lnTo>
                      <a:pt x="903" y="430"/>
                    </a:lnTo>
                    <a:lnTo>
                      <a:pt x="925" y="432"/>
                    </a:lnTo>
                    <a:lnTo>
                      <a:pt x="933" y="425"/>
                    </a:lnTo>
                    <a:lnTo>
                      <a:pt x="938" y="429"/>
                    </a:lnTo>
                    <a:lnTo>
                      <a:pt x="954" y="430"/>
                    </a:lnTo>
                    <a:lnTo>
                      <a:pt x="962" y="424"/>
                    </a:lnTo>
                    <a:lnTo>
                      <a:pt x="965" y="414"/>
                    </a:lnTo>
                    <a:lnTo>
                      <a:pt x="975" y="405"/>
                    </a:lnTo>
                    <a:lnTo>
                      <a:pt x="976" y="394"/>
                    </a:lnTo>
                    <a:lnTo>
                      <a:pt x="981" y="378"/>
                    </a:lnTo>
                    <a:lnTo>
                      <a:pt x="982" y="360"/>
                    </a:lnTo>
                    <a:lnTo>
                      <a:pt x="991" y="360"/>
                    </a:lnTo>
                    <a:lnTo>
                      <a:pt x="1005" y="354"/>
                    </a:lnTo>
                    <a:lnTo>
                      <a:pt x="1016" y="360"/>
                    </a:lnTo>
                    <a:lnTo>
                      <a:pt x="1025" y="359"/>
                    </a:lnTo>
                    <a:lnTo>
                      <a:pt x="1032" y="360"/>
                    </a:lnTo>
                    <a:lnTo>
                      <a:pt x="1032" y="362"/>
                    </a:lnTo>
                    <a:lnTo>
                      <a:pt x="1054" y="360"/>
                    </a:lnTo>
                    <a:lnTo>
                      <a:pt x="1077" y="367"/>
                    </a:lnTo>
                    <a:lnTo>
                      <a:pt x="1107" y="392"/>
                    </a:lnTo>
                    <a:lnTo>
                      <a:pt x="1127" y="418"/>
                    </a:lnTo>
                    <a:lnTo>
                      <a:pt x="1145" y="429"/>
                    </a:lnTo>
                    <a:lnTo>
                      <a:pt x="1166" y="431"/>
                    </a:lnTo>
                    <a:lnTo>
                      <a:pt x="1175" y="438"/>
                    </a:lnTo>
                    <a:lnTo>
                      <a:pt x="1187" y="438"/>
                    </a:lnTo>
                    <a:lnTo>
                      <a:pt x="1207" y="447"/>
                    </a:lnTo>
                    <a:lnTo>
                      <a:pt x="1214" y="446"/>
                    </a:lnTo>
                    <a:lnTo>
                      <a:pt x="1224" y="449"/>
                    </a:lnTo>
                    <a:lnTo>
                      <a:pt x="1229" y="461"/>
                    </a:lnTo>
                    <a:lnTo>
                      <a:pt x="1244" y="470"/>
                    </a:lnTo>
                    <a:lnTo>
                      <a:pt x="1256" y="475"/>
                    </a:lnTo>
                    <a:lnTo>
                      <a:pt x="1282" y="491"/>
                    </a:lnTo>
                    <a:lnTo>
                      <a:pt x="1300" y="492"/>
                    </a:lnTo>
                    <a:lnTo>
                      <a:pt x="1307" y="497"/>
                    </a:lnTo>
                    <a:lnTo>
                      <a:pt x="1319" y="500"/>
                    </a:lnTo>
                    <a:lnTo>
                      <a:pt x="1317" y="496"/>
                    </a:lnTo>
                    <a:lnTo>
                      <a:pt x="1348" y="501"/>
                    </a:lnTo>
                    <a:lnTo>
                      <a:pt x="1360" y="500"/>
                    </a:lnTo>
                    <a:lnTo>
                      <a:pt x="1371" y="513"/>
                    </a:lnTo>
                    <a:lnTo>
                      <a:pt x="1374" y="504"/>
                    </a:lnTo>
                    <a:lnTo>
                      <a:pt x="1357" y="488"/>
                    </a:lnTo>
                    <a:lnTo>
                      <a:pt x="1369" y="485"/>
                    </a:lnTo>
                    <a:lnTo>
                      <a:pt x="1375" y="490"/>
                    </a:lnTo>
                    <a:lnTo>
                      <a:pt x="1386" y="491"/>
                    </a:lnTo>
                    <a:lnTo>
                      <a:pt x="1386" y="485"/>
                    </a:lnTo>
                    <a:lnTo>
                      <a:pt x="1413" y="491"/>
                    </a:lnTo>
                    <a:lnTo>
                      <a:pt x="1407" y="496"/>
                    </a:lnTo>
                    <a:lnTo>
                      <a:pt x="1423" y="505"/>
                    </a:lnTo>
                    <a:lnTo>
                      <a:pt x="1424" y="513"/>
                    </a:lnTo>
                    <a:lnTo>
                      <a:pt x="1434" y="508"/>
                    </a:lnTo>
                    <a:lnTo>
                      <a:pt x="1434" y="517"/>
                    </a:lnTo>
                    <a:lnTo>
                      <a:pt x="1451" y="528"/>
                    </a:lnTo>
                    <a:lnTo>
                      <a:pt x="1463" y="547"/>
                    </a:lnTo>
                    <a:lnTo>
                      <a:pt x="1470" y="553"/>
                    </a:lnTo>
                    <a:lnTo>
                      <a:pt x="1470" y="575"/>
                    </a:lnTo>
                    <a:lnTo>
                      <a:pt x="1478" y="564"/>
                    </a:lnTo>
                    <a:lnTo>
                      <a:pt x="1478" y="576"/>
                    </a:lnTo>
                    <a:lnTo>
                      <a:pt x="1475" y="585"/>
                    </a:lnTo>
                    <a:lnTo>
                      <a:pt x="1479" y="591"/>
                    </a:lnTo>
                    <a:lnTo>
                      <a:pt x="1470" y="590"/>
                    </a:lnTo>
                    <a:lnTo>
                      <a:pt x="1467" y="597"/>
                    </a:lnTo>
                    <a:lnTo>
                      <a:pt x="1461" y="599"/>
                    </a:lnTo>
                    <a:lnTo>
                      <a:pt x="1456" y="590"/>
                    </a:lnTo>
                    <a:lnTo>
                      <a:pt x="1443" y="594"/>
                    </a:lnTo>
                    <a:lnTo>
                      <a:pt x="1424" y="591"/>
                    </a:lnTo>
                    <a:lnTo>
                      <a:pt x="1436" y="597"/>
                    </a:lnTo>
                    <a:lnTo>
                      <a:pt x="1429" y="607"/>
                    </a:lnTo>
                    <a:lnTo>
                      <a:pt x="1409" y="603"/>
                    </a:lnTo>
                    <a:lnTo>
                      <a:pt x="1413" y="609"/>
                    </a:lnTo>
                    <a:lnTo>
                      <a:pt x="1409" y="615"/>
                    </a:lnTo>
                    <a:lnTo>
                      <a:pt x="1409" y="630"/>
                    </a:lnTo>
                    <a:lnTo>
                      <a:pt x="1393" y="639"/>
                    </a:lnTo>
                    <a:lnTo>
                      <a:pt x="1400" y="645"/>
                    </a:lnTo>
                    <a:lnTo>
                      <a:pt x="1405" y="646"/>
                    </a:lnTo>
                    <a:lnTo>
                      <a:pt x="1412" y="644"/>
                    </a:lnTo>
                    <a:lnTo>
                      <a:pt x="1406" y="650"/>
                    </a:lnTo>
                    <a:lnTo>
                      <a:pt x="1420" y="655"/>
                    </a:lnTo>
                    <a:lnTo>
                      <a:pt x="1441" y="667"/>
                    </a:lnTo>
                    <a:lnTo>
                      <a:pt x="1445" y="658"/>
                    </a:lnTo>
                    <a:lnTo>
                      <a:pt x="1454" y="662"/>
                    </a:lnTo>
                    <a:lnTo>
                      <a:pt x="1459" y="668"/>
                    </a:lnTo>
                    <a:lnTo>
                      <a:pt x="1470" y="667"/>
                    </a:lnTo>
                    <a:lnTo>
                      <a:pt x="1482" y="671"/>
                    </a:lnTo>
                    <a:lnTo>
                      <a:pt x="1503" y="669"/>
                    </a:lnTo>
                    <a:lnTo>
                      <a:pt x="1516" y="674"/>
                    </a:lnTo>
                    <a:lnTo>
                      <a:pt x="1535" y="669"/>
                    </a:lnTo>
                    <a:lnTo>
                      <a:pt x="1533" y="673"/>
                    </a:lnTo>
                    <a:lnTo>
                      <a:pt x="1546" y="675"/>
                    </a:lnTo>
                    <a:lnTo>
                      <a:pt x="1570" y="674"/>
                    </a:lnTo>
                    <a:lnTo>
                      <a:pt x="1573" y="667"/>
                    </a:lnTo>
                    <a:lnTo>
                      <a:pt x="1591" y="667"/>
                    </a:lnTo>
                    <a:lnTo>
                      <a:pt x="1588" y="674"/>
                    </a:lnTo>
                    <a:lnTo>
                      <a:pt x="1599" y="674"/>
                    </a:lnTo>
                    <a:lnTo>
                      <a:pt x="1592" y="669"/>
                    </a:lnTo>
                    <a:lnTo>
                      <a:pt x="1601" y="662"/>
                    </a:lnTo>
                    <a:lnTo>
                      <a:pt x="1604" y="669"/>
                    </a:lnTo>
                    <a:lnTo>
                      <a:pt x="1615" y="671"/>
                    </a:lnTo>
                    <a:lnTo>
                      <a:pt x="1616" y="667"/>
                    </a:lnTo>
                    <a:lnTo>
                      <a:pt x="1623" y="668"/>
                    </a:lnTo>
                    <a:lnTo>
                      <a:pt x="1628" y="651"/>
                    </a:lnTo>
                    <a:lnTo>
                      <a:pt x="1639" y="648"/>
                    </a:lnTo>
                    <a:lnTo>
                      <a:pt x="1637" y="667"/>
                    </a:lnTo>
                    <a:lnTo>
                      <a:pt x="1648" y="667"/>
                    </a:lnTo>
                    <a:lnTo>
                      <a:pt x="1655" y="662"/>
                    </a:lnTo>
                    <a:lnTo>
                      <a:pt x="1667" y="644"/>
                    </a:lnTo>
                    <a:lnTo>
                      <a:pt x="1678" y="636"/>
                    </a:lnTo>
                    <a:lnTo>
                      <a:pt x="1691" y="636"/>
                    </a:lnTo>
                    <a:lnTo>
                      <a:pt x="1696" y="626"/>
                    </a:lnTo>
                    <a:lnTo>
                      <a:pt x="1703" y="639"/>
                    </a:lnTo>
                    <a:lnTo>
                      <a:pt x="1701" y="646"/>
                    </a:lnTo>
                    <a:lnTo>
                      <a:pt x="1707" y="650"/>
                    </a:lnTo>
                    <a:lnTo>
                      <a:pt x="1709" y="645"/>
                    </a:lnTo>
                    <a:lnTo>
                      <a:pt x="1713" y="655"/>
                    </a:lnTo>
                    <a:lnTo>
                      <a:pt x="1715" y="658"/>
                    </a:lnTo>
                    <a:lnTo>
                      <a:pt x="1715" y="667"/>
                    </a:lnTo>
                    <a:lnTo>
                      <a:pt x="1713" y="667"/>
                    </a:lnTo>
                    <a:lnTo>
                      <a:pt x="1730" y="673"/>
                    </a:lnTo>
                    <a:lnTo>
                      <a:pt x="1729" y="667"/>
                    </a:lnTo>
                    <a:lnTo>
                      <a:pt x="1757" y="667"/>
                    </a:lnTo>
                    <a:lnTo>
                      <a:pt x="1755" y="675"/>
                    </a:lnTo>
                    <a:lnTo>
                      <a:pt x="1757" y="682"/>
                    </a:lnTo>
                    <a:lnTo>
                      <a:pt x="1755" y="687"/>
                    </a:lnTo>
                    <a:lnTo>
                      <a:pt x="1760" y="695"/>
                    </a:lnTo>
                    <a:lnTo>
                      <a:pt x="1757" y="707"/>
                    </a:lnTo>
                    <a:lnTo>
                      <a:pt x="1763" y="715"/>
                    </a:lnTo>
                    <a:lnTo>
                      <a:pt x="1763" y="709"/>
                    </a:lnTo>
                    <a:lnTo>
                      <a:pt x="1764" y="714"/>
                    </a:lnTo>
                    <a:lnTo>
                      <a:pt x="1769" y="701"/>
                    </a:lnTo>
                    <a:lnTo>
                      <a:pt x="1771" y="683"/>
                    </a:lnTo>
                    <a:lnTo>
                      <a:pt x="1776" y="685"/>
                    </a:lnTo>
                    <a:lnTo>
                      <a:pt x="1776" y="695"/>
                    </a:lnTo>
                    <a:lnTo>
                      <a:pt x="1779" y="695"/>
                    </a:lnTo>
                    <a:lnTo>
                      <a:pt x="1777" y="705"/>
                    </a:lnTo>
                    <a:lnTo>
                      <a:pt x="1777" y="715"/>
                    </a:lnTo>
                    <a:lnTo>
                      <a:pt x="1784" y="718"/>
                    </a:lnTo>
                    <a:lnTo>
                      <a:pt x="1789" y="711"/>
                    </a:lnTo>
                    <a:lnTo>
                      <a:pt x="1796" y="727"/>
                    </a:lnTo>
                    <a:lnTo>
                      <a:pt x="1806" y="727"/>
                    </a:lnTo>
                    <a:lnTo>
                      <a:pt x="1810" y="737"/>
                    </a:lnTo>
                    <a:lnTo>
                      <a:pt x="1817" y="755"/>
                    </a:lnTo>
                    <a:lnTo>
                      <a:pt x="1809" y="764"/>
                    </a:lnTo>
                    <a:lnTo>
                      <a:pt x="1801" y="761"/>
                    </a:lnTo>
                    <a:lnTo>
                      <a:pt x="1791" y="768"/>
                    </a:lnTo>
                    <a:lnTo>
                      <a:pt x="1788" y="764"/>
                    </a:lnTo>
                    <a:lnTo>
                      <a:pt x="1790" y="774"/>
                    </a:lnTo>
                    <a:lnTo>
                      <a:pt x="1801" y="790"/>
                    </a:lnTo>
                    <a:lnTo>
                      <a:pt x="1812" y="804"/>
                    </a:lnTo>
                    <a:lnTo>
                      <a:pt x="1820" y="808"/>
                    </a:lnTo>
                    <a:lnTo>
                      <a:pt x="1821" y="788"/>
                    </a:lnTo>
                    <a:lnTo>
                      <a:pt x="1826" y="787"/>
                    </a:lnTo>
                    <a:lnTo>
                      <a:pt x="1834" y="793"/>
                    </a:lnTo>
                    <a:lnTo>
                      <a:pt x="1843" y="782"/>
                    </a:lnTo>
                    <a:lnTo>
                      <a:pt x="1852" y="785"/>
                    </a:lnTo>
                    <a:lnTo>
                      <a:pt x="1841" y="765"/>
                    </a:lnTo>
                    <a:lnTo>
                      <a:pt x="1850" y="758"/>
                    </a:lnTo>
                    <a:lnTo>
                      <a:pt x="1849" y="755"/>
                    </a:lnTo>
                    <a:lnTo>
                      <a:pt x="1841" y="755"/>
                    </a:lnTo>
                    <a:lnTo>
                      <a:pt x="1834" y="743"/>
                    </a:lnTo>
                    <a:lnTo>
                      <a:pt x="1831" y="727"/>
                    </a:lnTo>
                    <a:lnTo>
                      <a:pt x="1822" y="716"/>
                    </a:lnTo>
                    <a:lnTo>
                      <a:pt x="1827" y="712"/>
                    </a:lnTo>
                    <a:lnTo>
                      <a:pt x="1827" y="695"/>
                    </a:lnTo>
                    <a:lnTo>
                      <a:pt x="1822" y="690"/>
                    </a:lnTo>
                    <a:lnTo>
                      <a:pt x="1822" y="683"/>
                    </a:lnTo>
                    <a:lnTo>
                      <a:pt x="1809" y="675"/>
                    </a:lnTo>
                    <a:lnTo>
                      <a:pt x="1804" y="667"/>
                    </a:lnTo>
                    <a:lnTo>
                      <a:pt x="1812" y="650"/>
                    </a:lnTo>
                    <a:lnTo>
                      <a:pt x="1818" y="651"/>
                    </a:lnTo>
                    <a:lnTo>
                      <a:pt x="1821" y="644"/>
                    </a:lnTo>
                    <a:lnTo>
                      <a:pt x="1827" y="640"/>
                    </a:lnTo>
                    <a:lnTo>
                      <a:pt x="1820" y="637"/>
                    </a:lnTo>
                    <a:lnTo>
                      <a:pt x="1826" y="623"/>
                    </a:lnTo>
                    <a:lnTo>
                      <a:pt x="1839" y="623"/>
                    </a:lnTo>
                    <a:lnTo>
                      <a:pt x="1852" y="614"/>
                    </a:lnTo>
                    <a:lnTo>
                      <a:pt x="1853" y="609"/>
                    </a:lnTo>
                    <a:lnTo>
                      <a:pt x="1853" y="615"/>
                    </a:lnTo>
                    <a:lnTo>
                      <a:pt x="1876" y="613"/>
                    </a:lnTo>
                    <a:lnTo>
                      <a:pt x="1875" y="601"/>
                    </a:lnTo>
                    <a:lnTo>
                      <a:pt x="1884" y="597"/>
                    </a:lnTo>
                    <a:lnTo>
                      <a:pt x="1895" y="599"/>
                    </a:lnTo>
                    <a:lnTo>
                      <a:pt x="1893" y="582"/>
                    </a:lnTo>
                    <a:lnTo>
                      <a:pt x="1897" y="578"/>
                    </a:lnTo>
                    <a:lnTo>
                      <a:pt x="1901" y="591"/>
                    </a:lnTo>
                    <a:lnTo>
                      <a:pt x="1907" y="575"/>
                    </a:lnTo>
                    <a:lnTo>
                      <a:pt x="1912" y="569"/>
                    </a:lnTo>
                    <a:lnTo>
                      <a:pt x="1909" y="559"/>
                    </a:lnTo>
                    <a:lnTo>
                      <a:pt x="1924" y="553"/>
                    </a:lnTo>
                    <a:lnTo>
                      <a:pt x="1918" y="550"/>
                    </a:lnTo>
                    <a:lnTo>
                      <a:pt x="1925" y="542"/>
                    </a:lnTo>
                    <a:lnTo>
                      <a:pt x="1925" y="533"/>
                    </a:lnTo>
                    <a:lnTo>
                      <a:pt x="1918" y="537"/>
                    </a:lnTo>
                    <a:lnTo>
                      <a:pt x="1916" y="533"/>
                    </a:lnTo>
                    <a:lnTo>
                      <a:pt x="1884" y="545"/>
                    </a:lnTo>
                    <a:lnTo>
                      <a:pt x="1891" y="555"/>
                    </a:lnTo>
                    <a:lnTo>
                      <a:pt x="1875" y="558"/>
                    </a:lnTo>
                    <a:lnTo>
                      <a:pt x="1882" y="575"/>
                    </a:lnTo>
                    <a:lnTo>
                      <a:pt x="1884" y="566"/>
                    </a:lnTo>
                    <a:lnTo>
                      <a:pt x="1884" y="585"/>
                    </a:lnTo>
                    <a:lnTo>
                      <a:pt x="1881" y="590"/>
                    </a:lnTo>
                    <a:lnTo>
                      <a:pt x="1877" y="583"/>
                    </a:lnTo>
                    <a:lnTo>
                      <a:pt x="1880" y="578"/>
                    </a:lnTo>
                    <a:lnTo>
                      <a:pt x="1875" y="581"/>
                    </a:lnTo>
                    <a:lnTo>
                      <a:pt x="1874" y="575"/>
                    </a:lnTo>
                    <a:lnTo>
                      <a:pt x="1863" y="575"/>
                    </a:lnTo>
                    <a:lnTo>
                      <a:pt x="1858" y="577"/>
                    </a:lnTo>
                    <a:lnTo>
                      <a:pt x="1852" y="588"/>
                    </a:lnTo>
                    <a:lnTo>
                      <a:pt x="1849" y="582"/>
                    </a:lnTo>
                    <a:lnTo>
                      <a:pt x="1834" y="581"/>
                    </a:lnTo>
                    <a:lnTo>
                      <a:pt x="1832" y="576"/>
                    </a:lnTo>
                    <a:lnTo>
                      <a:pt x="1818" y="581"/>
                    </a:lnTo>
                    <a:lnTo>
                      <a:pt x="1812" y="587"/>
                    </a:lnTo>
                    <a:lnTo>
                      <a:pt x="1815" y="594"/>
                    </a:lnTo>
                    <a:lnTo>
                      <a:pt x="1822" y="596"/>
                    </a:lnTo>
                    <a:lnTo>
                      <a:pt x="1822" y="601"/>
                    </a:lnTo>
                    <a:lnTo>
                      <a:pt x="1827" y="603"/>
                    </a:lnTo>
                    <a:lnTo>
                      <a:pt x="1817" y="605"/>
                    </a:lnTo>
                    <a:lnTo>
                      <a:pt x="1809" y="612"/>
                    </a:lnTo>
                    <a:lnTo>
                      <a:pt x="1804" y="609"/>
                    </a:lnTo>
                    <a:lnTo>
                      <a:pt x="1810" y="605"/>
                    </a:lnTo>
                    <a:lnTo>
                      <a:pt x="1791" y="608"/>
                    </a:lnTo>
                    <a:lnTo>
                      <a:pt x="1791" y="602"/>
                    </a:lnTo>
                    <a:lnTo>
                      <a:pt x="1783" y="605"/>
                    </a:lnTo>
                    <a:lnTo>
                      <a:pt x="1785" y="597"/>
                    </a:lnTo>
                    <a:lnTo>
                      <a:pt x="1777" y="597"/>
                    </a:lnTo>
                    <a:lnTo>
                      <a:pt x="1779" y="590"/>
                    </a:lnTo>
                    <a:lnTo>
                      <a:pt x="1766" y="594"/>
                    </a:lnTo>
                    <a:lnTo>
                      <a:pt x="1763" y="590"/>
                    </a:lnTo>
                    <a:lnTo>
                      <a:pt x="1764" y="578"/>
                    </a:lnTo>
                    <a:lnTo>
                      <a:pt x="1776" y="564"/>
                    </a:lnTo>
                    <a:lnTo>
                      <a:pt x="1776" y="558"/>
                    </a:lnTo>
                    <a:lnTo>
                      <a:pt x="1783" y="542"/>
                    </a:lnTo>
                    <a:lnTo>
                      <a:pt x="1790" y="537"/>
                    </a:lnTo>
                    <a:lnTo>
                      <a:pt x="1822" y="533"/>
                    </a:lnTo>
                    <a:lnTo>
                      <a:pt x="1846" y="521"/>
                    </a:lnTo>
                    <a:lnTo>
                      <a:pt x="1861" y="516"/>
                    </a:lnTo>
                    <a:lnTo>
                      <a:pt x="1868" y="506"/>
                    </a:lnTo>
                    <a:lnTo>
                      <a:pt x="1882" y="501"/>
                    </a:lnTo>
                    <a:lnTo>
                      <a:pt x="1884" y="492"/>
                    </a:lnTo>
                    <a:lnTo>
                      <a:pt x="1897" y="496"/>
                    </a:lnTo>
                    <a:lnTo>
                      <a:pt x="1907" y="486"/>
                    </a:lnTo>
                    <a:lnTo>
                      <a:pt x="1916" y="492"/>
                    </a:lnTo>
                    <a:lnTo>
                      <a:pt x="1919" y="497"/>
                    </a:lnTo>
                    <a:lnTo>
                      <a:pt x="1927" y="499"/>
                    </a:lnTo>
                    <a:lnTo>
                      <a:pt x="1929" y="513"/>
                    </a:lnTo>
                    <a:lnTo>
                      <a:pt x="1944" y="522"/>
                    </a:lnTo>
                    <a:lnTo>
                      <a:pt x="1936" y="528"/>
                    </a:lnTo>
                    <a:lnTo>
                      <a:pt x="1944" y="537"/>
                    </a:lnTo>
                    <a:lnTo>
                      <a:pt x="1945" y="547"/>
                    </a:lnTo>
                    <a:lnTo>
                      <a:pt x="1954" y="551"/>
                    </a:lnTo>
                    <a:lnTo>
                      <a:pt x="1954" y="558"/>
                    </a:lnTo>
                    <a:lnTo>
                      <a:pt x="1945" y="558"/>
                    </a:lnTo>
                    <a:lnTo>
                      <a:pt x="1939" y="560"/>
                    </a:lnTo>
                    <a:lnTo>
                      <a:pt x="1939" y="565"/>
                    </a:lnTo>
                    <a:lnTo>
                      <a:pt x="1945" y="564"/>
                    </a:lnTo>
                    <a:lnTo>
                      <a:pt x="1954" y="575"/>
                    </a:lnTo>
                    <a:lnTo>
                      <a:pt x="1960" y="577"/>
                    </a:lnTo>
                    <a:lnTo>
                      <a:pt x="1962" y="582"/>
                    </a:lnTo>
                    <a:lnTo>
                      <a:pt x="1971" y="593"/>
                    </a:lnTo>
                    <a:lnTo>
                      <a:pt x="1989" y="597"/>
                    </a:lnTo>
                    <a:lnTo>
                      <a:pt x="1988" y="599"/>
                    </a:lnTo>
                    <a:lnTo>
                      <a:pt x="1989" y="608"/>
                    </a:lnTo>
                    <a:lnTo>
                      <a:pt x="1989" y="618"/>
                    </a:lnTo>
                    <a:lnTo>
                      <a:pt x="1999" y="625"/>
                    </a:lnTo>
                    <a:lnTo>
                      <a:pt x="2006" y="624"/>
                    </a:lnTo>
                    <a:lnTo>
                      <a:pt x="2020" y="630"/>
                    </a:lnTo>
                    <a:lnTo>
                      <a:pt x="2030" y="624"/>
                    </a:lnTo>
                    <a:lnTo>
                      <a:pt x="2038" y="628"/>
                    </a:lnTo>
                    <a:lnTo>
                      <a:pt x="2038" y="619"/>
                    </a:lnTo>
                    <a:lnTo>
                      <a:pt x="2046" y="624"/>
                    </a:lnTo>
                    <a:lnTo>
                      <a:pt x="2051" y="615"/>
                    </a:lnTo>
                    <a:lnTo>
                      <a:pt x="2051" y="605"/>
                    </a:lnTo>
                    <a:lnTo>
                      <a:pt x="2068" y="613"/>
                    </a:lnTo>
                    <a:lnTo>
                      <a:pt x="2068" y="630"/>
                    </a:lnTo>
                    <a:lnTo>
                      <a:pt x="2083" y="645"/>
                    </a:lnTo>
                    <a:lnTo>
                      <a:pt x="2090" y="650"/>
                    </a:lnTo>
                    <a:lnTo>
                      <a:pt x="2099" y="667"/>
                    </a:lnTo>
                    <a:lnTo>
                      <a:pt x="2106" y="667"/>
                    </a:lnTo>
                    <a:lnTo>
                      <a:pt x="2121" y="678"/>
                    </a:lnTo>
                    <a:lnTo>
                      <a:pt x="2129" y="677"/>
                    </a:lnTo>
                    <a:lnTo>
                      <a:pt x="2129" y="668"/>
                    </a:lnTo>
                    <a:lnTo>
                      <a:pt x="2137" y="669"/>
                    </a:lnTo>
                    <a:lnTo>
                      <a:pt x="2139" y="667"/>
                    </a:lnTo>
                    <a:lnTo>
                      <a:pt x="2148" y="673"/>
                    </a:lnTo>
                    <a:lnTo>
                      <a:pt x="2150" y="669"/>
                    </a:lnTo>
                    <a:lnTo>
                      <a:pt x="2164" y="677"/>
                    </a:lnTo>
                    <a:lnTo>
                      <a:pt x="2182" y="667"/>
                    </a:lnTo>
                    <a:lnTo>
                      <a:pt x="2204" y="673"/>
                    </a:lnTo>
                    <a:lnTo>
                      <a:pt x="2221" y="667"/>
                    </a:lnTo>
                    <a:lnTo>
                      <a:pt x="2230" y="655"/>
                    </a:lnTo>
                    <a:lnTo>
                      <a:pt x="2267" y="660"/>
                    </a:lnTo>
                    <a:lnTo>
                      <a:pt x="2275" y="657"/>
                    </a:lnTo>
                    <a:lnTo>
                      <a:pt x="2290" y="671"/>
                    </a:lnTo>
                    <a:lnTo>
                      <a:pt x="2293" y="668"/>
                    </a:lnTo>
                    <a:lnTo>
                      <a:pt x="2300" y="667"/>
                    </a:lnTo>
                    <a:lnTo>
                      <a:pt x="2300" y="673"/>
                    </a:lnTo>
                    <a:lnTo>
                      <a:pt x="2322" y="667"/>
                    </a:lnTo>
                    <a:lnTo>
                      <a:pt x="2337" y="667"/>
                    </a:lnTo>
                    <a:lnTo>
                      <a:pt x="2328" y="655"/>
                    </a:lnTo>
                    <a:lnTo>
                      <a:pt x="2328" y="650"/>
                    </a:lnTo>
                    <a:lnTo>
                      <a:pt x="2321" y="640"/>
                    </a:lnTo>
                    <a:lnTo>
                      <a:pt x="2317" y="630"/>
                    </a:lnTo>
                    <a:lnTo>
                      <a:pt x="2322" y="623"/>
                    </a:lnTo>
                    <a:lnTo>
                      <a:pt x="2328" y="623"/>
                    </a:lnTo>
                    <a:lnTo>
                      <a:pt x="2331" y="625"/>
                    </a:lnTo>
                    <a:lnTo>
                      <a:pt x="2336" y="636"/>
                    </a:lnTo>
                    <a:lnTo>
                      <a:pt x="2342" y="641"/>
                    </a:lnTo>
                    <a:lnTo>
                      <a:pt x="2342" y="655"/>
                    </a:lnTo>
                    <a:lnTo>
                      <a:pt x="2349" y="667"/>
                    </a:lnTo>
                    <a:lnTo>
                      <a:pt x="2359" y="669"/>
                    </a:lnTo>
                    <a:lnTo>
                      <a:pt x="2364" y="678"/>
                    </a:lnTo>
                    <a:lnTo>
                      <a:pt x="2377" y="683"/>
                    </a:lnTo>
                    <a:lnTo>
                      <a:pt x="2384" y="689"/>
                    </a:lnTo>
                    <a:lnTo>
                      <a:pt x="2396" y="688"/>
                    </a:lnTo>
                    <a:lnTo>
                      <a:pt x="2404" y="677"/>
                    </a:lnTo>
                    <a:lnTo>
                      <a:pt x="2403" y="641"/>
                    </a:lnTo>
                    <a:lnTo>
                      <a:pt x="2398" y="641"/>
                    </a:lnTo>
                    <a:lnTo>
                      <a:pt x="2397" y="650"/>
                    </a:lnTo>
                    <a:lnTo>
                      <a:pt x="2390" y="650"/>
                    </a:lnTo>
                    <a:lnTo>
                      <a:pt x="2390" y="641"/>
                    </a:lnTo>
                    <a:lnTo>
                      <a:pt x="2385" y="636"/>
                    </a:lnTo>
                    <a:lnTo>
                      <a:pt x="2364" y="637"/>
                    </a:lnTo>
                    <a:lnTo>
                      <a:pt x="2359" y="646"/>
                    </a:lnTo>
                    <a:lnTo>
                      <a:pt x="2360" y="650"/>
                    </a:lnTo>
                    <a:lnTo>
                      <a:pt x="2361" y="658"/>
                    </a:lnTo>
                    <a:lnTo>
                      <a:pt x="2354" y="656"/>
                    </a:lnTo>
                    <a:lnTo>
                      <a:pt x="2348" y="636"/>
                    </a:lnTo>
                    <a:lnTo>
                      <a:pt x="2339" y="624"/>
                    </a:lnTo>
                    <a:lnTo>
                      <a:pt x="2334" y="614"/>
                    </a:lnTo>
                    <a:lnTo>
                      <a:pt x="2342" y="619"/>
                    </a:lnTo>
                    <a:lnTo>
                      <a:pt x="2342" y="605"/>
                    </a:lnTo>
                    <a:lnTo>
                      <a:pt x="2331" y="596"/>
                    </a:lnTo>
                    <a:lnTo>
                      <a:pt x="2331" y="590"/>
                    </a:lnTo>
                    <a:lnTo>
                      <a:pt x="2321" y="575"/>
                    </a:lnTo>
                    <a:lnTo>
                      <a:pt x="2328" y="575"/>
                    </a:lnTo>
                    <a:lnTo>
                      <a:pt x="2334" y="583"/>
                    </a:lnTo>
                    <a:lnTo>
                      <a:pt x="2339" y="578"/>
                    </a:lnTo>
                    <a:lnTo>
                      <a:pt x="2339" y="575"/>
                    </a:lnTo>
                    <a:lnTo>
                      <a:pt x="2349" y="575"/>
                    </a:lnTo>
                    <a:lnTo>
                      <a:pt x="2353" y="581"/>
                    </a:lnTo>
                    <a:lnTo>
                      <a:pt x="2374" y="577"/>
                    </a:lnTo>
                    <a:lnTo>
                      <a:pt x="2374" y="575"/>
                    </a:lnTo>
                    <a:lnTo>
                      <a:pt x="2358" y="554"/>
                    </a:lnTo>
                    <a:lnTo>
                      <a:pt x="2365" y="551"/>
                    </a:lnTo>
                    <a:lnTo>
                      <a:pt x="2377" y="554"/>
                    </a:lnTo>
                    <a:lnTo>
                      <a:pt x="2379" y="562"/>
                    </a:lnTo>
                    <a:lnTo>
                      <a:pt x="2390" y="575"/>
                    </a:lnTo>
                    <a:lnTo>
                      <a:pt x="2385" y="559"/>
                    </a:lnTo>
                    <a:lnTo>
                      <a:pt x="2398" y="560"/>
                    </a:lnTo>
                    <a:lnTo>
                      <a:pt x="2404" y="575"/>
                    </a:lnTo>
                    <a:lnTo>
                      <a:pt x="2420" y="582"/>
                    </a:lnTo>
                    <a:lnTo>
                      <a:pt x="2414" y="590"/>
                    </a:lnTo>
                    <a:lnTo>
                      <a:pt x="2422" y="594"/>
                    </a:lnTo>
                    <a:lnTo>
                      <a:pt x="2439" y="587"/>
                    </a:lnTo>
                    <a:lnTo>
                      <a:pt x="2439" y="594"/>
                    </a:lnTo>
                    <a:lnTo>
                      <a:pt x="2434" y="605"/>
                    </a:lnTo>
                    <a:lnTo>
                      <a:pt x="2433" y="615"/>
                    </a:lnTo>
                    <a:lnTo>
                      <a:pt x="2427" y="623"/>
                    </a:lnTo>
                    <a:lnTo>
                      <a:pt x="2431" y="628"/>
                    </a:lnTo>
                    <a:lnTo>
                      <a:pt x="2439" y="624"/>
                    </a:lnTo>
                    <a:lnTo>
                      <a:pt x="2443" y="631"/>
                    </a:lnTo>
                    <a:lnTo>
                      <a:pt x="2443" y="612"/>
                    </a:lnTo>
                    <a:lnTo>
                      <a:pt x="2466" y="596"/>
                    </a:lnTo>
                    <a:lnTo>
                      <a:pt x="2467" y="597"/>
                    </a:lnTo>
                    <a:lnTo>
                      <a:pt x="2466" y="607"/>
                    </a:lnTo>
                    <a:lnTo>
                      <a:pt x="2467" y="619"/>
                    </a:lnTo>
                    <a:lnTo>
                      <a:pt x="2466" y="636"/>
                    </a:lnTo>
                    <a:lnTo>
                      <a:pt x="2460" y="650"/>
                    </a:lnTo>
                    <a:lnTo>
                      <a:pt x="2459" y="668"/>
                    </a:lnTo>
                    <a:lnTo>
                      <a:pt x="2466" y="683"/>
                    </a:lnTo>
                    <a:lnTo>
                      <a:pt x="2446" y="695"/>
                    </a:lnTo>
                    <a:lnTo>
                      <a:pt x="2451" y="712"/>
                    </a:lnTo>
                    <a:lnTo>
                      <a:pt x="2466" y="711"/>
                    </a:lnTo>
                    <a:lnTo>
                      <a:pt x="2466" y="736"/>
                    </a:lnTo>
                    <a:lnTo>
                      <a:pt x="2482" y="720"/>
                    </a:lnTo>
                    <a:lnTo>
                      <a:pt x="2486" y="727"/>
                    </a:lnTo>
                    <a:lnTo>
                      <a:pt x="2495" y="718"/>
                    </a:lnTo>
                    <a:lnTo>
                      <a:pt x="2495" y="727"/>
                    </a:lnTo>
                    <a:lnTo>
                      <a:pt x="2489" y="733"/>
                    </a:lnTo>
                    <a:lnTo>
                      <a:pt x="2494" y="743"/>
                    </a:lnTo>
                    <a:lnTo>
                      <a:pt x="2504" y="744"/>
                    </a:lnTo>
                    <a:lnTo>
                      <a:pt x="2509" y="727"/>
                    </a:lnTo>
                    <a:lnTo>
                      <a:pt x="2504" y="711"/>
                    </a:lnTo>
                    <a:lnTo>
                      <a:pt x="2506" y="695"/>
                    </a:lnTo>
                    <a:lnTo>
                      <a:pt x="2502" y="682"/>
                    </a:lnTo>
                    <a:lnTo>
                      <a:pt x="2488" y="673"/>
                    </a:lnTo>
                    <a:lnTo>
                      <a:pt x="2488" y="667"/>
                    </a:lnTo>
                    <a:lnTo>
                      <a:pt x="2495" y="636"/>
                    </a:lnTo>
                    <a:lnTo>
                      <a:pt x="2492" y="631"/>
                    </a:lnTo>
                    <a:lnTo>
                      <a:pt x="2489" y="620"/>
                    </a:lnTo>
                    <a:lnTo>
                      <a:pt x="2495" y="620"/>
                    </a:lnTo>
                    <a:lnTo>
                      <a:pt x="2500" y="618"/>
                    </a:lnTo>
                    <a:lnTo>
                      <a:pt x="2504" y="620"/>
                    </a:lnTo>
                    <a:lnTo>
                      <a:pt x="2506" y="625"/>
                    </a:lnTo>
                    <a:lnTo>
                      <a:pt x="2510" y="623"/>
                    </a:lnTo>
                    <a:lnTo>
                      <a:pt x="2521" y="621"/>
                    </a:lnTo>
                    <a:lnTo>
                      <a:pt x="2533" y="628"/>
                    </a:lnTo>
                    <a:lnTo>
                      <a:pt x="2540" y="625"/>
                    </a:lnTo>
                    <a:lnTo>
                      <a:pt x="2545" y="613"/>
                    </a:lnTo>
                    <a:lnTo>
                      <a:pt x="2549" y="607"/>
                    </a:lnTo>
                    <a:lnTo>
                      <a:pt x="2563" y="599"/>
                    </a:lnTo>
                    <a:lnTo>
                      <a:pt x="2563" y="590"/>
                    </a:lnTo>
                    <a:lnTo>
                      <a:pt x="2569" y="574"/>
                    </a:lnTo>
                    <a:lnTo>
                      <a:pt x="2595" y="555"/>
                    </a:lnTo>
                    <a:lnTo>
                      <a:pt x="2602" y="544"/>
                    </a:lnTo>
                    <a:lnTo>
                      <a:pt x="2591" y="542"/>
                    </a:lnTo>
                    <a:lnTo>
                      <a:pt x="2594" y="520"/>
                    </a:lnTo>
                    <a:lnTo>
                      <a:pt x="2592" y="506"/>
                    </a:lnTo>
                    <a:lnTo>
                      <a:pt x="2589" y="491"/>
                    </a:lnTo>
                    <a:lnTo>
                      <a:pt x="2576" y="483"/>
                    </a:lnTo>
                    <a:lnTo>
                      <a:pt x="2575" y="491"/>
                    </a:lnTo>
                    <a:lnTo>
                      <a:pt x="2573" y="499"/>
                    </a:lnTo>
                    <a:lnTo>
                      <a:pt x="2572" y="508"/>
                    </a:lnTo>
                    <a:lnTo>
                      <a:pt x="2579" y="505"/>
                    </a:lnTo>
                    <a:lnTo>
                      <a:pt x="2583" y="497"/>
                    </a:lnTo>
                    <a:lnTo>
                      <a:pt x="2570" y="522"/>
                    </a:lnTo>
                    <a:lnTo>
                      <a:pt x="2551" y="528"/>
                    </a:lnTo>
                    <a:lnTo>
                      <a:pt x="2538" y="526"/>
                    </a:lnTo>
                    <a:lnTo>
                      <a:pt x="2542" y="516"/>
                    </a:lnTo>
                    <a:lnTo>
                      <a:pt x="2543" y="494"/>
                    </a:lnTo>
                    <a:lnTo>
                      <a:pt x="2547" y="491"/>
                    </a:lnTo>
                    <a:lnTo>
                      <a:pt x="2554" y="492"/>
                    </a:lnTo>
                    <a:lnTo>
                      <a:pt x="2563" y="472"/>
                    </a:lnTo>
                    <a:lnTo>
                      <a:pt x="2563" y="462"/>
                    </a:lnTo>
                    <a:lnTo>
                      <a:pt x="2557" y="465"/>
                    </a:lnTo>
                    <a:lnTo>
                      <a:pt x="2557" y="463"/>
                    </a:lnTo>
                    <a:lnTo>
                      <a:pt x="2558" y="449"/>
                    </a:lnTo>
                    <a:lnTo>
                      <a:pt x="2567" y="432"/>
                    </a:lnTo>
                    <a:lnTo>
                      <a:pt x="2586" y="425"/>
                    </a:lnTo>
                    <a:lnTo>
                      <a:pt x="2589" y="421"/>
                    </a:lnTo>
                    <a:lnTo>
                      <a:pt x="2581" y="436"/>
                    </a:lnTo>
                    <a:lnTo>
                      <a:pt x="2581" y="451"/>
                    </a:lnTo>
                    <a:lnTo>
                      <a:pt x="2585" y="458"/>
                    </a:lnTo>
                    <a:lnTo>
                      <a:pt x="2595" y="445"/>
                    </a:lnTo>
                    <a:lnTo>
                      <a:pt x="2599" y="427"/>
                    </a:lnTo>
                    <a:lnTo>
                      <a:pt x="2594" y="408"/>
                    </a:lnTo>
                    <a:lnTo>
                      <a:pt x="2583" y="408"/>
                    </a:lnTo>
                    <a:lnTo>
                      <a:pt x="2569" y="420"/>
                    </a:lnTo>
                    <a:lnTo>
                      <a:pt x="2556" y="418"/>
                    </a:lnTo>
                    <a:lnTo>
                      <a:pt x="2542" y="391"/>
                    </a:lnTo>
                    <a:lnTo>
                      <a:pt x="2536" y="386"/>
                    </a:lnTo>
                    <a:lnTo>
                      <a:pt x="2537" y="394"/>
                    </a:lnTo>
                    <a:lnTo>
                      <a:pt x="2532" y="399"/>
                    </a:lnTo>
                    <a:lnTo>
                      <a:pt x="2524" y="392"/>
                    </a:lnTo>
                    <a:lnTo>
                      <a:pt x="2524" y="387"/>
                    </a:lnTo>
                    <a:lnTo>
                      <a:pt x="2508" y="379"/>
                    </a:lnTo>
                    <a:lnTo>
                      <a:pt x="2505" y="372"/>
                    </a:lnTo>
                    <a:lnTo>
                      <a:pt x="2505" y="367"/>
                    </a:lnTo>
                    <a:lnTo>
                      <a:pt x="2479" y="370"/>
                    </a:lnTo>
                    <a:lnTo>
                      <a:pt x="2465" y="360"/>
                    </a:lnTo>
                    <a:lnTo>
                      <a:pt x="2461" y="352"/>
                    </a:lnTo>
                    <a:lnTo>
                      <a:pt x="2465" y="345"/>
                    </a:lnTo>
                    <a:lnTo>
                      <a:pt x="2447" y="336"/>
                    </a:lnTo>
                    <a:lnTo>
                      <a:pt x="2445" y="328"/>
                    </a:lnTo>
                    <a:lnTo>
                      <a:pt x="2436" y="318"/>
                    </a:lnTo>
                    <a:lnTo>
                      <a:pt x="2434" y="290"/>
                    </a:lnTo>
                    <a:lnTo>
                      <a:pt x="2434" y="275"/>
                    </a:lnTo>
                    <a:lnTo>
                      <a:pt x="2435" y="266"/>
                    </a:lnTo>
                    <a:lnTo>
                      <a:pt x="2441" y="262"/>
                    </a:lnTo>
                    <a:lnTo>
                      <a:pt x="2445" y="262"/>
                    </a:lnTo>
                    <a:lnTo>
                      <a:pt x="2456" y="236"/>
                    </a:lnTo>
                    <a:lnTo>
                      <a:pt x="2459" y="236"/>
                    </a:lnTo>
                    <a:lnTo>
                      <a:pt x="2461" y="242"/>
                    </a:lnTo>
                    <a:lnTo>
                      <a:pt x="2465" y="237"/>
                    </a:lnTo>
                    <a:lnTo>
                      <a:pt x="2466" y="222"/>
                    </a:lnTo>
                    <a:lnTo>
                      <a:pt x="2461" y="227"/>
                    </a:lnTo>
                    <a:lnTo>
                      <a:pt x="2452" y="204"/>
                    </a:lnTo>
                    <a:lnTo>
                      <a:pt x="2444" y="194"/>
                    </a:lnTo>
                    <a:lnTo>
                      <a:pt x="2444" y="184"/>
                    </a:lnTo>
                    <a:lnTo>
                      <a:pt x="2445" y="171"/>
                    </a:lnTo>
                    <a:lnTo>
                      <a:pt x="2452" y="156"/>
                    </a:lnTo>
                    <a:lnTo>
                      <a:pt x="2449" y="156"/>
                    </a:lnTo>
                    <a:lnTo>
                      <a:pt x="2450" y="145"/>
                    </a:lnTo>
                    <a:lnTo>
                      <a:pt x="2451" y="137"/>
                    </a:lnTo>
                    <a:lnTo>
                      <a:pt x="2451" y="122"/>
                    </a:lnTo>
                    <a:lnTo>
                      <a:pt x="2455" y="117"/>
                    </a:lnTo>
                    <a:lnTo>
                      <a:pt x="2460" y="118"/>
                    </a:lnTo>
                    <a:lnTo>
                      <a:pt x="2461" y="114"/>
                    </a:lnTo>
                    <a:lnTo>
                      <a:pt x="2462" y="106"/>
                    </a:lnTo>
                    <a:lnTo>
                      <a:pt x="2470" y="101"/>
                    </a:lnTo>
                    <a:lnTo>
                      <a:pt x="2488" y="124"/>
                    </a:lnTo>
                    <a:lnTo>
                      <a:pt x="2492" y="123"/>
                    </a:lnTo>
                    <a:lnTo>
                      <a:pt x="2495" y="107"/>
                    </a:lnTo>
                    <a:lnTo>
                      <a:pt x="2493" y="86"/>
                    </a:lnTo>
                    <a:lnTo>
                      <a:pt x="2487" y="85"/>
                    </a:lnTo>
                    <a:lnTo>
                      <a:pt x="2481" y="79"/>
                    </a:lnTo>
                    <a:lnTo>
                      <a:pt x="2479" y="67"/>
                    </a:lnTo>
                    <a:lnTo>
                      <a:pt x="2488" y="52"/>
                    </a:lnTo>
                    <a:lnTo>
                      <a:pt x="2502" y="36"/>
                    </a:lnTo>
                    <a:lnTo>
                      <a:pt x="2505" y="26"/>
                    </a:lnTo>
                    <a:lnTo>
                      <a:pt x="2506" y="16"/>
                    </a:lnTo>
                    <a:lnTo>
                      <a:pt x="2513" y="2"/>
                    </a:lnTo>
                    <a:lnTo>
                      <a:pt x="2522" y="0"/>
                    </a:lnTo>
                    <a:lnTo>
                      <a:pt x="2531" y="2"/>
                    </a:lnTo>
                    <a:lnTo>
                      <a:pt x="2541" y="0"/>
                    </a:lnTo>
                    <a:lnTo>
                      <a:pt x="2551" y="10"/>
                    </a:lnTo>
                    <a:lnTo>
                      <a:pt x="2549" y="18"/>
                    </a:lnTo>
                    <a:lnTo>
                      <a:pt x="2546" y="22"/>
                    </a:lnTo>
                    <a:lnTo>
                      <a:pt x="2545" y="32"/>
                    </a:lnTo>
                    <a:lnTo>
                      <a:pt x="2546" y="38"/>
                    </a:lnTo>
                    <a:lnTo>
                      <a:pt x="2554" y="32"/>
                    </a:lnTo>
                    <a:lnTo>
                      <a:pt x="2554" y="49"/>
                    </a:lnTo>
                    <a:lnTo>
                      <a:pt x="2564" y="40"/>
                    </a:lnTo>
                    <a:lnTo>
                      <a:pt x="2567" y="32"/>
                    </a:lnTo>
                    <a:lnTo>
                      <a:pt x="2576" y="44"/>
                    </a:lnTo>
                    <a:lnTo>
                      <a:pt x="2594" y="37"/>
                    </a:lnTo>
                    <a:lnTo>
                      <a:pt x="2594" y="47"/>
                    </a:lnTo>
                    <a:lnTo>
                      <a:pt x="2590" y="63"/>
                    </a:lnTo>
                    <a:lnTo>
                      <a:pt x="2595" y="75"/>
                    </a:lnTo>
                    <a:lnTo>
                      <a:pt x="2605" y="76"/>
                    </a:lnTo>
                    <a:lnTo>
                      <a:pt x="2632" y="115"/>
                    </a:lnTo>
                    <a:lnTo>
                      <a:pt x="2637" y="147"/>
                    </a:lnTo>
                    <a:lnTo>
                      <a:pt x="2638" y="167"/>
                    </a:lnTo>
                    <a:lnTo>
                      <a:pt x="2637" y="190"/>
                    </a:lnTo>
                    <a:lnTo>
                      <a:pt x="2633" y="189"/>
                    </a:lnTo>
                    <a:lnTo>
                      <a:pt x="2634" y="198"/>
                    </a:lnTo>
                    <a:lnTo>
                      <a:pt x="2645" y="201"/>
                    </a:lnTo>
                    <a:lnTo>
                      <a:pt x="2648" y="221"/>
                    </a:lnTo>
                    <a:lnTo>
                      <a:pt x="2662" y="220"/>
                    </a:lnTo>
                    <a:lnTo>
                      <a:pt x="2671" y="230"/>
                    </a:lnTo>
                    <a:lnTo>
                      <a:pt x="2671" y="244"/>
                    </a:lnTo>
                    <a:lnTo>
                      <a:pt x="2672" y="251"/>
                    </a:lnTo>
                    <a:lnTo>
                      <a:pt x="2681" y="264"/>
                    </a:lnTo>
                    <a:lnTo>
                      <a:pt x="2683" y="274"/>
                    </a:lnTo>
                    <a:lnTo>
                      <a:pt x="2685" y="284"/>
                    </a:lnTo>
                    <a:lnTo>
                      <a:pt x="2688" y="284"/>
                    </a:lnTo>
                    <a:lnTo>
                      <a:pt x="2692" y="279"/>
                    </a:lnTo>
                    <a:lnTo>
                      <a:pt x="2693" y="274"/>
                    </a:lnTo>
                    <a:lnTo>
                      <a:pt x="2701" y="280"/>
                    </a:lnTo>
                    <a:lnTo>
                      <a:pt x="2703" y="297"/>
                    </a:lnTo>
                    <a:lnTo>
                      <a:pt x="2709" y="301"/>
                    </a:lnTo>
                    <a:lnTo>
                      <a:pt x="2713" y="308"/>
                    </a:lnTo>
                    <a:lnTo>
                      <a:pt x="2694" y="312"/>
                    </a:lnTo>
                    <a:lnTo>
                      <a:pt x="2671" y="301"/>
                    </a:lnTo>
                    <a:lnTo>
                      <a:pt x="2664" y="302"/>
                    </a:lnTo>
                    <a:lnTo>
                      <a:pt x="2665" y="306"/>
                    </a:lnTo>
                    <a:lnTo>
                      <a:pt x="2665" y="312"/>
                    </a:lnTo>
                    <a:lnTo>
                      <a:pt x="2661" y="316"/>
                    </a:lnTo>
                    <a:lnTo>
                      <a:pt x="2661" y="318"/>
                    </a:lnTo>
                    <a:lnTo>
                      <a:pt x="2680" y="321"/>
                    </a:lnTo>
                    <a:lnTo>
                      <a:pt x="2688" y="334"/>
                    </a:lnTo>
                    <a:lnTo>
                      <a:pt x="2683" y="343"/>
                    </a:lnTo>
                    <a:lnTo>
                      <a:pt x="2676" y="352"/>
                    </a:lnTo>
                    <a:lnTo>
                      <a:pt x="2670" y="352"/>
                    </a:lnTo>
                    <a:lnTo>
                      <a:pt x="2664" y="357"/>
                    </a:lnTo>
                    <a:lnTo>
                      <a:pt x="2658" y="357"/>
                    </a:lnTo>
                    <a:lnTo>
                      <a:pt x="2656" y="364"/>
                    </a:lnTo>
                    <a:lnTo>
                      <a:pt x="2648" y="371"/>
                    </a:lnTo>
                    <a:lnTo>
                      <a:pt x="2650" y="378"/>
                    </a:lnTo>
                    <a:lnTo>
                      <a:pt x="2649" y="381"/>
                    </a:lnTo>
                    <a:lnTo>
                      <a:pt x="2669" y="381"/>
                    </a:lnTo>
                    <a:lnTo>
                      <a:pt x="2673" y="388"/>
                    </a:lnTo>
                    <a:lnTo>
                      <a:pt x="2678" y="402"/>
                    </a:lnTo>
                    <a:lnTo>
                      <a:pt x="2692" y="408"/>
                    </a:lnTo>
                    <a:lnTo>
                      <a:pt x="2705" y="405"/>
                    </a:lnTo>
                    <a:lnTo>
                      <a:pt x="2715" y="391"/>
                    </a:lnTo>
                    <a:lnTo>
                      <a:pt x="2723" y="389"/>
                    </a:lnTo>
                    <a:lnTo>
                      <a:pt x="2724" y="395"/>
                    </a:lnTo>
                    <a:lnTo>
                      <a:pt x="2718" y="404"/>
                    </a:lnTo>
                    <a:lnTo>
                      <a:pt x="2725" y="402"/>
                    </a:lnTo>
                    <a:lnTo>
                      <a:pt x="2731" y="413"/>
                    </a:lnTo>
                    <a:lnTo>
                      <a:pt x="2735" y="409"/>
                    </a:lnTo>
                    <a:lnTo>
                      <a:pt x="2745" y="415"/>
                    </a:lnTo>
                    <a:lnTo>
                      <a:pt x="2748" y="406"/>
                    </a:lnTo>
                    <a:lnTo>
                      <a:pt x="2751" y="421"/>
                    </a:lnTo>
                    <a:lnTo>
                      <a:pt x="2748" y="432"/>
                    </a:lnTo>
                    <a:lnTo>
                      <a:pt x="2744" y="440"/>
                    </a:lnTo>
                    <a:lnTo>
                      <a:pt x="2735" y="430"/>
                    </a:lnTo>
                    <a:lnTo>
                      <a:pt x="2729" y="434"/>
                    </a:lnTo>
                    <a:lnTo>
                      <a:pt x="2720" y="431"/>
                    </a:lnTo>
                    <a:lnTo>
                      <a:pt x="2745" y="465"/>
                    </a:lnTo>
                    <a:lnTo>
                      <a:pt x="2755" y="469"/>
                    </a:lnTo>
                    <a:lnTo>
                      <a:pt x="2756" y="479"/>
                    </a:lnTo>
                    <a:lnTo>
                      <a:pt x="2764" y="494"/>
                    </a:lnTo>
                    <a:lnTo>
                      <a:pt x="2763" y="499"/>
                    </a:lnTo>
                    <a:lnTo>
                      <a:pt x="2773" y="515"/>
                    </a:lnTo>
                    <a:lnTo>
                      <a:pt x="2768" y="531"/>
                    </a:lnTo>
                    <a:lnTo>
                      <a:pt x="2768" y="549"/>
                    </a:lnTo>
                    <a:lnTo>
                      <a:pt x="2766" y="558"/>
                    </a:lnTo>
                    <a:lnTo>
                      <a:pt x="2771" y="574"/>
                    </a:lnTo>
                    <a:lnTo>
                      <a:pt x="2775" y="581"/>
                    </a:lnTo>
                    <a:lnTo>
                      <a:pt x="2779" y="591"/>
                    </a:lnTo>
                    <a:lnTo>
                      <a:pt x="2787" y="581"/>
                    </a:lnTo>
                    <a:lnTo>
                      <a:pt x="2798" y="559"/>
                    </a:lnTo>
                    <a:lnTo>
                      <a:pt x="2798" y="540"/>
                    </a:lnTo>
                    <a:lnTo>
                      <a:pt x="2799" y="535"/>
                    </a:lnTo>
                    <a:lnTo>
                      <a:pt x="2800" y="532"/>
                    </a:lnTo>
                    <a:lnTo>
                      <a:pt x="2806" y="532"/>
                    </a:lnTo>
                    <a:lnTo>
                      <a:pt x="2807" y="513"/>
                    </a:lnTo>
                    <a:lnTo>
                      <a:pt x="2806" y="495"/>
                    </a:lnTo>
                    <a:lnTo>
                      <a:pt x="2806" y="480"/>
                    </a:lnTo>
                    <a:lnTo>
                      <a:pt x="2818" y="465"/>
                    </a:lnTo>
                    <a:lnTo>
                      <a:pt x="2826" y="447"/>
                    </a:lnTo>
                    <a:lnTo>
                      <a:pt x="2837" y="442"/>
                    </a:lnTo>
                    <a:lnTo>
                      <a:pt x="2850" y="443"/>
                    </a:lnTo>
                    <a:lnTo>
                      <a:pt x="2855" y="462"/>
                    </a:lnTo>
                    <a:lnTo>
                      <a:pt x="2866" y="480"/>
                    </a:lnTo>
                    <a:lnTo>
                      <a:pt x="2896" y="505"/>
                    </a:lnTo>
                    <a:lnTo>
                      <a:pt x="2901" y="517"/>
                    </a:lnTo>
                    <a:lnTo>
                      <a:pt x="2907" y="554"/>
                    </a:lnTo>
                    <a:lnTo>
                      <a:pt x="2913" y="575"/>
                    </a:lnTo>
                    <a:lnTo>
                      <a:pt x="2914" y="592"/>
                    </a:lnTo>
                    <a:lnTo>
                      <a:pt x="2906" y="599"/>
                    </a:lnTo>
                    <a:lnTo>
                      <a:pt x="2897" y="597"/>
                    </a:lnTo>
                    <a:lnTo>
                      <a:pt x="2893" y="592"/>
                    </a:lnTo>
                    <a:lnTo>
                      <a:pt x="2893" y="575"/>
                    </a:lnTo>
                    <a:lnTo>
                      <a:pt x="2884" y="598"/>
                    </a:lnTo>
                    <a:lnTo>
                      <a:pt x="2887" y="615"/>
                    </a:lnTo>
                    <a:lnTo>
                      <a:pt x="2884" y="631"/>
                    </a:lnTo>
                    <a:lnTo>
                      <a:pt x="2884" y="641"/>
                    </a:lnTo>
                    <a:lnTo>
                      <a:pt x="2895" y="663"/>
                    </a:lnTo>
                    <a:lnTo>
                      <a:pt x="2900" y="677"/>
                    </a:lnTo>
                    <a:lnTo>
                      <a:pt x="2908" y="689"/>
                    </a:lnTo>
                    <a:lnTo>
                      <a:pt x="2930" y="732"/>
                    </a:lnTo>
                    <a:lnTo>
                      <a:pt x="2936" y="737"/>
                    </a:lnTo>
                    <a:lnTo>
                      <a:pt x="2944" y="746"/>
                    </a:lnTo>
                    <a:lnTo>
                      <a:pt x="2954" y="741"/>
                    </a:lnTo>
                    <a:lnTo>
                      <a:pt x="2955" y="732"/>
                    </a:lnTo>
                    <a:lnTo>
                      <a:pt x="2957" y="721"/>
                    </a:lnTo>
                    <a:lnTo>
                      <a:pt x="2966" y="716"/>
                    </a:lnTo>
                    <a:lnTo>
                      <a:pt x="2971" y="721"/>
                    </a:lnTo>
                    <a:lnTo>
                      <a:pt x="2974" y="715"/>
                    </a:lnTo>
                    <a:lnTo>
                      <a:pt x="2977" y="720"/>
                    </a:lnTo>
                    <a:lnTo>
                      <a:pt x="2983" y="721"/>
                    </a:lnTo>
                    <a:lnTo>
                      <a:pt x="2987" y="699"/>
                    </a:lnTo>
                    <a:lnTo>
                      <a:pt x="2987" y="679"/>
                    </a:lnTo>
                    <a:lnTo>
                      <a:pt x="2988" y="673"/>
                    </a:lnTo>
                    <a:lnTo>
                      <a:pt x="2997" y="653"/>
                    </a:lnTo>
                    <a:lnTo>
                      <a:pt x="3009" y="640"/>
                    </a:lnTo>
                    <a:lnTo>
                      <a:pt x="3020" y="607"/>
                    </a:lnTo>
                    <a:lnTo>
                      <a:pt x="3021" y="592"/>
                    </a:lnTo>
                    <a:lnTo>
                      <a:pt x="3027" y="586"/>
                    </a:lnTo>
                    <a:lnTo>
                      <a:pt x="3030" y="545"/>
                    </a:lnTo>
                    <a:lnTo>
                      <a:pt x="3029" y="538"/>
                    </a:lnTo>
                    <a:lnTo>
                      <a:pt x="3035" y="531"/>
                    </a:lnTo>
                    <a:lnTo>
                      <a:pt x="3047" y="529"/>
                    </a:lnTo>
                    <a:lnTo>
                      <a:pt x="3049" y="523"/>
                    </a:lnTo>
                    <a:lnTo>
                      <a:pt x="3054" y="524"/>
                    </a:lnTo>
                    <a:lnTo>
                      <a:pt x="3064" y="520"/>
                    </a:lnTo>
                    <a:lnTo>
                      <a:pt x="3076" y="524"/>
                    </a:lnTo>
                    <a:lnTo>
                      <a:pt x="3087" y="522"/>
                    </a:lnTo>
                    <a:lnTo>
                      <a:pt x="3083" y="517"/>
                    </a:lnTo>
                    <a:lnTo>
                      <a:pt x="3069" y="515"/>
                    </a:lnTo>
                    <a:lnTo>
                      <a:pt x="3064" y="507"/>
                    </a:lnTo>
                    <a:lnTo>
                      <a:pt x="3068" y="501"/>
                    </a:lnTo>
                    <a:lnTo>
                      <a:pt x="3065" y="496"/>
                    </a:lnTo>
                    <a:lnTo>
                      <a:pt x="3075" y="496"/>
                    </a:lnTo>
                    <a:lnTo>
                      <a:pt x="3074" y="488"/>
                    </a:lnTo>
                    <a:lnTo>
                      <a:pt x="3079" y="485"/>
                    </a:lnTo>
                    <a:lnTo>
                      <a:pt x="3090" y="489"/>
                    </a:lnTo>
                    <a:lnTo>
                      <a:pt x="3087" y="479"/>
                    </a:lnTo>
                    <a:lnTo>
                      <a:pt x="3080" y="479"/>
                    </a:lnTo>
                    <a:lnTo>
                      <a:pt x="3073" y="469"/>
                    </a:lnTo>
                    <a:lnTo>
                      <a:pt x="3059" y="465"/>
                    </a:lnTo>
                    <a:lnTo>
                      <a:pt x="3052" y="456"/>
                    </a:lnTo>
                    <a:lnTo>
                      <a:pt x="3047" y="442"/>
                    </a:lnTo>
                    <a:lnTo>
                      <a:pt x="3048" y="431"/>
                    </a:lnTo>
                    <a:lnTo>
                      <a:pt x="3049" y="426"/>
                    </a:lnTo>
                    <a:lnTo>
                      <a:pt x="3046" y="410"/>
                    </a:lnTo>
                    <a:lnTo>
                      <a:pt x="3048" y="400"/>
                    </a:lnTo>
                    <a:lnTo>
                      <a:pt x="3044" y="386"/>
                    </a:lnTo>
                    <a:lnTo>
                      <a:pt x="3046" y="381"/>
                    </a:lnTo>
                    <a:lnTo>
                      <a:pt x="3048" y="371"/>
                    </a:lnTo>
                    <a:lnTo>
                      <a:pt x="3048" y="360"/>
                    </a:lnTo>
                    <a:lnTo>
                      <a:pt x="3067" y="365"/>
                    </a:lnTo>
                    <a:lnTo>
                      <a:pt x="3075" y="356"/>
                    </a:lnTo>
                    <a:lnTo>
                      <a:pt x="3097" y="355"/>
                    </a:lnTo>
                    <a:lnTo>
                      <a:pt x="3116" y="360"/>
                    </a:lnTo>
                    <a:lnTo>
                      <a:pt x="3126" y="371"/>
                    </a:lnTo>
                    <a:lnTo>
                      <a:pt x="3150" y="384"/>
                    </a:lnTo>
                    <a:lnTo>
                      <a:pt x="3173" y="381"/>
                    </a:lnTo>
                    <a:lnTo>
                      <a:pt x="3181" y="386"/>
                    </a:lnTo>
                    <a:lnTo>
                      <a:pt x="3192" y="383"/>
                    </a:lnTo>
                    <a:lnTo>
                      <a:pt x="3200" y="378"/>
                    </a:lnTo>
                    <a:lnTo>
                      <a:pt x="3205" y="386"/>
                    </a:lnTo>
                    <a:lnTo>
                      <a:pt x="3205" y="403"/>
                    </a:lnTo>
                    <a:lnTo>
                      <a:pt x="3207" y="411"/>
                    </a:lnTo>
                    <a:lnTo>
                      <a:pt x="3198" y="415"/>
                    </a:lnTo>
                    <a:lnTo>
                      <a:pt x="3205" y="415"/>
                    </a:lnTo>
                    <a:lnTo>
                      <a:pt x="3216" y="431"/>
                    </a:lnTo>
                    <a:lnTo>
                      <a:pt x="3224" y="445"/>
                    </a:lnTo>
                    <a:lnTo>
                      <a:pt x="3220" y="451"/>
                    </a:lnTo>
                    <a:lnTo>
                      <a:pt x="3223" y="453"/>
                    </a:lnTo>
                    <a:lnTo>
                      <a:pt x="3251" y="451"/>
                    </a:lnTo>
                    <a:lnTo>
                      <a:pt x="3259" y="458"/>
                    </a:lnTo>
                    <a:lnTo>
                      <a:pt x="3269" y="461"/>
                    </a:lnTo>
                    <a:lnTo>
                      <a:pt x="3272" y="470"/>
                    </a:lnTo>
                    <a:lnTo>
                      <a:pt x="3262" y="484"/>
                    </a:lnTo>
                    <a:lnTo>
                      <a:pt x="3246" y="496"/>
                    </a:lnTo>
                    <a:lnTo>
                      <a:pt x="3240" y="508"/>
                    </a:lnTo>
                    <a:lnTo>
                      <a:pt x="3272" y="513"/>
                    </a:lnTo>
                    <a:lnTo>
                      <a:pt x="3277" y="526"/>
                    </a:lnTo>
                    <a:lnTo>
                      <a:pt x="3275" y="542"/>
                    </a:lnTo>
                    <a:lnTo>
                      <a:pt x="3271" y="549"/>
                    </a:lnTo>
                    <a:lnTo>
                      <a:pt x="3258" y="558"/>
                    </a:lnTo>
                    <a:lnTo>
                      <a:pt x="3252" y="559"/>
                    </a:lnTo>
                    <a:lnTo>
                      <a:pt x="3246" y="570"/>
                    </a:lnTo>
                    <a:lnTo>
                      <a:pt x="3242" y="577"/>
                    </a:lnTo>
                    <a:lnTo>
                      <a:pt x="3236" y="571"/>
                    </a:lnTo>
                    <a:lnTo>
                      <a:pt x="3232" y="556"/>
                    </a:lnTo>
                    <a:lnTo>
                      <a:pt x="3225" y="559"/>
                    </a:lnTo>
                    <a:lnTo>
                      <a:pt x="3223" y="566"/>
                    </a:lnTo>
                    <a:lnTo>
                      <a:pt x="3208" y="559"/>
                    </a:lnTo>
                    <a:lnTo>
                      <a:pt x="3207" y="569"/>
                    </a:lnTo>
                    <a:lnTo>
                      <a:pt x="3220" y="588"/>
                    </a:lnTo>
                    <a:lnTo>
                      <a:pt x="3215" y="592"/>
                    </a:lnTo>
                    <a:lnTo>
                      <a:pt x="3215" y="596"/>
                    </a:lnTo>
                    <a:lnTo>
                      <a:pt x="3221" y="597"/>
                    </a:lnTo>
                    <a:lnTo>
                      <a:pt x="3221" y="605"/>
                    </a:lnTo>
                    <a:lnTo>
                      <a:pt x="3220" y="613"/>
                    </a:lnTo>
                    <a:lnTo>
                      <a:pt x="3239" y="604"/>
                    </a:lnTo>
                    <a:lnTo>
                      <a:pt x="3232" y="620"/>
                    </a:lnTo>
                    <a:lnTo>
                      <a:pt x="3230" y="637"/>
                    </a:lnTo>
                    <a:lnTo>
                      <a:pt x="3231" y="651"/>
                    </a:lnTo>
                    <a:lnTo>
                      <a:pt x="3257" y="688"/>
                    </a:lnTo>
                    <a:lnTo>
                      <a:pt x="3268" y="699"/>
                    </a:lnTo>
                    <a:lnTo>
                      <a:pt x="3275" y="711"/>
                    </a:lnTo>
                    <a:lnTo>
                      <a:pt x="3275" y="717"/>
                    </a:lnTo>
                    <a:lnTo>
                      <a:pt x="3271" y="723"/>
                    </a:lnTo>
                    <a:lnTo>
                      <a:pt x="3271" y="738"/>
                    </a:lnTo>
                    <a:lnTo>
                      <a:pt x="3274" y="748"/>
                    </a:lnTo>
                    <a:lnTo>
                      <a:pt x="3268" y="755"/>
                    </a:lnTo>
                    <a:lnTo>
                      <a:pt x="3268" y="764"/>
                    </a:lnTo>
                    <a:lnTo>
                      <a:pt x="3255" y="770"/>
                    </a:lnTo>
                    <a:lnTo>
                      <a:pt x="3248" y="776"/>
                    </a:lnTo>
                    <a:lnTo>
                      <a:pt x="3236" y="790"/>
                    </a:lnTo>
                    <a:lnTo>
                      <a:pt x="3235" y="798"/>
                    </a:lnTo>
                    <a:lnTo>
                      <a:pt x="3230" y="807"/>
                    </a:lnTo>
                    <a:lnTo>
                      <a:pt x="3202" y="835"/>
                    </a:lnTo>
                    <a:lnTo>
                      <a:pt x="3183" y="840"/>
                    </a:lnTo>
                    <a:lnTo>
                      <a:pt x="3180" y="851"/>
                    </a:lnTo>
                    <a:lnTo>
                      <a:pt x="3170" y="863"/>
                    </a:lnTo>
                    <a:lnTo>
                      <a:pt x="3162" y="863"/>
                    </a:lnTo>
                    <a:lnTo>
                      <a:pt x="3157" y="859"/>
                    </a:lnTo>
                    <a:lnTo>
                      <a:pt x="3155" y="851"/>
                    </a:lnTo>
                    <a:lnTo>
                      <a:pt x="3134" y="831"/>
                    </a:lnTo>
                    <a:lnTo>
                      <a:pt x="3126" y="819"/>
                    </a:lnTo>
                    <a:lnTo>
                      <a:pt x="3119" y="827"/>
                    </a:lnTo>
                    <a:lnTo>
                      <a:pt x="3121" y="836"/>
                    </a:lnTo>
                    <a:lnTo>
                      <a:pt x="3133" y="855"/>
                    </a:lnTo>
                    <a:lnTo>
                      <a:pt x="3134" y="868"/>
                    </a:lnTo>
                    <a:lnTo>
                      <a:pt x="3140" y="886"/>
                    </a:lnTo>
                    <a:lnTo>
                      <a:pt x="3140" y="892"/>
                    </a:lnTo>
                    <a:lnTo>
                      <a:pt x="3139" y="886"/>
                    </a:lnTo>
                    <a:lnTo>
                      <a:pt x="3128" y="884"/>
                    </a:lnTo>
                    <a:lnTo>
                      <a:pt x="3114" y="870"/>
                    </a:lnTo>
                    <a:lnTo>
                      <a:pt x="3106" y="866"/>
                    </a:lnTo>
                    <a:lnTo>
                      <a:pt x="3103" y="863"/>
                    </a:lnTo>
                    <a:lnTo>
                      <a:pt x="3100" y="863"/>
                    </a:lnTo>
                    <a:lnTo>
                      <a:pt x="3100" y="887"/>
                    </a:lnTo>
                    <a:lnTo>
                      <a:pt x="3084" y="881"/>
                    </a:lnTo>
                    <a:lnTo>
                      <a:pt x="3076" y="882"/>
                    </a:lnTo>
                    <a:lnTo>
                      <a:pt x="3065" y="874"/>
                    </a:lnTo>
                    <a:lnTo>
                      <a:pt x="3063" y="879"/>
                    </a:lnTo>
                    <a:lnTo>
                      <a:pt x="3053" y="836"/>
                    </a:lnTo>
                    <a:lnTo>
                      <a:pt x="3044" y="835"/>
                    </a:lnTo>
                    <a:lnTo>
                      <a:pt x="3026" y="849"/>
                    </a:lnTo>
                    <a:lnTo>
                      <a:pt x="3025" y="846"/>
                    </a:lnTo>
                    <a:lnTo>
                      <a:pt x="3017" y="847"/>
                    </a:lnTo>
                    <a:lnTo>
                      <a:pt x="2990" y="838"/>
                    </a:lnTo>
                    <a:lnTo>
                      <a:pt x="2979" y="847"/>
                    </a:lnTo>
                    <a:lnTo>
                      <a:pt x="2981" y="854"/>
                    </a:lnTo>
                    <a:lnTo>
                      <a:pt x="2977" y="856"/>
                    </a:lnTo>
                    <a:lnTo>
                      <a:pt x="2979" y="865"/>
                    </a:lnTo>
                    <a:lnTo>
                      <a:pt x="3003" y="877"/>
                    </a:lnTo>
                    <a:lnTo>
                      <a:pt x="3011" y="878"/>
                    </a:lnTo>
                    <a:lnTo>
                      <a:pt x="3017" y="887"/>
                    </a:lnTo>
                    <a:lnTo>
                      <a:pt x="3015" y="895"/>
                    </a:lnTo>
                    <a:lnTo>
                      <a:pt x="3015" y="905"/>
                    </a:lnTo>
                    <a:lnTo>
                      <a:pt x="3011" y="909"/>
                    </a:lnTo>
                    <a:lnTo>
                      <a:pt x="3011" y="915"/>
                    </a:lnTo>
                    <a:lnTo>
                      <a:pt x="3009" y="921"/>
                    </a:lnTo>
                    <a:lnTo>
                      <a:pt x="3001" y="927"/>
                    </a:lnTo>
                    <a:lnTo>
                      <a:pt x="2994" y="944"/>
                    </a:lnTo>
                    <a:lnTo>
                      <a:pt x="2988" y="953"/>
                    </a:lnTo>
                    <a:lnTo>
                      <a:pt x="2981" y="960"/>
                    </a:lnTo>
                    <a:lnTo>
                      <a:pt x="2978" y="968"/>
                    </a:lnTo>
                    <a:lnTo>
                      <a:pt x="2967" y="973"/>
                    </a:lnTo>
                    <a:lnTo>
                      <a:pt x="2960" y="991"/>
                    </a:lnTo>
                    <a:lnTo>
                      <a:pt x="2956" y="996"/>
                    </a:lnTo>
                    <a:lnTo>
                      <a:pt x="2946" y="999"/>
                    </a:lnTo>
                    <a:lnTo>
                      <a:pt x="2909" y="1002"/>
                    </a:lnTo>
                    <a:lnTo>
                      <a:pt x="2906" y="994"/>
                    </a:lnTo>
                    <a:lnTo>
                      <a:pt x="2900" y="984"/>
                    </a:lnTo>
                    <a:lnTo>
                      <a:pt x="2869" y="958"/>
                    </a:lnTo>
                    <a:lnTo>
                      <a:pt x="2869" y="956"/>
                    </a:lnTo>
                    <a:lnTo>
                      <a:pt x="2847" y="947"/>
                    </a:lnTo>
                    <a:lnTo>
                      <a:pt x="2826" y="930"/>
                    </a:lnTo>
                    <a:lnTo>
                      <a:pt x="2818" y="929"/>
                    </a:lnTo>
                    <a:lnTo>
                      <a:pt x="2810" y="932"/>
                    </a:lnTo>
                    <a:lnTo>
                      <a:pt x="2794" y="927"/>
                    </a:lnTo>
                    <a:lnTo>
                      <a:pt x="2789" y="940"/>
                    </a:lnTo>
                    <a:lnTo>
                      <a:pt x="2807" y="951"/>
                    </a:lnTo>
                    <a:lnTo>
                      <a:pt x="2822" y="967"/>
                    </a:lnTo>
                    <a:lnTo>
                      <a:pt x="2833" y="986"/>
                    </a:lnTo>
                    <a:lnTo>
                      <a:pt x="2850" y="1002"/>
                    </a:lnTo>
                    <a:lnTo>
                      <a:pt x="2879" y="1006"/>
                    </a:lnTo>
                    <a:lnTo>
                      <a:pt x="2903" y="1016"/>
                    </a:lnTo>
                    <a:lnTo>
                      <a:pt x="2912" y="1011"/>
                    </a:lnTo>
                    <a:lnTo>
                      <a:pt x="2936" y="1012"/>
                    </a:lnTo>
                    <a:lnTo>
                      <a:pt x="2961" y="1016"/>
                    </a:lnTo>
                    <a:lnTo>
                      <a:pt x="2962" y="1021"/>
                    </a:lnTo>
                    <a:lnTo>
                      <a:pt x="2968" y="1019"/>
                    </a:lnTo>
                    <a:lnTo>
                      <a:pt x="2965" y="1032"/>
                    </a:lnTo>
                    <a:lnTo>
                      <a:pt x="2960" y="1040"/>
                    </a:lnTo>
                    <a:lnTo>
                      <a:pt x="2960" y="1050"/>
                    </a:lnTo>
                    <a:lnTo>
                      <a:pt x="2950" y="1062"/>
                    </a:lnTo>
                    <a:lnTo>
                      <a:pt x="2946" y="1081"/>
                    </a:lnTo>
                    <a:lnTo>
                      <a:pt x="2939" y="1085"/>
                    </a:lnTo>
                    <a:lnTo>
                      <a:pt x="2931" y="1104"/>
                    </a:lnTo>
                    <a:lnTo>
                      <a:pt x="2918" y="1110"/>
                    </a:lnTo>
                    <a:lnTo>
                      <a:pt x="2918" y="1125"/>
                    </a:lnTo>
                    <a:lnTo>
                      <a:pt x="2913" y="1131"/>
                    </a:lnTo>
                    <a:lnTo>
                      <a:pt x="2903" y="1153"/>
                    </a:lnTo>
                    <a:lnTo>
                      <a:pt x="2900" y="1151"/>
                    </a:lnTo>
                    <a:lnTo>
                      <a:pt x="2888" y="1164"/>
                    </a:lnTo>
                    <a:lnTo>
                      <a:pt x="2871" y="1174"/>
                    </a:lnTo>
                    <a:lnTo>
                      <a:pt x="2850" y="1169"/>
                    </a:lnTo>
                    <a:lnTo>
                      <a:pt x="2847" y="1177"/>
                    </a:lnTo>
                    <a:lnTo>
                      <a:pt x="2827" y="1162"/>
                    </a:lnTo>
                    <a:lnTo>
                      <a:pt x="2826" y="1166"/>
                    </a:lnTo>
                    <a:lnTo>
                      <a:pt x="2826" y="1170"/>
                    </a:lnTo>
                    <a:lnTo>
                      <a:pt x="2820" y="1159"/>
                    </a:lnTo>
                    <a:lnTo>
                      <a:pt x="2816" y="1162"/>
                    </a:lnTo>
                    <a:lnTo>
                      <a:pt x="2809" y="1156"/>
                    </a:lnTo>
                    <a:lnTo>
                      <a:pt x="2804" y="1155"/>
                    </a:lnTo>
                    <a:lnTo>
                      <a:pt x="2806" y="1162"/>
                    </a:lnTo>
                    <a:lnTo>
                      <a:pt x="2806" y="1170"/>
                    </a:lnTo>
                    <a:lnTo>
                      <a:pt x="2809" y="1180"/>
                    </a:lnTo>
                    <a:lnTo>
                      <a:pt x="2809" y="1182"/>
                    </a:lnTo>
                    <a:lnTo>
                      <a:pt x="2804" y="1182"/>
                    </a:lnTo>
                    <a:lnTo>
                      <a:pt x="2796" y="1178"/>
                    </a:lnTo>
                    <a:lnTo>
                      <a:pt x="2795" y="1189"/>
                    </a:lnTo>
                    <a:lnTo>
                      <a:pt x="2800" y="1196"/>
                    </a:lnTo>
                    <a:lnTo>
                      <a:pt x="2796" y="1201"/>
                    </a:lnTo>
                    <a:lnTo>
                      <a:pt x="2793" y="1215"/>
                    </a:lnTo>
                    <a:lnTo>
                      <a:pt x="2788" y="1222"/>
                    </a:lnTo>
                    <a:lnTo>
                      <a:pt x="2780" y="1222"/>
                    </a:lnTo>
                    <a:lnTo>
                      <a:pt x="2778" y="1229"/>
                    </a:lnTo>
                    <a:lnTo>
                      <a:pt x="2773" y="1231"/>
                    </a:lnTo>
                    <a:lnTo>
                      <a:pt x="2767" y="1228"/>
                    </a:lnTo>
                    <a:lnTo>
                      <a:pt x="2763" y="1237"/>
                    </a:lnTo>
                    <a:lnTo>
                      <a:pt x="2758" y="1229"/>
                    </a:lnTo>
                    <a:lnTo>
                      <a:pt x="2752" y="1227"/>
                    </a:lnTo>
                    <a:lnTo>
                      <a:pt x="2746" y="1221"/>
                    </a:lnTo>
                    <a:lnTo>
                      <a:pt x="2734" y="1216"/>
                    </a:lnTo>
                    <a:lnTo>
                      <a:pt x="2721" y="1205"/>
                    </a:lnTo>
                    <a:lnTo>
                      <a:pt x="2716" y="1209"/>
                    </a:lnTo>
                    <a:lnTo>
                      <a:pt x="2714" y="1195"/>
                    </a:lnTo>
                    <a:lnTo>
                      <a:pt x="2707" y="1204"/>
                    </a:lnTo>
                    <a:lnTo>
                      <a:pt x="2697" y="1205"/>
                    </a:lnTo>
                    <a:lnTo>
                      <a:pt x="2692" y="1200"/>
                    </a:lnTo>
                    <a:lnTo>
                      <a:pt x="2688" y="1204"/>
                    </a:lnTo>
                    <a:lnTo>
                      <a:pt x="2678" y="1204"/>
                    </a:lnTo>
                    <a:lnTo>
                      <a:pt x="2658" y="1195"/>
                    </a:lnTo>
                    <a:lnTo>
                      <a:pt x="2654" y="1189"/>
                    </a:lnTo>
                    <a:lnTo>
                      <a:pt x="2608" y="1167"/>
                    </a:lnTo>
                    <a:lnTo>
                      <a:pt x="2606" y="1170"/>
                    </a:lnTo>
                    <a:lnTo>
                      <a:pt x="2600" y="1182"/>
                    </a:lnTo>
                    <a:lnTo>
                      <a:pt x="2602" y="1189"/>
                    </a:lnTo>
                    <a:lnTo>
                      <a:pt x="2611" y="1195"/>
                    </a:lnTo>
                    <a:lnTo>
                      <a:pt x="2618" y="1191"/>
                    </a:lnTo>
                    <a:lnTo>
                      <a:pt x="2617" y="1186"/>
                    </a:lnTo>
                    <a:lnTo>
                      <a:pt x="2617" y="1180"/>
                    </a:lnTo>
                    <a:lnTo>
                      <a:pt x="2626" y="1189"/>
                    </a:lnTo>
                    <a:lnTo>
                      <a:pt x="2642" y="1194"/>
                    </a:lnTo>
                    <a:lnTo>
                      <a:pt x="2654" y="1200"/>
                    </a:lnTo>
                    <a:lnTo>
                      <a:pt x="2656" y="1205"/>
                    </a:lnTo>
                    <a:lnTo>
                      <a:pt x="2656" y="1211"/>
                    </a:lnTo>
                    <a:lnTo>
                      <a:pt x="2662" y="1202"/>
                    </a:lnTo>
                    <a:lnTo>
                      <a:pt x="2682" y="1209"/>
                    </a:lnTo>
                    <a:lnTo>
                      <a:pt x="2683" y="1215"/>
                    </a:lnTo>
                    <a:lnTo>
                      <a:pt x="2676" y="1220"/>
                    </a:lnTo>
                    <a:lnTo>
                      <a:pt x="2672" y="1227"/>
                    </a:lnTo>
                    <a:lnTo>
                      <a:pt x="2678" y="1228"/>
                    </a:lnTo>
                    <a:lnTo>
                      <a:pt x="2682" y="1220"/>
                    </a:lnTo>
                    <a:lnTo>
                      <a:pt x="2689" y="1213"/>
                    </a:lnTo>
                    <a:lnTo>
                      <a:pt x="2701" y="1211"/>
                    </a:lnTo>
                    <a:lnTo>
                      <a:pt x="2709" y="1215"/>
                    </a:lnTo>
                    <a:lnTo>
                      <a:pt x="2712" y="1222"/>
                    </a:lnTo>
                    <a:lnTo>
                      <a:pt x="2724" y="1233"/>
                    </a:lnTo>
                    <a:lnTo>
                      <a:pt x="2737" y="1237"/>
                    </a:lnTo>
                    <a:lnTo>
                      <a:pt x="2740" y="1242"/>
                    </a:lnTo>
                    <a:lnTo>
                      <a:pt x="2748" y="1238"/>
                    </a:lnTo>
                    <a:lnTo>
                      <a:pt x="2751" y="1243"/>
                    </a:lnTo>
                    <a:lnTo>
                      <a:pt x="2750" y="1248"/>
                    </a:lnTo>
                    <a:lnTo>
                      <a:pt x="2758" y="1258"/>
                    </a:lnTo>
                    <a:lnTo>
                      <a:pt x="2759" y="1264"/>
                    </a:lnTo>
                    <a:lnTo>
                      <a:pt x="2764" y="1287"/>
                    </a:lnTo>
                    <a:lnTo>
                      <a:pt x="2763" y="1298"/>
                    </a:lnTo>
                    <a:lnTo>
                      <a:pt x="2761" y="1304"/>
                    </a:lnTo>
                    <a:lnTo>
                      <a:pt x="2756" y="1311"/>
                    </a:lnTo>
                    <a:lnTo>
                      <a:pt x="2734" y="1311"/>
                    </a:lnTo>
                    <a:lnTo>
                      <a:pt x="2726" y="1318"/>
                    </a:lnTo>
                    <a:lnTo>
                      <a:pt x="2719" y="1322"/>
                    </a:lnTo>
                    <a:lnTo>
                      <a:pt x="2708" y="1323"/>
                    </a:lnTo>
                    <a:lnTo>
                      <a:pt x="2685" y="1320"/>
                    </a:lnTo>
                    <a:lnTo>
                      <a:pt x="2676" y="1323"/>
                    </a:lnTo>
                    <a:lnTo>
                      <a:pt x="2665" y="1319"/>
                    </a:lnTo>
                    <a:lnTo>
                      <a:pt x="2661" y="1326"/>
                    </a:lnTo>
                    <a:lnTo>
                      <a:pt x="2670" y="1341"/>
                    </a:lnTo>
                    <a:lnTo>
                      <a:pt x="2686" y="1340"/>
                    </a:lnTo>
                    <a:lnTo>
                      <a:pt x="2688" y="1347"/>
                    </a:lnTo>
                    <a:lnTo>
                      <a:pt x="2676" y="1351"/>
                    </a:lnTo>
                    <a:lnTo>
                      <a:pt x="2667" y="1347"/>
                    </a:lnTo>
                    <a:lnTo>
                      <a:pt x="2655" y="1349"/>
                    </a:lnTo>
                    <a:lnTo>
                      <a:pt x="2651" y="1368"/>
                    </a:lnTo>
                    <a:lnTo>
                      <a:pt x="2651" y="1379"/>
                    </a:lnTo>
                    <a:lnTo>
                      <a:pt x="2656" y="1410"/>
                    </a:lnTo>
                    <a:lnTo>
                      <a:pt x="2639" y="1390"/>
                    </a:lnTo>
                    <a:lnTo>
                      <a:pt x="2633" y="1393"/>
                    </a:lnTo>
                    <a:lnTo>
                      <a:pt x="2634" y="1400"/>
                    </a:lnTo>
                    <a:lnTo>
                      <a:pt x="2626" y="1406"/>
                    </a:lnTo>
                    <a:lnTo>
                      <a:pt x="2626" y="1414"/>
                    </a:lnTo>
                    <a:lnTo>
                      <a:pt x="2622" y="1421"/>
                    </a:lnTo>
                    <a:lnTo>
                      <a:pt x="2621" y="1426"/>
                    </a:lnTo>
                    <a:lnTo>
                      <a:pt x="2605" y="1426"/>
                    </a:lnTo>
                    <a:lnTo>
                      <a:pt x="2608" y="1437"/>
                    </a:lnTo>
                    <a:lnTo>
                      <a:pt x="2613" y="1441"/>
                    </a:lnTo>
                    <a:lnTo>
                      <a:pt x="2603" y="1459"/>
                    </a:lnTo>
                    <a:lnTo>
                      <a:pt x="2581" y="1475"/>
                    </a:lnTo>
                    <a:lnTo>
                      <a:pt x="2575" y="1482"/>
                    </a:lnTo>
                    <a:lnTo>
                      <a:pt x="2551" y="1484"/>
                    </a:lnTo>
                    <a:lnTo>
                      <a:pt x="2546" y="1489"/>
                    </a:lnTo>
                    <a:lnTo>
                      <a:pt x="2568" y="1506"/>
                    </a:lnTo>
                    <a:lnTo>
                      <a:pt x="2568" y="1512"/>
                    </a:lnTo>
                    <a:lnTo>
                      <a:pt x="2565" y="1524"/>
                    </a:lnTo>
                    <a:lnTo>
                      <a:pt x="2563" y="1538"/>
                    </a:lnTo>
                    <a:lnTo>
                      <a:pt x="2560" y="1544"/>
                    </a:lnTo>
                    <a:lnTo>
                      <a:pt x="2549" y="1548"/>
                    </a:lnTo>
                    <a:lnTo>
                      <a:pt x="2551" y="1573"/>
                    </a:lnTo>
                    <a:lnTo>
                      <a:pt x="2547" y="1583"/>
                    </a:lnTo>
                    <a:lnTo>
                      <a:pt x="2540" y="1584"/>
                    </a:lnTo>
                    <a:lnTo>
                      <a:pt x="2537" y="1589"/>
                    </a:lnTo>
                    <a:lnTo>
                      <a:pt x="2541" y="1605"/>
                    </a:lnTo>
                    <a:lnTo>
                      <a:pt x="2538" y="1632"/>
                    </a:lnTo>
                    <a:lnTo>
                      <a:pt x="2537" y="1642"/>
                    </a:lnTo>
                    <a:lnTo>
                      <a:pt x="2533" y="1675"/>
                    </a:lnTo>
                    <a:lnTo>
                      <a:pt x="2533" y="1702"/>
                    </a:lnTo>
                    <a:lnTo>
                      <a:pt x="2535" y="1718"/>
                    </a:lnTo>
                    <a:lnTo>
                      <a:pt x="2535" y="1729"/>
                    </a:lnTo>
                    <a:lnTo>
                      <a:pt x="2525" y="1747"/>
                    </a:lnTo>
                    <a:lnTo>
                      <a:pt x="2533" y="1749"/>
                    </a:lnTo>
                    <a:lnTo>
                      <a:pt x="2537" y="1758"/>
                    </a:lnTo>
                    <a:lnTo>
                      <a:pt x="2545" y="1770"/>
                    </a:lnTo>
                    <a:lnTo>
                      <a:pt x="2551" y="1776"/>
                    </a:lnTo>
                    <a:lnTo>
                      <a:pt x="2552" y="1776"/>
                    </a:lnTo>
                    <a:lnTo>
                      <a:pt x="2558" y="1772"/>
                    </a:lnTo>
                    <a:lnTo>
                      <a:pt x="2559" y="1779"/>
                    </a:lnTo>
                    <a:lnTo>
                      <a:pt x="2560" y="1802"/>
                    </a:lnTo>
                    <a:lnTo>
                      <a:pt x="2564" y="1797"/>
                    </a:lnTo>
                    <a:lnTo>
                      <a:pt x="2564" y="1775"/>
                    </a:lnTo>
                    <a:lnTo>
                      <a:pt x="2568" y="1772"/>
                    </a:lnTo>
                    <a:lnTo>
                      <a:pt x="2596" y="1772"/>
                    </a:lnTo>
                    <a:lnTo>
                      <a:pt x="2601" y="1776"/>
                    </a:lnTo>
                    <a:lnTo>
                      <a:pt x="2608" y="1776"/>
                    </a:lnTo>
                    <a:lnTo>
                      <a:pt x="2613" y="1774"/>
                    </a:lnTo>
                    <a:lnTo>
                      <a:pt x="2622" y="1779"/>
                    </a:lnTo>
                    <a:lnTo>
                      <a:pt x="2624" y="1785"/>
                    </a:lnTo>
                    <a:lnTo>
                      <a:pt x="2628" y="1812"/>
                    </a:lnTo>
                    <a:lnTo>
                      <a:pt x="2646" y="1856"/>
                    </a:lnTo>
                    <a:lnTo>
                      <a:pt x="2646" y="1876"/>
                    </a:lnTo>
                    <a:lnTo>
                      <a:pt x="2648" y="1890"/>
                    </a:lnTo>
                    <a:lnTo>
                      <a:pt x="2660" y="1909"/>
                    </a:lnTo>
                    <a:lnTo>
                      <a:pt x="2662" y="1936"/>
                    </a:lnTo>
                    <a:lnTo>
                      <a:pt x="2661" y="1944"/>
                    </a:lnTo>
                    <a:lnTo>
                      <a:pt x="2658" y="1953"/>
                    </a:lnTo>
                    <a:lnTo>
                      <a:pt x="2650" y="1959"/>
                    </a:lnTo>
                    <a:lnTo>
                      <a:pt x="2644" y="1964"/>
                    </a:lnTo>
                    <a:lnTo>
                      <a:pt x="2645" y="1966"/>
                    </a:lnTo>
                    <a:lnTo>
                      <a:pt x="2666" y="1955"/>
                    </a:lnTo>
                    <a:lnTo>
                      <a:pt x="2666" y="1964"/>
                    </a:lnTo>
                    <a:lnTo>
                      <a:pt x="2670" y="1964"/>
                    </a:lnTo>
                    <a:lnTo>
                      <a:pt x="2686" y="1952"/>
                    </a:lnTo>
                    <a:lnTo>
                      <a:pt x="2734" y="1930"/>
                    </a:lnTo>
                    <a:lnTo>
                      <a:pt x="2756" y="1936"/>
                    </a:lnTo>
                    <a:lnTo>
                      <a:pt x="2762" y="1942"/>
                    </a:lnTo>
                    <a:lnTo>
                      <a:pt x="2774" y="1948"/>
                    </a:lnTo>
                    <a:lnTo>
                      <a:pt x="2779" y="1957"/>
                    </a:lnTo>
                    <a:lnTo>
                      <a:pt x="2796" y="1964"/>
                    </a:lnTo>
                    <a:lnTo>
                      <a:pt x="2821" y="1976"/>
                    </a:lnTo>
                    <a:lnTo>
                      <a:pt x="2842" y="1977"/>
                    </a:lnTo>
                    <a:lnTo>
                      <a:pt x="2847" y="1980"/>
                    </a:lnTo>
                    <a:lnTo>
                      <a:pt x="2885" y="2006"/>
                    </a:lnTo>
                    <a:lnTo>
                      <a:pt x="2900" y="2012"/>
                    </a:lnTo>
                    <a:lnTo>
                      <a:pt x="2920" y="2043"/>
                    </a:lnTo>
                    <a:lnTo>
                      <a:pt x="2924" y="2049"/>
                    </a:lnTo>
                    <a:lnTo>
                      <a:pt x="2923" y="2056"/>
                    </a:lnTo>
                    <a:lnTo>
                      <a:pt x="2929" y="2061"/>
                    </a:lnTo>
                    <a:lnTo>
                      <a:pt x="2934" y="2057"/>
                    </a:lnTo>
                    <a:lnTo>
                      <a:pt x="2939" y="2060"/>
                    </a:lnTo>
                    <a:lnTo>
                      <a:pt x="2943" y="2065"/>
                    </a:lnTo>
                    <a:lnTo>
                      <a:pt x="2950" y="2066"/>
                    </a:lnTo>
                    <a:lnTo>
                      <a:pt x="2958" y="2065"/>
                    </a:lnTo>
                    <a:lnTo>
                      <a:pt x="2966" y="2066"/>
                    </a:lnTo>
                    <a:lnTo>
                      <a:pt x="2978" y="2076"/>
                    </a:lnTo>
                    <a:lnTo>
                      <a:pt x="3020" y="2089"/>
                    </a:lnTo>
                    <a:lnTo>
                      <a:pt x="3032" y="2099"/>
                    </a:lnTo>
                    <a:lnTo>
                      <a:pt x="3035" y="2106"/>
                    </a:lnTo>
                    <a:lnTo>
                      <a:pt x="3051" y="2116"/>
                    </a:lnTo>
                    <a:lnTo>
                      <a:pt x="3052" y="2122"/>
                    </a:lnTo>
                    <a:lnTo>
                      <a:pt x="3046" y="2137"/>
                    </a:lnTo>
                    <a:lnTo>
                      <a:pt x="3042" y="2149"/>
                    </a:lnTo>
                    <a:lnTo>
                      <a:pt x="3033" y="2169"/>
                    </a:lnTo>
                    <a:lnTo>
                      <a:pt x="3046" y="2148"/>
                    </a:lnTo>
                    <a:lnTo>
                      <a:pt x="3051" y="2136"/>
                    </a:lnTo>
                    <a:lnTo>
                      <a:pt x="3056" y="2127"/>
                    </a:lnTo>
                    <a:lnTo>
                      <a:pt x="3112" y="2126"/>
                    </a:lnTo>
                    <a:lnTo>
                      <a:pt x="3139" y="2132"/>
                    </a:lnTo>
                    <a:lnTo>
                      <a:pt x="3160" y="2130"/>
                    </a:lnTo>
                    <a:lnTo>
                      <a:pt x="3166" y="2131"/>
                    </a:lnTo>
                    <a:lnTo>
                      <a:pt x="3171" y="2127"/>
                    </a:lnTo>
                    <a:lnTo>
                      <a:pt x="3182" y="2130"/>
                    </a:lnTo>
                    <a:lnTo>
                      <a:pt x="3185" y="2137"/>
                    </a:lnTo>
                    <a:lnTo>
                      <a:pt x="3193" y="2136"/>
                    </a:lnTo>
                    <a:lnTo>
                      <a:pt x="3203" y="2140"/>
                    </a:lnTo>
                    <a:lnTo>
                      <a:pt x="3210" y="2145"/>
                    </a:lnTo>
                    <a:lnTo>
                      <a:pt x="3216" y="2141"/>
                    </a:lnTo>
                    <a:lnTo>
                      <a:pt x="3221" y="2165"/>
                    </a:lnTo>
                    <a:lnTo>
                      <a:pt x="3219" y="2199"/>
                    </a:lnTo>
                    <a:lnTo>
                      <a:pt x="3214" y="2217"/>
                    </a:lnTo>
                    <a:lnTo>
                      <a:pt x="3213" y="2235"/>
                    </a:lnTo>
                    <a:lnTo>
                      <a:pt x="3219" y="2246"/>
                    </a:lnTo>
                    <a:lnTo>
                      <a:pt x="3221" y="2258"/>
                    </a:lnTo>
                    <a:lnTo>
                      <a:pt x="3221" y="2281"/>
                    </a:lnTo>
                    <a:lnTo>
                      <a:pt x="3225" y="2314"/>
                    </a:lnTo>
                    <a:lnTo>
                      <a:pt x="3219" y="2321"/>
                    </a:lnTo>
                    <a:lnTo>
                      <a:pt x="3219" y="2341"/>
                    </a:lnTo>
                    <a:lnTo>
                      <a:pt x="3223" y="2348"/>
                    </a:lnTo>
                    <a:lnTo>
                      <a:pt x="3228" y="2352"/>
                    </a:lnTo>
                    <a:lnTo>
                      <a:pt x="3230" y="2358"/>
                    </a:lnTo>
                    <a:lnTo>
                      <a:pt x="3239" y="2369"/>
                    </a:lnTo>
                    <a:lnTo>
                      <a:pt x="3247" y="2373"/>
                    </a:lnTo>
                    <a:lnTo>
                      <a:pt x="3255" y="2382"/>
                    </a:lnTo>
                    <a:lnTo>
                      <a:pt x="3259" y="2393"/>
                    </a:lnTo>
                    <a:lnTo>
                      <a:pt x="3267" y="2402"/>
                    </a:lnTo>
                    <a:lnTo>
                      <a:pt x="3267" y="2405"/>
                    </a:lnTo>
                    <a:lnTo>
                      <a:pt x="3253" y="2406"/>
                    </a:lnTo>
                    <a:lnTo>
                      <a:pt x="3234" y="2418"/>
                    </a:lnTo>
                    <a:lnTo>
                      <a:pt x="3229" y="2423"/>
                    </a:lnTo>
                    <a:lnTo>
                      <a:pt x="3229" y="2425"/>
                    </a:lnTo>
                    <a:lnTo>
                      <a:pt x="3262" y="2416"/>
                    </a:lnTo>
                    <a:lnTo>
                      <a:pt x="3272" y="2417"/>
                    </a:lnTo>
                    <a:lnTo>
                      <a:pt x="3279" y="2421"/>
                    </a:lnTo>
                    <a:lnTo>
                      <a:pt x="3307" y="2450"/>
                    </a:lnTo>
                    <a:lnTo>
                      <a:pt x="3312" y="2459"/>
                    </a:lnTo>
                    <a:lnTo>
                      <a:pt x="3317" y="2477"/>
                    </a:lnTo>
                    <a:lnTo>
                      <a:pt x="3314" y="2486"/>
                    </a:lnTo>
                    <a:lnTo>
                      <a:pt x="3289" y="2514"/>
                    </a:lnTo>
                    <a:lnTo>
                      <a:pt x="3314" y="2495"/>
                    </a:lnTo>
                    <a:lnTo>
                      <a:pt x="3318" y="2488"/>
                    </a:lnTo>
                    <a:lnTo>
                      <a:pt x="3323" y="2488"/>
                    </a:lnTo>
                    <a:lnTo>
                      <a:pt x="3337" y="2500"/>
                    </a:lnTo>
                    <a:lnTo>
                      <a:pt x="3344" y="2501"/>
                    </a:lnTo>
                    <a:lnTo>
                      <a:pt x="3359" y="2512"/>
                    </a:lnTo>
                    <a:lnTo>
                      <a:pt x="3363" y="2509"/>
                    </a:lnTo>
                    <a:lnTo>
                      <a:pt x="3360" y="2482"/>
                    </a:lnTo>
                    <a:lnTo>
                      <a:pt x="3363" y="2476"/>
                    </a:lnTo>
                    <a:lnTo>
                      <a:pt x="3370" y="2476"/>
                    </a:lnTo>
                    <a:lnTo>
                      <a:pt x="3370" y="2470"/>
                    </a:lnTo>
                    <a:lnTo>
                      <a:pt x="3371" y="2464"/>
                    </a:lnTo>
                    <a:lnTo>
                      <a:pt x="3379" y="2461"/>
                    </a:lnTo>
                    <a:lnTo>
                      <a:pt x="3386" y="2461"/>
                    </a:lnTo>
                    <a:lnTo>
                      <a:pt x="3386" y="2466"/>
                    </a:lnTo>
                    <a:lnTo>
                      <a:pt x="3399" y="2475"/>
                    </a:lnTo>
                    <a:lnTo>
                      <a:pt x="3402" y="2495"/>
                    </a:lnTo>
                    <a:lnTo>
                      <a:pt x="3408" y="2493"/>
                    </a:lnTo>
                    <a:lnTo>
                      <a:pt x="3415" y="2487"/>
                    </a:lnTo>
                    <a:lnTo>
                      <a:pt x="3415" y="2481"/>
                    </a:lnTo>
                    <a:lnTo>
                      <a:pt x="3419" y="2477"/>
                    </a:lnTo>
                    <a:lnTo>
                      <a:pt x="3420" y="2470"/>
                    </a:lnTo>
                    <a:lnTo>
                      <a:pt x="3412" y="2468"/>
                    </a:lnTo>
                    <a:lnTo>
                      <a:pt x="3401" y="2450"/>
                    </a:lnTo>
                    <a:lnTo>
                      <a:pt x="3399" y="2443"/>
                    </a:lnTo>
                    <a:lnTo>
                      <a:pt x="3412" y="2442"/>
                    </a:lnTo>
                    <a:lnTo>
                      <a:pt x="3412" y="2437"/>
                    </a:lnTo>
                    <a:lnTo>
                      <a:pt x="3420" y="2432"/>
                    </a:lnTo>
                    <a:lnTo>
                      <a:pt x="3424" y="2421"/>
                    </a:lnTo>
                    <a:lnTo>
                      <a:pt x="3429" y="2415"/>
                    </a:lnTo>
                    <a:lnTo>
                      <a:pt x="3435" y="2410"/>
                    </a:lnTo>
                    <a:lnTo>
                      <a:pt x="3454" y="2411"/>
                    </a:lnTo>
                    <a:lnTo>
                      <a:pt x="3460" y="2407"/>
                    </a:lnTo>
                    <a:lnTo>
                      <a:pt x="3460" y="2405"/>
                    </a:lnTo>
                    <a:lnTo>
                      <a:pt x="3444" y="2407"/>
                    </a:lnTo>
                    <a:lnTo>
                      <a:pt x="3436" y="2406"/>
                    </a:lnTo>
                    <a:lnTo>
                      <a:pt x="3429" y="2400"/>
                    </a:lnTo>
                    <a:lnTo>
                      <a:pt x="3427" y="2391"/>
                    </a:lnTo>
                    <a:lnTo>
                      <a:pt x="3424" y="2387"/>
                    </a:lnTo>
                    <a:lnTo>
                      <a:pt x="3417" y="2383"/>
                    </a:lnTo>
                    <a:lnTo>
                      <a:pt x="3411" y="2364"/>
                    </a:lnTo>
                    <a:lnTo>
                      <a:pt x="3414" y="2361"/>
                    </a:lnTo>
                    <a:lnTo>
                      <a:pt x="3415" y="2356"/>
                    </a:lnTo>
                    <a:lnTo>
                      <a:pt x="3411" y="2353"/>
                    </a:lnTo>
                    <a:lnTo>
                      <a:pt x="3407" y="2309"/>
                    </a:lnTo>
                    <a:lnTo>
                      <a:pt x="3404" y="2299"/>
                    </a:lnTo>
                    <a:lnTo>
                      <a:pt x="3403" y="2274"/>
                    </a:lnTo>
                    <a:lnTo>
                      <a:pt x="3404" y="2264"/>
                    </a:lnTo>
                    <a:lnTo>
                      <a:pt x="3402" y="2251"/>
                    </a:lnTo>
                    <a:lnTo>
                      <a:pt x="3399" y="2242"/>
                    </a:lnTo>
                    <a:lnTo>
                      <a:pt x="3391" y="2232"/>
                    </a:lnTo>
                    <a:lnTo>
                      <a:pt x="3379" y="2206"/>
                    </a:lnTo>
                    <a:lnTo>
                      <a:pt x="3374" y="2200"/>
                    </a:lnTo>
                    <a:lnTo>
                      <a:pt x="3366" y="2197"/>
                    </a:lnTo>
                    <a:lnTo>
                      <a:pt x="3361" y="2195"/>
                    </a:lnTo>
                    <a:lnTo>
                      <a:pt x="3380" y="2186"/>
                    </a:lnTo>
                    <a:lnTo>
                      <a:pt x="3407" y="2169"/>
                    </a:lnTo>
                    <a:lnTo>
                      <a:pt x="3422" y="2162"/>
                    </a:lnTo>
                    <a:lnTo>
                      <a:pt x="3449" y="2140"/>
                    </a:lnTo>
                    <a:lnTo>
                      <a:pt x="3461" y="2132"/>
                    </a:lnTo>
                    <a:lnTo>
                      <a:pt x="3476" y="2119"/>
                    </a:lnTo>
                    <a:lnTo>
                      <a:pt x="3489" y="2104"/>
                    </a:lnTo>
                    <a:lnTo>
                      <a:pt x="3476" y="2114"/>
                    </a:lnTo>
                    <a:lnTo>
                      <a:pt x="3492" y="2092"/>
                    </a:lnTo>
                    <a:lnTo>
                      <a:pt x="3513" y="2055"/>
                    </a:lnTo>
                    <a:lnTo>
                      <a:pt x="3519" y="2041"/>
                    </a:lnTo>
                    <a:lnTo>
                      <a:pt x="3524" y="2036"/>
                    </a:lnTo>
                    <a:lnTo>
                      <a:pt x="3532" y="2038"/>
                    </a:lnTo>
                    <a:lnTo>
                      <a:pt x="3541" y="2045"/>
                    </a:lnTo>
                    <a:lnTo>
                      <a:pt x="3551" y="2040"/>
                    </a:lnTo>
                    <a:lnTo>
                      <a:pt x="3554" y="2032"/>
                    </a:lnTo>
                    <a:lnTo>
                      <a:pt x="3548" y="2030"/>
                    </a:lnTo>
                    <a:lnTo>
                      <a:pt x="3543" y="2007"/>
                    </a:lnTo>
                    <a:lnTo>
                      <a:pt x="3540" y="2001"/>
                    </a:lnTo>
                    <a:lnTo>
                      <a:pt x="3531" y="2022"/>
                    </a:lnTo>
                    <a:lnTo>
                      <a:pt x="3527" y="2030"/>
                    </a:lnTo>
                    <a:lnTo>
                      <a:pt x="3525" y="2027"/>
                    </a:lnTo>
                    <a:lnTo>
                      <a:pt x="3524" y="2005"/>
                    </a:lnTo>
                    <a:lnTo>
                      <a:pt x="3521" y="1980"/>
                    </a:lnTo>
                    <a:lnTo>
                      <a:pt x="3517" y="1959"/>
                    </a:lnTo>
                    <a:lnTo>
                      <a:pt x="3514" y="1953"/>
                    </a:lnTo>
                    <a:lnTo>
                      <a:pt x="3511" y="1947"/>
                    </a:lnTo>
                    <a:lnTo>
                      <a:pt x="3510" y="1927"/>
                    </a:lnTo>
                    <a:lnTo>
                      <a:pt x="3500" y="1892"/>
                    </a:lnTo>
                    <a:lnTo>
                      <a:pt x="3492" y="1861"/>
                    </a:lnTo>
                    <a:lnTo>
                      <a:pt x="3490" y="1849"/>
                    </a:lnTo>
                    <a:lnTo>
                      <a:pt x="3483" y="1835"/>
                    </a:lnTo>
                    <a:lnTo>
                      <a:pt x="3483" y="1829"/>
                    </a:lnTo>
                    <a:lnTo>
                      <a:pt x="3482" y="1825"/>
                    </a:lnTo>
                    <a:lnTo>
                      <a:pt x="3472" y="1826"/>
                    </a:lnTo>
                    <a:lnTo>
                      <a:pt x="3454" y="1815"/>
                    </a:lnTo>
                    <a:lnTo>
                      <a:pt x="3449" y="1809"/>
                    </a:lnTo>
                    <a:lnTo>
                      <a:pt x="3428" y="1793"/>
                    </a:lnTo>
                    <a:lnTo>
                      <a:pt x="3413" y="1777"/>
                    </a:lnTo>
                    <a:lnTo>
                      <a:pt x="3411" y="1771"/>
                    </a:lnTo>
                    <a:lnTo>
                      <a:pt x="3414" y="1767"/>
                    </a:lnTo>
                    <a:lnTo>
                      <a:pt x="3412" y="1760"/>
                    </a:lnTo>
                    <a:lnTo>
                      <a:pt x="3411" y="1749"/>
                    </a:lnTo>
                    <a:lnTo>
                      <a:pt x="3413" y="1740"/>
                    </a:lnTo>
                    <a:lnTo>
                      <a:pt x="3419" y="1739"/>
                    </a:lnTo>
                    <a:lnTo>
                      <a:pt x="3433" y="1729"/>
                    </a:lnTo>
                    <a:lnTo>
                      <a:pt x="3451" y="1729"/>
                    </a:lnTo>
                    <a:lnTo>
                      <a:pt x="3455" y="1723"/>
                    </a:lnTo>
                    <a:lnTo>
                      <a:pt x="3471" y="1722"/>
                    </a:lnTo>
                    <a:lnTo>
                      <a:pt x="3471" y="1708"/>
                    </a:lnTo>
                    <a:lnTo>
                      <a:pt x="3465" y="1705"/>
                    </a:lnTo>
                    <a:lnTo>
                      <a:pt x="3465" y="1695"/>
                    </a:lnTo>
                    <a:lnTo>
                      <a:pt x="3470" y="1683"/>
                    </a:lnTo>
                    <a:lnTo>
                      <a:pt x="3483" y="1688"/>
                    </a:lnTo>
                    <a:lnTo>
                      <a:pt x="3487" y="1691"/>
                    </a:lnTo>
                    <a:lnTo>
                      <a:pt x="3508" y="1686"/>
                    </a:lnTo>
                    <a:lnTo>
                      <a:pt x="3492" y="1681"/>
                    </a:lnTo>
                    <a:lnTo>
                      <a:pt x="3487" y="1675"/>
                    </a:lnTo>
                    <a:lnTo>
                      <a:pt x="3487" y="1664"/>
                    </a:lnTo>
                    <a:lnTo>
                      <a:pt x="3489" y="1658"/>
                    </a:lnTo>
                    <a:lnTo>
                      <a:pt x="3493" y="1658"/>
                    </a:lnTo>
                    <a:lnTo>
                      <a:pt x="3500" y="1643"/>
                    </a:lnTo>
                    <a:lnTo>
                      <a:pt x="3493" y="1648"/>
                    </a:lnTo>
                    <a:lnTo>
                      <a:pt x="3471" y="1645"/>
                    </a:lnTo>
                    <a:lnTo>
                      <a:pt x="3471" y="1635"/>
                    </a:lnTo>
                    <a:lnTo>
                      <a:pt x="3476" y="1637"/>
                    </a:lnTo>
                    <a:lnTo>
                      <a:pt x="3482" y="1634"/>
                    </a:lnTo>
                    <a:lnTo>
                      <a:pt x="3483" y="1625"/>
                    </a:lnTo>
                    <a:lnTo>
                      <a:pt x="3477" y="1616"/>
                    </a:lnTo>
                    <a:lnTo>
                      <a:pt x="3476" y="1615"/>
                    </a:lnTo>
                    <a:lnTo>
                      <a:pt x="3467" y="1597"/>
                    </a:lnTo>
                    <a:lnTo>
                      <a:pt x="3472" y="1578"/>
                    </a:lnTo>
                    <a:lnTo>
                      <a:pt x="3466" y="1576"/>
                    </a:lnTo>
                    <a:lnTo>
                      <a:pt x="3465" y="1568"/>
                    </a:lnTo>
                    <a:lnTo>
                      <a:pt x="3483" y="1562"/>
                    </a:lnTo>
                    <a:lnTo>
                      <a:pt x="3483" y="1561"/>
                    </a:lnTo>
                    <a:lnTo>
                      <a:pt x="3473" y="1561"/>
                    </a:lnTo>
                    <a:lnTo>
                      <a:pt x="3468" y="1556"/>
                    </a:lnTo>
                    <a:lnTo>
                      <a:pt x="3460" y="1561"/>
                    </a:lnTo>
                    <a:lnTo>
                      <a:pt x="3452" y="1559"/>
                    </a:lnTo>
                    <a:lnTo>
                      <a:pt x="3445" y="1550"/>
                    </a:lnTo>
                    <a:lnTo>
                      <a:pt x="3445" y="1539"/>
                    </a:lnTo>
                    <a:lnTo>
                      <a:pt x="3456" y="1523"/>
                    </a:lnTo>
                    <a:lnTo>
                      <a:pt x="3461" y="1505"/>
                    </a:lnTo>
                    <a:lnTo>
                      <a:pt x="3467" y="1500"/>
                    </a:lnTo>
                    <a:lnTo>
                      <a:pt x="3467" y="1486"/>
                    </a:lnTo>
                    <a:lnTo>
                      <a:pt x="3471" y="1485"/>
                    </a:lnTo>
                    <a:lnTo>
                      <a:pt x="3476" y="1478"/>
                    </a:lnTo>
                    <a:lnTo>
                      <a:pt x="3476" y="1468"/>
                    </a:lnTo>
                    <a:lnTo>
                      <a:pt x="3483" y="1465"/>
                    </a:lnTo>
                    <a:lnTo>
                      <a:pt x="3485" y="1447"/>
                    </a:lnTo>
                    <a:lnTo>
                      <a:pt x="3481" y="1454"/>
                    </a:lnTo>
                    <a:lnTo>
                      <a:pt x="3472" y="1457"/>
                    </a:lnTo>
                    <a:lnTo>
                      <a:pt x="3466" y="1452"/>
                    </a:lnTo>
                    <a:lnTo>
                      <a:pt x="3458" y="1449"/>
                    </a:lnTo>
                    <a:lnTo>
                      <a:pt x="3449" y="1441"/>
                    </a:lnTo>
                    <a:lnTo>
                      <a:pt x="3447" y="1428"/>
                    </a:lnTo>
                    <a:lnTo>
                      <a:pt x="3442" y="1419"/>
                    </a:lnTo>
                    <a:lnTo>
                      <a:pt x="3441" y="1404"/>
                    </a:lnTo>
                    <a:lnTo>
                      <a:pt x="3441" y="1392"/>
                    </a:lnTo>
                    <a:lnTo>
                      <a:pt x="3442" y="1387"/>
                    </a:lnTo>
                    <a:lnTo>
                      <a:pt x="3454" y="1379"/>
                    </a:lnTo>
                    <a:lnTo>
                      <a:pt x="3466" y="1360"/>
                    </a:lnTo>
                    <a:lnTo>
                      <a:pt x="3474" y="1350"/>
                    </a:lnTo>
                    <a:lnTo>
                      <a:pt x="3481" y="1347"/>
                    </a:lnTo>
                    <a:lnTo>
                      <a:pt x="3481" y="1355"/>
                    </a:lnTo>
                    <a:lnTo>
                      <a:pt x="3490" y="1354"/>
                    </a:lnTo>
                    <a:lnTo>
                      <a:pt x="3516" y="1355"/>
                    </a:lnTo>
                    <a:lnTo>
                      <a:pt x="3547" y="1362"/>
                    </a:lnTo>
                    <a:lnTo>
                      <a:pt x="3552" y="1367"/>
                    </a:lnTo>
                    <a:lnTo>
                      <a:pt x="3553" y="1369"/>
                    </a:lnTo>
                    <a:lnTo>
                      <a:pt x="3562" y="1374"/>
                    </a:lnTo>
                    <a:lnTo>
                      <a:pt x="3579" y="1377"/>
                    </a:lnTo>
                    <a:lnTo>
                      <a:pt x="3586" y="1379"/>
                    </a:lnTo>
                    <a:lnTo>
                      <a:pt x="3583" y="1388"/>
                    </a:lnTo>
                    <a:lnTo>
                      <a:pt x="3585" y="1390"/>
                    </a:lnTo>
                    <a:lnTo>
                      <a:pt x="3596" y="1383"/>
                    </a:lnTo>
                    <a:lnTo>
                      <a:pt x="3612" y="1383"/>
                    </a:lnTo>
                    <a:lnTo>
                      <a:pt x="3616" y="1389"/>
                    </a:lnTo>
                    <a:lnTo>
                      <a:pt x="3613" y="1397"/>
                    </a:lnTo>
                    <a:lnTo>
                      <a:pt x="3633" y="1395"/>
                    </a:lnTo>
                    <a:lnTo>
                      <a:pt x="3630" y="1390"/>
                    </a:lnTo>
                    <a:lnTo>
                      <a:pt x="3637" y="1384"/>
                    </a:lnTo>
                    <a:lnTo>
                      <a:pt x="3670" y="1373"/>
                    </a:lnTo>
                    <a:lnTo>
                      <a:pt x="3682" y="1361"/>
                    </a:lnTo>
                    <a:lnTo>
                      <a:pt x="3715" y="1378"/>
                    </a:lnTo>
                    <a:lnTo>
                      <a:pt x="3724" y="1390"/>
                    </a:lnTo>
                    <a:lnTo>
                      <a:pt x="3739" y="1397"/>
                    </a:lnTo>
                    <a:lnTo>
                      <a:pt x="3748" y="1398"/>
                    </a:lnTo>
                    <a:lnTo>
                      <a:pt x="3751" y="1403"/>
                    </a:lnTo>
                    <a:lnTo>
                      <a:pt x="3752" y="1411"/>
                    </a:lnTo>
                    <a:lnTo>
                      <a:pt x="3740" y="1438"/>
                    </a:lnTo>
                    <a:lnTo>
                      <a:pt x="3743" y="1435"/>
                    </a:lnTo>
                    <a:lnTo>
                      <a:pt x="3751" y="1437"/>
                    </a:lnTo>
                    <a:lnTo>
                      <a:pt x="3753" y="1433"/>
                    </a:lnTo>
                    <a:lnTo>
                      <a:pt x="3753" y="1422"/>
                    </a:lnTo>
                    <a:lnTo>
                      <a:pt x="3759" y="1421"/>
                    </a:lnTo>
                    <a:lnTo>
                      <a:pt x="3769" y="1425"/>
                    </a:lnTo>
                    <a:lnTo>
                      <a:pt x="3769" y="1441"/>
                    </a:lnTo>
                    <a:lnTo>
                      <a:pt x="3775" y="1448"/>
                    </a:lnTo>
                    <a:lnTo>
                      <a:pt x="3778" y="1455"/>
                    </a:lnTo>
                    <a:lnTo>
                      <a:pt x="3770" y="1460"/>
                    </a:lnTo>
                    <a:lnTo>
                      <a:pt x="3772" y="1469"/>
                    </a:lnTo>
                    <a:lnTo>
                      <a:pt x="3782" y="1465"/>
                    </a:lnTo>
                    <a:lnTo>
                      <a:pt x="3784" y="1458"/>
                    </a:lnTo>
                    <a:lnTo>
                      <a:pt x="3793" y="1455"/>
                    </a:lnTo>
                    <a:lnTo>
                      <a:pt x="3801" y="1458"/>
                    </a:lnTo>
                    <a:lnTo>
                      <a:pt x="3807" y="1464"/>
                    </a:lnTo>
                    <a:lnTo>
                      <a:pt x="3802" y="1471"/>
                    </a:lnTo>
                    <a:lnTo>
                      <a:pt x="3798" y="1474"/>
                    </a:lnTo>
                    <a:lnTo>
                      <a:pt x="3791" y="1479"/>
                    </a:lnTo>
                    <a:lnTo>
                      <a:pt x="3791" y="1489"/>
                    </a:lnTo>
                    <a:lnTo>
                      <a:pt x="3794" y="1495"/>
                    </a:lnTo>
                    <a:lnTo>
                      <a:pt x="3799" y="1501"/>
                    </a:lnTo>
                    <a:lnTo>
                      <a:pt x="3807" y="1503"/>
                    </a:lnTo>
                    <a:lnTo>
                      <a:pt x="3805" y="1511"/>
                    </a:lnTo>
                    <a:lnTo>
                      <a:pt x="3806" y="1514"/>
                    </a:lnTo>
                    <a:lnTo>
                      <a:pt x="3823" y="1511"/>
                    </a:lnTo>
                    <a:lnTo>
                      <a:pt x="3834" y="1513"/>
                    </a:lnTo>
                    <a:lnTo>
                      <a:pt x="3837" y="1523"/>
                    </a:lnTo>
                    <a:lnTo>
                      <a:pt x="3843" y="1532"/>
                    </a:lnTo>
                    <a:lnTo>
                      <a:pt x="3849" y="1524"/>
                    </a:lnTo>
                    <a:lnTo>
                      <a:pt x="3864" y="1529"/>
                    </a:lnTo>
                    <a:lnTo>
                      <a:pt x="3877" y="1523"/>
                    </a:lnTo>
                    <a:lnTo>
                      <a:pt x="3882" y="1529"/>
                    </a:lnTo>
                    <a:lnTo>
                      <a:pt x="3884" y="1537"/>
                    </a:lnTo>
                    <a:lnTo>
                      <a:pt x="3884" y="1544"/>
                    </a:lnTo>
                    <a:lnTo>
                      <a:pt x="3888" y="1545"/>
                    </a:lnTo>
                    <a:lnTo>
                      <a:pt x="3908" y="1535"/>
                    </a:lnTo>
                    <a:lnTo>
                      <a:pt x="3907" y="1528"/>
                    </a:lnTo>
                    <a:lnTo>
                      <a:pt x="3914" y="1524"/>
                    </a:lnTo>
                    <a:lnTo>
                      <a:pt x="3925" y="1541"/>
                    </a:lnTo>
                    <a:lnTo>
                      <a:pt x="3926" y="1548"/>
                    </a:lnTo>
                    <a:lnTo>
                      <a:pt x="3925" y="1553"/>
                    </a:lnTo>
                    <a:lnTo>
                      <a:pt x="3920" y="1560"/>
                    </a:lnTo>
                    <a:lnTo>
                      <a:pt x="3912" y="1566"/>
                    </a:lnTo>
                    <a:lnTo>
                      <a:pt x="3912" y="1575"/>
                    </a:lnTo>
                    <a:lnTo>
                      <a:pt x="3909" y="1584"/>
                    </a:lnTo>
                    <a:lnTo>
                      <a:pt x="3912" y="1592"/>
                    </a:lnTo>
                    <a:lnTo>
                      <a:pt x="3911" y="1598"/>
                    </a:lnTo>
                    <a:lnTo>
                      <a:pt x="3915" y="1599"/>
                    </a:lnTo>
                    <a:lnTo>
                      <a:pt x="3918" y="1615"/>
                    </a:lnTo>
                    <a:lnTo>
                      <a:pt x="3926" y="1632"/>
                    </a:lnTo>
                    <a:lnTo>
                      <a:pt x="3913" y="1634"/>
                    </a:lnTo>
                    <a:lnTo>
                      <a:pt x="3912" y="1638"/>
                    </a:lnTo>
                    <a:lnTo>
                      <a:pt x="3908" y="1642"/>
                    </a:lnTo>
                    <a:lnTo>
                      <a:pt x="3896" y="1642"/>
                    </a:lnTo>
                    <a:lnTo>
                      <a:pt x="3887" y="1640"/>
                    </a:lnTo>
                    <a:lnTo>
                      <a:pt x="3869" y="1641"/>
                    </a:lnTo>
                    <a:lnTo>
                      <a:pt x="3853" y="1638"/>
                    </a:lnTo>
                    <a:lnTo>
                      <a:pt x="3842" y="1631"/>
                    </a:lnTo>
                    <a:lnTo>
                      <a:pt x="3831" y="1632"/>
                    </a:lnTo>
                    <a:lnTo>
                      <a:pt x="3826" y="1636"/>
                    </a:lnTo>
                    <a:lnTo>
                      <a:pt x="3845" y="1638"/>
                    </a:lnTo>
                    <a:lnTo>
                      <a:pt x="3863" y="1650"/>
                    </a:lnTo>
                    <a:lnTo>
                      <a:pt x="3899" y="1648"/>
                    </a:lnTo>
                    <a:lnTo>
                      <a:pt x="3912" y="1653"/>
                    </a:lnTo>
                    <a:lnTo>
                      <a:pt x="3924" y="1664"/>
                    </a:lnTo>
                    <a:lnTo>
                      <a:pt x="3926" y="1674"/>
                    </a:lnTo>
                    <a:lnTo>
                      <a:pt x="3924" y="1677"/>
                    </a:lnTo>
                    <a:lnTo>
                      <a:pt x="3926" y="1683"/>
                    </a:lnTo>
                    <a:lnTo>
                      <a:pt x="3913" y="1713"/>
                    </a:lnTo>
                    <a:lnTo>
                      <a:pt x="3915" y="1717"/>
                    </a:lnTo>
                    <a:lnTo>
                      <a:pt x="3931" y="1712"/>
                    </a:lnTo>
                    <a:lnTo>
                      <a:pt x="3938" y="1717"/>
                    </a:lnTo>
                    <a:lnTo>
                      <a:pt x="3935" y="1722"/>
                    </a:lnTo>
                    <a:lnTo>
                      <a:pt x="3923" y="1731"/>
                    </a:lnTo>
                    <a:lnTo>
                      <a:pt x="3924" y="1736"/>
                    </a:lnTo>
                    <a:lnTo>
                      <a:pt x="3934" y="1736"/>
                    </a:lnTo>
                    <a:lnTo>
                      <a:pt x="3938" y="1743"/>
                    </a:lnTo>
                    <a:lnTo>
                      <a:pt x="3938" y="1748"/>
                    </a:lnTo>
                    <a:lnTo>
                      <a:pt x="3935" y="1751"/>
                    </a:lnTo>
                    <a:lnTo>
                      <a:pt x="3931" y="1750"/>
                    </a:lnTo>
                    <a:lnTo>
                      <a:pt x="3930" y="1748"/>
                    </a:lnTo>
                    <a:lnTo>
                      <a:pt x="3924" y="1755"/>
                    </a:lnTo>
                    <a:lnTo>
                      <a:pt x="3912" y="1766"/>
                    </a:lnTo>
                    <a:lnTo>
                      <a:pt x="3909" y="1755"/>
                    </a:lnTo>
                    <a:lnTo>
                      <a:pt x="3903" y="1749"/>
                    </a:lnTo>
                    <a:lnTo>
                      <a:pt x="3893" y="1750"/>
                    </a:lnTo>
                    <a:lnTo>
                      <a:pt x="3899" y="1764"/>
                    </a:lnTo>
                    <a:lnTo>
                      <a:pt x="3899" y="1770"/>
                    </a:lnTo>
                    <a:lnTo>
                      <a:pt x="3879" y="1774"/>
                    </a:lnTo>
                    <a:lnTo>
                      <a:pt x="3885" y="1779"/>
                    </a:lnTo>
                    <a:lnTo>
                      <a:pt x="3895" y="1779"/>
                    </a:lnTo>
                    <a:lnTo>
                      <a:pt x="3901" y="1780"/>
                    </a:lnTo>
                    <a:lnTo>
                      <a:pt x="3907" y="1787"/>
                    </a:lnTo>
                    <a:lnTo>
                      <a:pt x="3924" y="1770"/>
                    </a:lnTo>
                    <a:lnTo>
                      <a:pt x="3931" y="1765"/>
                    </a:lnTo>
                    <a:lnTo>
                      <a:pt x="3945" y="1765"/>
                    </a:lnTo>
                    <a:lnTo>
                      <a:pt x="3956" y="1761"/>
                    </a:lnTo>
                    <a:lnTo>
                      <a:pt x="3969" y="1760"/>
                    </a:lnTo>
                    <a:lnTo>
                      <a:pt x="3979" y="1764"/>
                    </a:lnTo>
                    <a:lnTo>
                      <a:pt x="3985" y="1788"/>
                    </a:lnTo>
                    <a:lnTo>
                      <a:pt x="3990" y="1793"/>
                    </a:lnTo>
                    <a:lnTo>
                      <a:pt x="3992" y="1808"/>
                    </a:lnTo>
                    <a:lnTo>
                      <a:pt x="3987" y="1839"/>
                    </a:lnTo>
                    <a:lnTo>
                      <a:pt x="3972" y="1851"/>
                    </a:lnTo>
                    <a:lnTo>
                      <a:pt x="3934" y="1872"/>
                    </a:lnTo>
                    <a:lnTo>
                      <a:pt x="3966" y="1860"/>
                    </a:lnTo>
                    <a:lnTo>
                      <a:pt x="3987" y="1844"/>
                    </a:lnTo>
                    <a:lnTo>
                      <a:pt x="3994" y="1829"/>
                    </a:lnTo>
                    <a:lnTo>
                      <a:pt x="4000" y="1802"/>
                    </a:lnTo>
                    <a:lnTo>
                      <a:pt x="4008" y="1791"/>
                    </a:lnTo>
                    <a:lnTo>
                      <a:pt x="4008" y="1812"/>
                    </a:lnTo>
                    <a:lnTo>
                      <a:pt x="4005" y="1818"/>
                    </a:lnTo>
                    <a:lnTo>
                      <a:pt x="4015" y="1807"/>
                    </a:lnTo>
                    <a:lnTo>
                      <a:pt x="4017" y="1817"/>
                    </a:lnTo>
                    <a:lnTo>
                      <a:pt x="4015" y="1825"/>
                    </a:lnTo>
                    <a:lnTo>
                      <a:pt x="4016" y="1840"/>
                    </a:lnTo>
                    <a:lnTo>
                      <a:pt x="4019" y="1844"/>
                    </a:lnTo>
                    <a:lnTo>
                      <a:pt x="4026" y="1828"/>
                    </a:lnTo>
                    <a:lnTo>
                      <a:pt x="4055" y="1808"/>
                    </a:lnTo>
                    <a:lnTo>
                      <a:pt x="4078" y="1802"/>
                    </a:lnTo>
                    <a:lnTo>
                      <a:pt x="4079" y="1788"/>
                    </a:lnTo>
                    <a:lnTo>
                      <a:pt x="4085" y="1775"/>
                    </a:lnTo>
                    <a:lnTo>
                      <a:pt x="4091" y="1766"/>
                    </a:lnTo>
                    <a:lnTo>
                      <a:pt x="4100" y="1775"/>
                    </a:lnTo>
                    <a:lnTo>
                      <a:pt x="4112" y="1781"/>
                    </a:lnTo>
                    <a:lnTo>
                      <a:pt x="4116" y="1791"/>
                    </a:lnTo>
                    <a:lnTo>
                      <a:pt x="4111" y="1809"/>
                    </a:lnTo>
                    <a:lnTo>
                      <a:pt x="4114" y="1803"/>
                    </a:lnTo>
                    <a:lnTo>
                      <a:pt x="4123" y="1782"/>
                    </a:lnTo>
                    <a:lnTo>
                      <a:pt x="4116" y="1772"/>
                    </a:lnTo>
                    <a:lnTo>
                      <a:pt x="4110" y="1766"/>
                    </a:lnTo>
                    <a:lnTo>
                      <a:pt x="4106" y="1758"/>
                    </a:lnTo>
                    <a:lnTo>
                      <a:pt x="4116" y="1766"/>
                    </a:lnTo>
                    <a:lnTo>
                      <a:pt x="4122" y="1764"/>
                    </a:lnTo>
                    <a:lnTo>
                      <a:pt x="4127" y="1758"/>
                    </a:lnTo>
                    <a:lnTo>
                      <a:pt x="4123" y="1755"/>
                    </a:lnTo>
                    <a:lnTo>
                      <a:pt x="4124" y="1745"/>
                    </a:lnTo>
                    <a:lnTo>
                      <a:pt x="4133" y="1747"/>
                    </a:lnTo>
                    <a:lnTo>
                      <a:pt x="4135" y="1732"/>
                    </a:lnTo>
                    <a:lnTo>
                      <a:pt x="4130" y="1718"/>
                    </a:lnTo>
                    <a:lnTo>
                      <a:pt x="4137" y="1726"/>
                    </a:lnTo>
                    <a:lnTo>
                      <a:pt x="4141" y="1717"/>
                    </a:lnTo>
                    <a:lnTo>
                      <a:pt x="4149" y="1712"/>
                    </a:lnTo>
                    <a:lnTo>
                      <a:pt x="4149" y="1704"/>
                    </a:lnTo>
                    <a:lnTo>
                      <a:pt x="4157" y="1699"/>
                    </a:lnTo>
                    <a:lnTo>
                      <a:pt x="4150" y="1686"/>
                    </a:lnTo>
                    <a:lnTo>
                      <a:pt x="4143" y="1679"/>
                    </a:lnTo>
                    <a:lnTo>
                      <a:pt x="4138" y="1669"/>
                    </a:lnTo>
                    <a:lnTo>
                      <a:pt x="4143" y="1658"/>
                    </a:lnTo>
                    <a:lnTo>
                      <a:pt x="4157" y="1635"/>
                    </a:lnTo>
                    <a:lnTo>
                      <a:pt x="4165" y="1630"/>
                    </a:lnTo>
                    <a:lnTo>
                      <a:pt x="4172" y="1621"/>
                    </a:lnTo>
                    <a:lnTo>
                      <a:pt x="4172" y="1619"/>
                    </a:lnTo>
                    <a:lnTo>
                      <a:pt x="4177" y="1609"/>
                    </a:lnTo>
                    <a:lnTo>
                      <a:pt x="4186" y="1608"/>
                    </a:lnTo>
                    <a:lnTo>
                      <a:pt x="4196" y="1609"/>
                    </a:lnTo>
                    <a:lnTo>
                      <a:pt x="4198" y="1615"/>
                    </a:lnTo>
                    <a:lnTo>
                      <a:pt x="4194" y="1621"/>
                    </a:lnTo>
                    <a:lnTo>
                      <a:pt x="4202" y="1623"/>
                    </a:lnTo>
                    <a:lnTo>
                      <a:pt x="4200" y="1631"/>
                    </a:lnTo>
                    <a:lnTo>
                      <a:pt x="4203" y="1638"/>
                    </a:lnTo>
                    <a:lnTo>
                      <a:pt x="4203" y="1650"/>
                    </a:lnTo>
                    <a:lnTo>
                      <a:pt x="4198" y="1656"/>
                    </a:lnTo>
                    <a:lnTo>
                      <a:pt x="4207" y="1651"/>
                    </a:lnTo>
                    <a:lnTo>
                      <a:pt x="4211" y="1656"/>
                    </a:lnTo>
                    <a:lnTo>
                      <a:pt x="4211" y="1679"/>
                    </a:lnTo>
                    <a:lnTo>
                      <a:pt x="4223" y="1680"/>
                    </a:lnTo>
                    <a:lnTo>
                      <a:pt x="4218" y="1683"/>
                    </a:lnTo>
                    <a:lnTo>
                      <a:pt x="4219" y="1690"/>
                    </a:lnTo>
                    <a:lnTo>
                      <a:pt x="4229" y="1688"/>
                    </a:lnTo>
                    <a:lnTo>
                      <a:pt x="4239" y="1693"/>
                    </a:lnTo>
                    <a:lnTo>
                      <a:pt x="4234" y="1700"/>
                    </a:lnTo>
                    <a:lnTo>
                      <a:pt x="4226" y="1708"/>
                    </a:lnTo>
                    <a:lnTo>
                      <a:pt x="4237" y="1710"/>
                    </a:lnTo>
                    <a:lnTo>
                      <a:pt x="4240" y="1718"/>
                    </a:lnTo>
                    <a:lnTo>
                      <a:pt x="4243" y="1710"/>
                    </a:lnTo>
                    <a:lnTo>
                      <a:pt x="4248" y="1712"/>
                    </a:lnTo>
                    <a:lnTo>
                      <a:pt x="4248" y="1724"/>
                    </a:lnTo>
                    <a:lnTo>
                      <a:pt x="4254" y="1721"/>
                    </a:lnTo>
                    <a:lnTo>
                      <a:pt x="4259" y="1724"/>
                    </a:lnTo>
                    <a:lnTo>
                      <a:pt x="4258" y="1734"/>
                    </a:lnTo>
                    <a:lnTo>
                      <a:pt x="4247" y="1740"/>
                    </a:lnTo>
                    <a:lnTo>
                      <a:pt x="4226" y="1740"/>
                    </a:lnTo>
                    <a:lnTo>
                      <a:pt x="4214" y="1747"/>
                    </a:lnTo>
                    <a:lnTo>
                      <a:pt x="4211" y="1753"/>
                    </a:lnTo>
                    <a:lnTo>
                      <a:pt x="4221" y="1745"/>
                    </a:lnTo>
                    <a:lnTo>
                      <a:pt x="4226" y="1749"/>
                    </a:lnTo>
                    <a:lnTo>
                      <a:pt x="4234" y="1747"/>
                    </a:lnTo>
                    <a:lnTo>
                      <a:pt x="4250" y="1747"/>
                    </a:lnTo>
                    <a:lnTo>
                      <a:pt x="4266" y="1742"/>
                    </a:lnTo>
                    <a:lnTo>
                      <a:pt x="4269" y="1743"/>
                    </a:lnTo>
                    <a:lnTo>
                      <a:pt x="4266" y="1754"/>
                    </a:lnTo>
                    <a:lnTo>
                      <a:pt x="4268" y="1755"/>
                    </a:lnTo>
                    <a:lnTo>
                      <a:pt x="4268" y="1764"/>
                    </a:lnTo>
                    <a:lnTo>
                      <a:pt x="4266" y="1771"/>
                    </a:lnTo>
                    <a:lnTo>
                      <a:pt x="4270" y="1769"/>
                    </a:lnTo>
                    <a:lnTo>
                      <a:pt x="4283" y="1770"/>
                    </a:lnTo>
                    <a:lnTo>
                      <a:pt x="4280" y="1781"/>
                    </a:lnTo>
                    <a:lnTo>
                      <a:pt x="4282" y="1785"/>
                    </a:lnTo>
                    <a:lnTo>
                      <a:pt x="4289" y="1787"/>
                    </a:lnTo>
                    <a:lnTo>
                      <a:pt x="4286" y="1792"/>
                    </a:lnTo>
                    <a:lnTo>
                      <a:pt x="4278" y="1796"/>
                    </a:lnTo>
                    <a:lnTo>
                      <a:pt x="4264" y="1798"/>
                    </a:lnTo>
                    <a:lnTo>
                      <a:pt x="4257" y="1794"/>
                    </a:lnTo>
                    <a:lnTo>
                      <a:pt x="4251" y="1797"/>
                    </a:lnTo>
                    <a:lnTo>
                      <a:pt x="4251" y="1802"/>
                    </a:lnTo>
                    <a:lnTo>
                      <a:pt x="4256" y="1806"/>
                    </a:lnTo>
                    <a:lnTo>
                      <a:pt x="4266" y="1803"/>
                    </a:lnTo>
                    <a:lnTo>
                      <a:pt x="4284" y="1804"/>
                    </a:lnTo>
                    <a:lnTo>
                      <a:pt x="4301" y="1803"/>
                    </a:lnTo>
                    <a:lnTo>
                      <a:pt x="4304" y="1814"/>
                    </a:lnTo>
                    <a:lnTo>
                      <a:pt x="4297" y="1819"/>
                    </a:lnTo>
                    <a:lnTo>
                      <a:pt x="4294" y="1825"/>
                    </a:lnTo>
                    <a:lnTo>
                      <a:pt x="4299" y="1828"/>
                    </a:lnTo>
                    <a:lnTo>
                      <a:pt x="4293" y="1833"/>
                    </a:lnTo>
                    <a:lnTo>
                      <a:pt x="4280" y="1836"/>
                    </a:lnTo>
                    <a:lnTo>
                      <a:pt x="4269" y="1851"/>
                    </a:lnTo>
                    <a:lnTo>
                      <a:pt x="4278" y="1850"/>
                    </a:lnTo>
                    <a:lnTo>
                      <a:pt x="4286" y="1842"/>
                    </a:lnTo>
                    <a:lnTo>
                      <a:pt x="4296" y="1841"/>
                    </a:lnTo>
                    <a:lnTo>
                      <a:pt x="4305" y="1837"/>
                    </a:lnTo>
                    <a:lnTo>
                      <a:pt x="4315" y="1852"/>
                    </a:lnTo>
                    <a:lnTo>
                      <a:pt x="4310" y="1853"/>
                    </a:lnTo>
                    <a:lnTo>
                      <a:pt x="4304" y="1860"/>
                    </a:lnTo>
                    <a:lnTo>
                      <a:pt x="4304" y="1866"/>
                    </a:lnTo>
                    <a:lnTo>
                      <a:pt x="4315" y="1861"/>
                    </a:lnTo>
                    <a:lnTo>
                      <a:pt x="4322" y="1864"/>
                    </a:lnTo>
                    <a:lnTo>
                      <a:pt x="4322" y="1867"/>
                    </a:lnTo>
                    <a:lnTo>
                      <a:pt x="4331" y="1878"/>
                    </a:lnTo>
                    <a:lnTo>
                      <a:pt x="4339" y="1884"/>
                    </a:lnTo>
                    <a:lnTo>
                      <a:pt x="4342" y="1893"/>
                    </a:lnTo>
                    <a:lnTo>
                      <a:pt x="4323" y="1907"/>
                    </a:lnTo>
                    <a:lnTo>
                      <a:pt x="4312" y="1907"/>
                    </a:lnTo>
                    <a:lnTo>
                      <a:pt x="4312" y="1914"/>
                    </a:lnTo>
                    <a:lnTo>
                      <a:pt x="4339" y="1912"/>
                    </a:lnTo>
                    <a:lnTo>
                      <a:pt x="4347" y="1922"/>
                    </a:lnTo>
                    <a:lnTo>
                      <a:pt x="4342" y="1932"/>
                    </a:lnTo>
                    <a:lnTo>
                      <a:pt x="4364" y="1939"/>
                    </a:lnTo>
                    <a:lnTo>
                      <a:pt x="4368" y="1953"/>
                    </a:lnTo>
                    <a:lnTo>
                      <a:pt x="4358" y="1963"/>
                    </a:lnTo>
                    <a:lnTo>
                      <a:pt x="4347" y="1974"/>
                    </a:lnTo>
                    <a:lnTo>
                      <a:pt x="4350" y="1987"/>
                    </a:lnTo>
                    <a:lnTo>
                      <a:pt x="4343" y="1989"/>
                    </a:lnTo>
                    <a:lnTo>
                      <a:pt x="4315" y="1973"/>
                    </a:lnTo>
                    <a:lnTo>
                      <a:pt x="4312" y="1979"/>
                    </a:lnTo>
                    <a:lnTo>
                      <a:pt x="4326" y="1984"/>
                    </a:lnTo>
                    <a:lnTo>
                      <a:pt x="4326" y="1986"/>
                    </a:lnTo>
                    <a:lnTo>
                      <a:pt x="4295" y="1990"/>
                    </a:lnTo>
                    <a:lnTo>
                      <a:pt x="4286" y="1992"/>
                    </a:lnTo>
                    <a:lnTo>
                      <a:pt x="4302" y="1996"/>
                    </a:lnTo>
                    <a:lnTo>
                      <a:pt x="4334" y="1995"/>
                    </a:lnTo>
                    <a:lnTo>
                      <a:pt x="4348" y="1997"/>
                    </a:lnTo>
                    <a:lnTo>
                      <a:pt x="4350" y="2002"/>
                    </a:lnTo>
                    <a:lnTo>
                      <a:pt x="4342" y="2003"/>
                    </a:lnTo>
                    <a:lnTo>
                      <a:pt x="4334" y="2009"/>
                    </a:lnTo>
                    <a:lnTo>
                      <a:pt x="4336" y="2013"/>
                    </a:lnTo>
                    <a:lnTo>
                      <a:pt x="4350" y="2022"/>
                    </a:lnTo>
                    <a:lnTo>
                      <a:pt x="4352" y="2028"/>
                    </a:lnTo>
                    <a:lnTo>
                      <a:pt x="4342" y="2027"/>
                    </a:lnTo>
                    <a:lnTo>
                      <a:pt x="4338" y="2036"/>
                    </a:lnTo>
                    <a:lnTo>
                      <a:pt x="4371" y="2034"/>
                    </a:lnTo>
                    <a:lnTo>
                      <a:pt x="4375" y="2055"/>
                    </a:lnTo>
                    <a:lnTo>
                      <a:pt x="4379" y="2060"/>
                    </a:lnTo>
                    <a:lnTo>
                      <a:pt x="4374" y="2065"/>
                    </a:lnTo>
                    <a:lnTo>
                      <a:pt x="4403" y="2068"/>
                    </a:lnTo>
                    <a:lnTo>
                      <a:pt x="4411" y="2073"/>
                    </a:lnTo>
                    <a:lnTo>
                      <a:pt x="4412" y="2084"/>
                    </a:lnTo>
                    <a:lnTo>
                      <a:pt x="4418" y="2079"/>
                    </a:lnTo>
                    <a:lnTo>
                      <a:pt x="4428" y="2079"/>
                    </a:lnTo>
                    <a:lnTo>
                      <a:pt x="4428" y="2089"/>
                    </a:lnTo>
                    <a:lnTo>
                      <a:pt x="4424" y="2097"/>
                    </a:lnTo>
                    <a:lnTo>
                      <a:pt x="4429" y="2102"/>
                    </a:lnTo>
                    <a:lnTo>
                      <a:pt x="4431" y="2110"/>
                    </a:lnTo>
                    <a:lnTo>
                      <a:pt x="4420" y="2122"/>
                    </a:lnTo>
                    <a:lnTo>
                      <a:pt x="4420" y="2126"/>
                    </a:lnTo>
                    <a:lnTo>
                      <a:pt x="4433" y="2119"/>
                    </a:lnTo>
                    <a:lnTo>
                      <a:pt x="4447" y="2130"/>
                    </a:lnTo>
                    <a:lnTo>
                      <a:pt x="4452" y="2125"/>
                    </a:lnTo>
                    <a:lnTo>
                      <a:pt x="4462" y="2120"/>
                    </a:lnTo>
                    <a:lnTo>
                      <a:pt x="4463" y="2129"/>
                    </a:lnTo>
                    <a:lnTo>
                      <a:pt x="4473" y="2132"/>
                    </a:lnTo>
                    <a:lnTo>
                      <a:pt x="4461" y="2162"/>
                    </a:lnTo>
                    <a:lnTo>
                      <a:pt x="4469" y="2154"/>
                    </a:lnTo>
                    <a:lnTo>
                      <a:pt x="4481" y="2138"/>
                    </a:lnTo>
                    <a:lnTo>
                      <a:pt x="4490" y="2131"/>
                    </a:lnTo>
                    <a:lnTo>
                      <a:pt x="4489" y="2145"/>
                    </a:lnTo>
                    <a:lnTo>
                      <a:pt x="4493" y="2145"/>
                    </a:lnTo>
                    <a:lnTo>
                      <a:pt x="4499" y="2137"/>
                    </a:lnTo>
                    <a:lnTo>
                      <a:pt x="4501" y="2149"/>
                    </a:lnTo>
                    <a:lnTo>
                      <a:pt x="4504" y="2158"/>
                    </a:lnTo>
                    <a:lnTo>
                      <a:pt x="4510" y="2164"/>
                    </a:lnTo>
                    <a:lnTo>
                      <a:pt x="4522" y="2167"/>
                    </a:lnTo>
                    <a:lnTo>
                      <a:pt x="4536" y="2174"/>
                    </a:lnTo>
                    <a:lnTo>
                      <a:pt x="4543" y="2170"/>
                    </a:lnTo>
                    <a:lnTo>
                      <a:pt x="4542" y="2163"/>
                    </a:lnTo>
                    <a:lnTo>
                      <a:pt x="4552" y="2156"/>
                    </a:lnTo>
                    <a:lnTo>
                      <a:pt x="4559" y="2165"/>
                    </a:lnTo>
                    <a:lnTo>
                      <a:pt x="4557" y="2174"/>
                    </a:lnTo>
                    <a:lnTo>
                      <a:pt x="4568" y="2176"/>
                    </a:lnTo>
                    <a:lnTo>
                      <a:pt x="4575" y="2181"/>
                    </a:lnTo>
                    <a:lnTo>
                      <a:pt x="4581" y="2183"/>
                    </a:lnTo>
                    <a:lnTo>
                      <a:pt x="4586" y="2192"/>
                    </a:lnTo>
                    <a:lnTo>
                      <a:pt x="4581" y="2199"/>
                    </a:lnTo>
                    <a:lnTo>
                      <a:pt x="4581" y="2203"/>
                    </a:lnTo>
                    <a:lnTo>
                      <a:pt x="4580" y="2206"/>
                    </a:lnTo>
                    <a:lnTo>
                      <a:pt x="4571" y="2208"/>
                    </a:lnTo>
                    <a:lnTo>
                      <a:pt x="4565" y="2206"/>
                    </a:lnTo>
                    <a:lnTo>
                      <a:pt x="4558" y="2207"/>
                    </a:lnTo>
                    <a:lnTo>
                      <a:pt x="4544" y="2213"/>
                    </a:lnTo>
                    <a:lnTo>
                      <a:pt x="4539" y="2216"/>
                    </a:lnTo>
                    <a:lnTo>
                      <a:pt x="4539" y="2218"/>
                    </a:lnTo>
                    <a:lnTo>
                      <a:pt x="4524" y="2228"/>
                    </a:lnTo>
                    <a:lnTo>
                      <a:pt x="4494" y="2232"/>
                    </a:lnTo>
                    <a:lnTo>
                      <a:pt x="4477" y="2238"/>
                    </a:lnTo>
                    <a:lnTo>
                      <a:pt x="4469" y="2246"/>
                    </a:lnTo>
                    <a:lnTo>
                      <a:pt x="4482" y="2246"/>
                    </a:lnTo>
                    <a:lnTo>
                      <a:pt x="4495" y="2242"/>
                    </a:lnTo>
                    <a:lnTo>
                      <a:pt x="4510" y="2233"/>
                    </a:lnTo>
                    <a:lnTo>
                      <a:pt x="4515" y="2235"/>
                    </a:lnTo>
                    <a:lnTo>
                      <a:pt x="4482" y="2251"/>
                    </a:lnTo>
                    <a:lnTo>
                      <a:pt x="4467" y="2256"/>
                    </a:lnTo>
                    <a:lnTo>
                      <a:pt x="4452" y="2256"/>
                    </a:lnTo>
                    <a:lnTo>
                      <a:pt x="4436" y="2280"/>
                    </a:lnTo>
                    <a:lnTo>
                      <a:pt x="4424" y="2276"/>
                    </a:lnTo>
                    <a:lnTo>
                      <a:pt x="4413" y="2267"/>
                    </a:lnTo>
                    <a:lnTo>
                      <a:pt x="4399" y="2264"/>
                    </a:lnTo>
                    <a:lnTo>
                      <a:pt x="4386" y="2265"/>
                    </a:lnTo>
                    <a:lnTo>
                      <a:pt x="4387" y="2274"/>
                    </a:lnTo>
                    <a:lnTo>
                      <a:pt x="4404" y="2276"/>
                    </a:lnTo>
                    <a:lnTo>
                      <a:pt x="4419" y="2282"/>
                    </a:lnTo>
                    <a:lnTo>
                      <a:pt x="4430" y="2289"/>
                    </a:lnTo>
                    <a:lnTo>
                      <a:pt x="4426" y="2314"/>
                    </a:lnTo>
                    <a:lnTo>
                      <a:pt x="4438" y="2308"/>
                    </a:lnTo>
                    <a:lnTo>
                      <a:pt x="4451" y="2298"/>
                    </a:lnTo>
                    <a:lnTo>
                      <a:pt x="4456" y="2291"/>
                    </a:lnTo>
                    <a:lnTo>
                      <a:pt x="4468" y="2283"/>
                    </a:lnTo>
                    <a:lnTo>
                      <a:pt x="4479" y="2272"/>
                    </a:lnTo>
                    <a:lnTo>
                      <a:pt x="4496" y="2265"/>
                    </a:lnTo>
                    <a:lnTo>
                      <a:pt x="4506" y="2251"/>
                    </a:lnTo>
                    <a:lnTo>
                      <a:pt x="4519" y="2244"/>
                    </a:lnTo>
                    <a:lnTo>
                      <a:pt x="4547" y="2237"/>
                    </a:lnTo>
                    <a:lnTo>
                      <a:pt x="4563" y="2240"/>
                    </a:lnTo>
                    <a:lnTo>
                      <a:pt x="4569" y="2238"/>
                    </a:lnTo>
                    <a:lnTo>
                      <a:pt x="4560" y="2234"/>
                    </a:lnTo>
                    <a:lnTo>
                      <a:pt x="4546" y="2231"/>
                    </a:lnTo>
                    <a:lnTo>
                      <a:pt x="4530" y="2234"/>
                    </a:lnTo>
                    <a:lnTo>
                      <a:pt x="4538" y="2229"/>
                    </a:lnTo>
                    <a:lnTo>
                      <a:pt x="4555" y="2226"/>
                    </a:lnTo>
                    <a:lnTo>
                      <a:pt x="4582" y="2228"/>
                    </a:lnTo>
                    <a:lnTo>
                      <a:pt x="4594" y="2228"/>
                    </a:lnTo>
                    <a:lnTo>
                      <a:pt x="4596" y="2233"/>
                    </a:lnTo>
                    <a:lnTo>
                      <a:pt x="4595" y="2243"/>
                    </a:lnTo>
                    <a:lnTo>
                      <a:pt x="4597" y="2253"/>
                    </a:lnTo>
                    <a:lnTo>
                      <a:pt x="4598" y="2265"/>
                    </a:lnTo>
                    <a:lnTo>
                      <a:pt x="4591" y="2275"/>
                    </a:lnTo>
                    <a:lnTo>
                      <a:pt x="4590" y="2285"/>
                    </a:lnTo>
                    <a:lnTo>
                      <a:pt x="4592" y="2301"/>
                    </a:lnTo>
                    <a:lnTo>
                      <a:pt x="4595" y="2301"/>
                    </a:lnTo>
                    <a:lnTo>
                      <a:pt x="4607" y="2274"/>
                    </a:lnTo>
                    <a:lnTo>
                      <a:pt x="4616" y="2267"/>
                    </a:lnTo>
                    <a:lnTo>
                      <a:pt x="4629" y="2266"/>
                    </a:lnTo>
                    <a:lnTo>
                      <a:pt x="4637" y="2269"/>
                    </a:lnTo>
                    <a:lnTo>
                      <a:pt x="4633" y="2274"/>
                    </a:lnTo>
                    <a:lnTo>
                      <a:pt x="4667" y="2286"/>
                    </a:lnTo>
                    <a:lnTo>
                      <a:pt x="4668" y="2289"/>
                    </a:lnTo>
                    <a:lnTo>
                      <a:pt x="4662" y="2293"/>
                    </a:lnTo>
                    <a:lnTo>
                      <a:pt x="4668" y="2303"/>
                    </a:lnTo>
                    <a:lnTo>
                      <a:pt x="4675" y="2307"/>
                    </a:lnTo>
                    <a:lnTo>
                      <a:pt x="4676" y="2313"/>
                    </a:lnTo>
                    <a:lnTo>
                      <a:pt x="4680" y="2315"/>
                    </a:lnTo>
                    <a:lnTo>
                      <a:pt x="4680" y="2323"/>
                    </a:lnTo>
                    <a:lnTo>
                      <a:pt x="4675" y="2325"/>
                    </a:lnTo>
                    <a:lnTo>
                      <a:pt x="4670" y="2330"/>
                    </a:lnTo>
                    <a:lnTo>
                      <a:pt x="4648" y="2321"/>
                    </a:lnTo>
                    <a:lnTo>
                      <a:pt x="4655" y="2334"/>
                    </a:lnTo>
                    <a:lnTo>
                      <a:pt x="4660" y="2336"/>
                    </a:lnTo>
                    <a:lnTo>
                      <a:pt x="4668" y="2336"/>
                    </a:lnTo>
                    <a:lnTo>
                      <a:pt x="4672" y="2350"/>
                    </a:lnTo>
                    <a:lnTo>
                      <a:pt x="4668" y="2353"/>
                    </a:lnTo>
                    <a:lnTo>
                      <a:pt x="4668" y="2357"/>
                    </a:lnTo>
                    <a:lnTo>
                      <a:pt x="4677" y="2371"/>
                    </a:lnTo>
                    <a:lnTo>
                      <a:pt x="4677" y="2373"/>
                    </a:lnTo>
                    <a:lnTo>
                      <a:pt x="4667" y="2372"/>
                    </a:lnTo>
                    <a:lnTo>
                      <a:pt x="4664" y="2378"/>
                    </a:lnTo>
                    <a:lnTo>
                      <a:pt x="4681" y="2383"/>
                    </a:lnTo>
                    <a:lnTo>
                      <a:pt x="4686" y="2395"/>
                    </a:lnTo>
                    <a:lnTo>
                      <a:pt x="4671" y="2394"/>
                    </a:lnTo>
                    <a:lnTo>
                      <a:pt x="4664" y="2391"/>
                    </a:lnTo>
                    <a:lnTo>
                      <a:pt x="4668" y="239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Canada"/>
              <p:cNvSpPr>
                <a:spLocks noChangeAspect="1"/>
              </p:cNvSpPr>
              <p:nvPr>
                <p:custDataLst>
                  <p:tags r:id="rId195"/>
                </p:custDataLst>
              </p:nvPr>
            </p:nvSpPr>
            <p:spPr bwMode="gray">
              <a:xfrm>
                <a:off x="1437" y="1025"/>
                <a:ext cx="39" cy="63"/>
              </a:xfrm>
              <a:custGeom>
                <a:avLst/>
                <a:gdLst/>
                <a:ahLst/>
                <a:cxnLst>
                  <a:cxn ang="0">
                    <a:pos x="197" y="156"/>
                  </a:cxn>
                  <a:cxn ang="0">
                    <a:pos x="180" y="119"/>
                  </a:cxn>
                  <a:cxn ang="0">
                    <a:pos x="140" y="109"/>
                  </a:cxn>
                  <a:cxn ang="0">
                    <a:pos x="128" y="97"/>
                  </a:cxn>
                  <a:cxn ang="0">
                    <a:pos x="132" y="73"/>
                  </a:cxn>
                  <a:cxn ang="0">
                    <a:pos x="121" y="63"/>
                  </a:cxn>
                  <a:cxn ang="0">
                    <a:pos x="95" y="44"/>
                  </a:cxn>
                  <a:cxn ang="0">
                    <a:pos x="22" y="0"/>
                  </a:cxn>
                  <a:cxn ang="0">
                    <a:pos x="6" y="25"/>
                  </a:cxn>
                  <a:cxn ang="0">
                    <a:pos x="4" y="44"/>
                  </a:cxn>
                  <a:cxn ang="0">
                    <a:pos x="9" y="65"/>
                  </a:cxn>
                  <a:cxn ang="0">
                    <a:pos x="18" y="82"/>
                  </a:cxn>
                  <a:cxn ang="0">
                    <a:pos x="0" y="98"/>
                  </a:cxn>
                  <a:cxn ang="0">
                    <a:pos x="20" y="127"/>
                  </a:cxn>
                  <a:cxn ang="0">
                    <a:pos x="21" y="161"/>
                  </a:cxn>
                  <a:cxn ang="0">
                    <a:pos x="34" y="173"/>
                  </a:cxn>
                  <a:cxn ang="0">
                    <a:pos x="27" y="184"/>
                  </a:cxn>
                  <a:cxn ang="0">
                    <a:pos x="54" y="187"/>
                  </a:cxn>
                  <a:cxn ang="0">
                    <a:pos x="83" y="215"/>
                  </a:cxn>
                  <a:cxn ang="0">
                    <a:pos x="79" y="226"/>
                  </a:cxn>
                  <a:cxn ang="0">
                    <a:pos x="35" y="236"/>
                  </a:cxn>
                  <a:cxn ang="0">
                    <a:pos x="63" y="300"/>
                  </a:cxn>
                  <a:cxn ang="0">
                    <a:pos x="86" y="316"/>
                  </a:cxn>
                  <a:cxn ang="0">
                    <a:pos x="97" y="295"/>
                  </a:cxn>
                  <a:cxn ang="0">
                    <a:pos x="91" y="292"/>
                  </a:cxn>
                  <a:cxn ang="0">
                    <a:pos x="120" y="290"/>
                  </a:cxn>
                  <a:cxn ang="0">
                    <a:pos x="170" y="268"/>
                  </a:cxn>
                  <a:cxn ang="0">
                    <a:pos x="185" y="275"/>
                  </a:cxn>
                  <a:cxn ang="0">
                    <a:pos x="190" y="264"/>
                  </a:cxn>
                  <a:cxn ang="0">
                    <a:pos x="197" y="233"/>
                  </a:cxn>
                  <a:cxn ang="0">
                    <a:pos x="186" y="221"/>
                  </a:cxn>
                  <a:cxn ang="0">
                    <a:pos x="185" y="219"/>
                  </a:cxn>
                  <a:cxn ang="0">
                    <a:pos x="197" y="163"/>
                  </a:cxn>
                </a:cxnLst>
                <a:rect l="0" t="0" r="r" b="b"/>
                <a:pathLst>
                  <a:path w="197" h="316">
                    <a:moveTo>
                      <a:pt x="197" y="163"/>
                    </a:moveTo>
                    <a:lnTo>
                      <a:pt x="197" y="156"/>
                    </a:lnTo>
                    <a:lnTo>
                      <a:pt x="196" y="149"/>
                    </a:lnTo>
                    <a:lnTo>
                      <a:pt x="180" y="119"/>
                    </a:lnTo>
                    <a:lnTo>
                      <a:pt x="156" y="102"/>
                    </a:lnTo>
                    <a:lnTo>
                      <a:pt x="140" y="109"/>
                    </a:lnTo>
                    <a:lnTo>
                      <a:pt x="127" y="107"/>
                    </a:lnTo>
                    <a:lnTo>
                      <a:pt x="128" y="97"/>
                    </a:lnTo>
                    <a:lnTo>
                      <a:pt x="128" y="86"/>
                    </a:lnTo>
                    <a:lnTo>
                      <a:pt x="132" y="73"/>
                    </a:lnTo>
                    <a:lnTo>
                      <a:pt x="127" y="65"/>
                    </a:lnTo>
                    <a:lnTo>
                      <a:pt x="121" y="63"/>
                    </a:lnTo>
                    <a:lnTo>
                      <a:pt x="106" y="47"/>
                    </a:lnTo>
                    <a:lnTo>
                      <a:pt x="95" y="44"/>
                    </a:lnTo>
                    <a:lnTo>
                      <a:pt x="53" y="7"/>
                    </a:lnTo>
                    <a:lnTo>
                      <a:pt x="22" y="0"/>
                    </a:lnTo>
                    <a:lnTo>
                      <a:pt x="5" y="16"/>
                    </a:lnTo>
                    <a:lnTo>
                      <a:pt x="6" y="25"/>
                    </a:lnTo>
                    <a:lnTo>
                      <a:pt x="4" y="27"/>
                    </a:lnTo>
                    <a:lnTo>
                      <a:pt x="4" y="44"/>
                    </a:lnTo>
                    <a:lnTo>
                      <a:pt x="5" y="52"/>
                    </a:lnTo>
                    <a:lnTo>
                      <a:pt x="9" y="65"/>
                    </a:lnTo>
                    <a:lnTo>
                      <a:pt x="15" y="70"/>
                    </a:lnTo>
                    <a:lnTo>
                      <a:pt x="18" y="82"/>
                    </a:lnTo>
                    <a:lnTo>
                      <a:pt x="14" y="90"/>
                    </a:lnTo>
                    <a:lnTo>
                      <a:pt x="0" y="98"/>
                    </a:lnTo>
                    <a:lnTo>
                      <a:pt x="13" y="124"/>
                    </a:lnTo>
                    <a:lnTo>
                      <a:pt x="20" y="127"/>
                    </a:lnTo>
                    <a:lnTo>
                      <a:pt x="18" y="139"/>
                    </a:lnTo>
                    <a:lnTo>
                      <a:pt x="21" y="161"/>
                    </a:lnTo>
                    <a:lnTo>
                      <a:pt x="31" y="163"/>
                    </a:lnTo>
                    <a:lnTo>
                      <a:pt x="34" y="173"/>
                    </a:lnTo>
                    <a:lnTo>
                      <a:pt x="24" y="177"/>
                    </a:lnTo>
                    <a:lnTo>
                      <a:pt x="27" y="184"/>
                    </a:lnTo>
                    <a:lnTo>
                      <a:pt x="46" y="190"/>
                    </a:lnTo>
                    <a:lnTo>
                      <a:pt x="54" y="187"/>
                    </a:lnTo>
                    <a:lnTo>
                      <a:pt x="85" y="203"/>
                    </a:lnTo>
                    <a:lnTo>
                      <a:pt x="83" y="215"/>
                    </a:lnTo>
                    <a:lnTo>
                      <a:pt x="89" y="216"/>
                    </a:lnTo>
                    <a:lnTo>
                      <a:pt x="79" y="226"/>
                    </a:lnTo>
                    <a:lnTo>
                      <a:pt x="38" y="224"/>
                    </a:lnTo>
                    <a:lnTo>
                      <a:pt x="35" y="236"/>
                    </a:lnTo>
                    <a:lnTo>
                      <a:pt x="72" y="279"/>
                    </a:lnTo>
                    <a:lnTo>
                      <a:pt x="63" y="300"/>
                    </a:lnTo>
                    <a:lnTo>
                      <a:pt x="65" y="307"/>
                    </a:lnTo>
                    <a:lnTo>
                      <a:pt x="86" y="316"/>
                    </a:lnTo>
                    <a:lnTo>
                      <a:pt x="97" y="300"/>
                    </a:lnTo>
                    <a:lnTo>
                      <a:pt x="97" y="295"/>
                    </a:lnTo>
                    <a:lnTo>
                      <a:pt x="94" y="290"/>
                    </a:lnTo>
                    <a:lnTo>
                      <a:pt x="91" y="292"/>
                    </a:lnTo>
                    <a:lnTo>
                      <a:pt x="106" y="275"/>
                    </a:lnTo>
                    <a:lnTo>
                      <a:pt x="120" y="290"/>
                    </a:lnTo>
                    <a:lnTo>
                      <a:pt x="133" y="287"/>
                    </a:lnTo>
                    <a:lnTo>
                      <a:pt x="170" y="268"/>
                    </a:lnTo>
                    <a:lnTo>
                      <a:pt x="181" y="270"/>
                    </a:lnTo>
                    <a:lnTo>
                      <a:pt x="185" y="275"/>
                    </a:lnTo>
                    <a:lnTo>
                      <a:pt x="188" y="271"/>
                    </a:lnTo>
                    <a:lnTo>
                      <a:pt x="190" y="264"/>
                    </a:lnTo>
                    <a:lnTo>
                      <a:pt x="196" y="249"/>
                    </a:lnTo>
                    <a:lnTo>
                      <a:pt x="197" y="233"/>
                    </a:lnTo>
                    <a:lnTo>
                      <a:pt x="193" y="227"/>
                    </a:lnTo>
                    <a:lnTo>
                      <a:pt x="186" y="221"/>
                    </a:lnTo>
                    <a:lnTo>
                      <a:pt x="186" y="225"/>
                    </a:lnTo>
                    <a:lnTo>
                      <a:pt x="185" y="219"/>
                    </a:lnTo>
                    <a:lnTo>
                      <a:pt x="185" y="174"/>
                    </a:lnTo>
                    <a:lnTo>
                      <a:pt x="197" y="16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" name="Canada"/>
              <p:cNvSpPr>
                <a:spLocks noChangeAspect="1"/>
              </p:cNvSpPr>
              <p:nvPr>
                <p:custDataLst>
                  <p:tags r:id="rId196"/>
                </p:custDataLst>
              </p:nvPr>
            </p:nvSpPr>
            <p:spPr bwMode="gray">
              <a:xfrm>
                <a:off x="1356" y="1000"/>
                <a:ext cx="74" cy="86"/>
              </a:xfrm>
              <a:custGeom>
                <a:avLst/>
                <a:gdLst/>
                <a:ahLst/>
                <a:cxnLst>
                  <a:cxn ang="0">
                    <a:pos x="318" y="278"/>
                  </a:cxn>
                  <a:cxn ang="0">
                    <a:pos x="327" y="224"/>
                  </a:cxn>
                  <a:cxn ang="0">
                    <a:pos x="332" y="197"/>
                  </a:cxn>
                  <a:cxn ang="0">
                    <a:pos x="321" y="194"/>
                  </a:cxn>
                  <a:cxn ang="0">
                    <a:pos x="300" y="176"/>
                  </a:cxn>
                  <a:cxn ang="0">
                    <a:pos x="297" y="141"/>
                  </a:cxn>
                  <a:cxn ang="0">
                    <a:pos x="245" y="131"/>
                  </a:cxn>
                  <a:cxn ang="0">
                    <a:pos x="236" y="133"/>
                  </a:cxn>
                  <a:cxn ang="0">
                    <a:pos x="232" y="101"/>
                  </a:cxn>
                  <a:cxn ang="0">
                    <a:pos x="220" y="85"/>
                  </a:cxn>
                  <a:cxn ang="0">
                    <a:pos x="210" y="76"/>
                  </a:cxn>
                  <a:cxn ang="0">
                    <a:pos x="176" y="44"/>
                  </a:cxn>
                  <a:cxn ang="0">
                    <a:pos x="148" y="76"/>
                  </a:cxn>
                  <a:cxn ang="0">
                    <a:pos x="143" y="114"/>
                  </a:cxn>
                  <a:cxn ang="0">
                    <a:pos x="130" y="22"/>
                  </a:cxn>
                  <a:cxn ang="0">
                    <a:pos x="108" y="16"/>
                  </a:cxn>
                  <a:cxn ang="0">
                    <a:pos x="84" y="0"/>
                  </a:cxn>
                  <a:cxn ang="0">
                    <a:pos x="11" y="16"/>
                  </a:cxn>
                  <a:cxn ang="0">
                    <a:pos x="5" y="101"/>
                  </a:cxn>
                  <a:cxn ang="0">
                    <a:pos x="40" y="96"/>
                  </a:cxn>
                  <a:cxn ang="0">
                    <a:pos x="42" y="145"/>
                  </a:cxn>
                  <a:cxn ang="0">
                    <a:pos x="55" y="155"/>
                  </a:cxn>
                  <a:cxn ang="0">
                    <a:pos x="80" y="109"/>
                  </a:cxn>
                  <a:cxn ang="0">
                    <a:pos x="95" y="130"/>
                  </a:cxn>
                  <a:cxn ang="0">
                    <a:pos x="81" y="155"/>
                  </a:cxn>
                  <a:cxn ang="0">
                    <a:pos x="97" y="162"/>
                  </a:cxn>
                  <a:cxn ang="0">
                    <a:pos x="123" y="168"/>
                  </a:cxn>
                  <a:cxn ang="0">
                    <a:pos x="96" y="201"/>
                  </a:cxn>
                  <a:cxn ang="0">
                    <a:pos x="121" y="228"/>
                  </a:cxn>
                  <a:cxn ang="0">
                    <a:pos x="65" y="225"/>
                  </a:cxn>
                  <a:cxn ang="0">
                    <a:pos x="42" y="253"/>
                  </a:cxn>
                  <a:cxn ang="0">
                    <a:pos x="79" y="307"/>
                  </a:cxn>
                  <a:cxn ang="0">
                    <a:pos x="118" y="290"/>
                  </a:cxn>
                  <a:cxn ang="0">
                    <a:pos x="157" y="282"/>
                  </a:cxn>
                  <a:cxn ang="0">
                    <a:pos x="180" y="305"/>
                  </a:cxn>
                  <a:cxn ang="0">
                    <a:pos x="230" y="305"/>
                  </a:cxn>
                  <a:cxn ang="0">
                    <a:pos x="250" y="322"/>
                  </a:cxn>
                  <a:cxn ang="0">
                    <a:pos x="257" y="328"/>
                  </a:cxn>
                  <a:cxn ang="0">
                    <a:pos x="277" y="388"/>
                  </a:cxn>
                  <a:cxn ang="0">
                    <a:pos x="301" y="416"/>
                  </a:cxn>
                  <a:cxn ang="0">
                    <a:pos x="326" y="415"/>
                  </a:cxn>
                  <a:cxn ang="0">
                    <a:pos x="360" y="395"/>
                  </a:cxn>
                  <a:cxn ang="0">
                    <a:pos x="337" y="301"/>
                  </a:cxn>
                </a:cxnLst>
                <a:rect l="0" t="0" r="r" b="b"/>
                <a:pathLst>
                  <a:path w="368" h="430">
                    <a:moveTo>
                      <a:pt x="337" y="301"/>
                    </a:moveTo>
                    <a:lnTo>
                      <a:pt x="333" y="284"/>
                    </a:lnTo>
                    <a:lnTo>
                      <a:pt x="318" y="278"/>
                    </a:lnTo>
                    <a:lnTo>
                      <a:pt x="320" y="260"/>
                    </a:lnTo>
                    <a:lnTo>
                      <a:pt x="316" y="243"/>
                    </a:lnTo>
                    <a:lnTo>
                      <a:pt x="327" y="224"/>
                    </a:lnTo>
                    <a:lnTo>
                      <a:pt x="328" y="211"/>
                    </a:lnTo>
                    <a:lnTo>
                      <a:pt x="332" y="204"/>
                    </a:lnTo>
                    <a:lnTo>
                      <a:pt x="332" y="197"/>
                    </a:lnTo>
                    <a:lnTo>
                      <a:pt x="327" y="190"/>
                    </a:lnTo>
                    <a:lnTo>
                      <a:pt x="323" y="187"/>
                    </a:lnTo>
                    <a:lnTo>
                      <a:pt x="321" y="194"/>
                    </a:lnTo>
                    <a:lnTo>
                      <a:pt x="311" y="177"/>
                    </a:lnTo>
                    <a:lnTo>
                      <a:pt x="312" y="177"/>
                    </a:lnTo>
                    <a:lnTo>
                      <a:pt x="300" y="176"/>
                    </a:lnTo>
                    <a:lnTo>
                      <a:pt x="299" y="171"/>
                    </a:lnTo>
                    <a:lnTo>
                      <a:pt x="304" y="158"/>
                    </a:lnTo>
                    <a:lnTo>
                      <a:pt x="297" y="141"/>
                    </a:lnTo>
                    <a:lnTo>
                      <a:pt x="266" y="118"/>
                    </a:lnTo>
                    <a:lnTo>
                      <a:pt x="261" y="125"/>
                    </a:lnTo>
                    <a:lnTo>
                      <a:pt x="245" y="131"/>
                    </a:lnTo>
                    <a:lnTo>
                      <a:pt x="237" y="141"/>
                    </a:lnTo>
                    <a:lnTo>
                      <a:pt x="235" y="139"/>
                    </a:lnTo>
                    <a:lnTo>
                      <a:pt x="236" y="133"/>
                    </a:lnTo>
                    <a:lnTo>
                      <a:pt x="227" y="128"/>
                    </a:lnTo>
                    <a:lnTo>
                      <a:pt x="227" y="119"/>
                    </a:lnTo>
                    <a:lnTo>
                      <a:pt x="232" y="101"/>
                    </a:lnTo>
                    <a:lnTo>
                      <a:pt x="231" y="85"/>
                    </a:lnTo>
                    <a:lnTo>
                      <a:pt x="223" y="75"/>
                    </a:lnTo>
                    <a:lnTo>
                      <a:pt x="220" y="85"/>
                    </a:lnTo>
                    <a:lnTo>
                      <a:pt x="211" y="90"/>
                    </a:lnTo>
                    <a:lnTo>
                      <a:pt x="211" y="85"/>
                    </a:lnTo>
                    <a:lnTo>
                      <a:pt x="210" y="76"/>
                    </a:lnTo>
                    <a:lnTo>
                      <a:pt x="200" y="69"/>
                    </a:lnTo>
                    <a:lnTo>
                      <a:pt x="193" y="53"/>
                    </a:lnTo>
                    <a:lnTo>
                      <a:pt x="176" y="44"/>
                    </a:lnTo>
                    <a:lnTo>
                      <a:pt x="166" y="44"/>
                    </a:lnTo>
                    <a:lnTo>
                      <a:pt x="151" y="65"/>
                    </a:lnTo>
                    <a:lnTo>
                      <a:pt x="148" y="76"/>
                    </a:lnTo>
                    <a:lnTo>
                      <a:pt x="148" y="93"/>
                    </a:lnTo>
                    <a:lnTo>
                      <a:pt x="146" y="104"/>
                    </a:lnTo>
                    <a:lnTo>
                      <a:pt x="143" y="114"/>
                    </a:lnTo>
                    <a:lnTo>
                      <a:pt x="129" y="96"/>
                    </a:lnTo>
                    <a:lnTo>
                      <a:pt x="134" y="33"/>
                    </a:lnTo>
                    <a:lnTo>
                      <a:pt x="130" y="22"/>
                    </a:lnTo>
                    <a:lnTo>
                      <a:pt x="116" y="21"/>
                    </a:lnTo>
                    <a:lnTo>
                      <a:pt x="103" y="27"/>
                    </a:lnTo>
                    <a:lnTo>
                      <a:pt x="108" y="16"/>
                    </a:lnTo>
                    <a:lnTo>
                      <a:pt x="106" y="11"/>
                    </a:lnTo>
                    <a:lnTo>
                      <a:pt x="95" y="4"/>
                    </a:lnTo>
                    <a:lnTo>
                      <a:pt x="84" y="0"/>
                    </a:lnTo>
                    <a:lnTo>
                      <a:pt x="62" y="13"/>
                    </a:lnTo>
                    <a:lnTo>
                      <a:pt x="22" y="22"/>
                    </a:lnTo>
                    <a:lnTo>
                      <a:pt x="11" y="16"/>
                    </a:lnTo>
                    <a:lnTo>
                      <a:pt x="9" y="21"/>
                    </a:lnTo>
                    <a:lnTo>
                      <a:pt x="0" y="56"/>
                    </a:lnTo>
                    <a:lnTo>
                      <a:pt x="5" y="101"/>
                    </a:lnTo>
                    <a:lnTo>
                      <a:pt x="6" y="104"/>
                    </a:lnTo>
                    <a:lnTo>
                      <a:pt x="17" y="107"/>
                    </a:lnTo>
                    <a:lnTo>
                      <a:pt x="40" y="96"/>
                    </a:lnTo>
                    <a:lnTo>
                      <a:pt x="52" y="98"/>
                    </a:lnTo>
                    <a:lnTo>
                      <a:pt x="52" y="114"/>
                    </a:lnTo>
                    <a:lnTo>
                      <a:pt x="42" y="145"/>
                    </a:lnTo>
                    <a:lnTo>
                      <a:pt x="36" y="150"/>
                    </a:lnTo>
                    <a:lnTo>
                      <a:pt x="41" y="161"/>
                    </a:lnTo>
                    <a:lnTo>
                      <a:pt x="55" y="155"/>
                    </a:lnTo>
                    <a:lnTo>
                      <a:pt x="67" y="120"/>
                    </a:lnTo>
                    <a:lnTo>
                      <a:pt x="75" y="117"/>
                    </a:lnTo>
                    <a:lnTo>
                      <a:pt x="80" y="109"/>
                    </a:lnTo>
                    <a:lnTo>
                      <a:pt x="87" y="111"/>
                    </a:lnTo>
                    <a:lnTo>
                      <a:pt x="92" y="117"/>
                    </a:lnTo>
                    <a:lnTo>
                      <a:pt x="95" y="130"/>
                    </a:lnTo>
                    <a:lnTo>
                      <a:pt x="92" y="139"/>
                    </a:lnTo>
                    <a:lnTo>
                      <a:pt x="89" y="146"/>
                    </a:lnTo>
                    <a:lnTo>
                      <a:pt x="81" y="155"/>
                    </a:lnTo>
                    <a:lnTo>
                      <a:pt x="83" y="171"/>
                    </a:lnTo>
                    <a:lnTo>
                      <a:pt x="92" y="174"/>
                    </a:lnTo>
                    <a:lnTo>
                      <a:pt x="97" y="162"/>
                    </a:lnTo>
                    <a:lnTo>
                      <a:pt x="102" y="165"/>
                    </a:lnTo>
                    <a:lnTo>
                      <a:pt x="103" y="176"/>
                    </a:lnTo>
                    <a:lnTo>
                      <a:pt x="123" y="168"/>
                    </a:lnTo>
                    <a:lnTo>
                      <a:pt x="122" y="181"/>
                    </a:lnTo>
                    <a:lnTo>
                      <a:pt x="117" y="190"/>
                    </a:lnTo>
                    <a:lnTo>
                      <a:pt x="96" y="201"/>
                    </a:lnTo>
                    <a:lnTo>
                      <a:pt x="94" y="210"/>
                    </a:lnTo>
                    <a:lnTo>
                      <a:pt x="127" y="216"/>
                    </a:lnTo>
                    <a:lnTo>
                      <a:pt x="121" y="228"/>
                    </a:lnTo>
                    <a:lnTo>
                      <a:pt x="118" y="242"/>
                    </a:lnTo>
                    <a:lnTo>
                      <a:pt x="92" y="240"/>
                    </a:lnTo>
                    <a:lnTo>
                      <a:pt x="65" y="225"/>
                    </a:lnTo>
                    <a:lnTo>
                      <a:pt x="47" y="228"/>
                    </a:lnTo>
                    <a:lnTo>
                      <a:pt x="41" y="236"/>
                    </a:lnTo>
                    <a:lnTo>
                      <a:pt x="42" y="253"/>
                    </a:lnTo>
                    <a:lnTo>
                      <a:pt x="43" y="268"/>
                    </a:lnTo>
                    <a:lnTo>
                      <a:pt x="57" y="290"/>
                    </a:lnTo>
                    <a:lnTo>
                      <a:pt x="79" y="307"/>
                    </a:lnTo>
                    <a:lnTo>
                      <a:pt x="103" y="310"/>
                    </a:lnTo>
                    <a:lnTo>
                      <a:pt x="111" y="303"/>
                    </a:lnTo>
                    <a:lnTo>
                      <a:pt x="118" y="290"/>
                    </a:lnTo>
                    <a:lnTo>
                      <a:pt x="127" y="290"/>
                    </a:lnTo>
                    <a:lnTo>
                      <a:pt x="159" y="274"/>
                    </a:lnTo>
                    <a:lnTo>
                      <a:pt x="157" y="282"/>
                    </a:lnTo>
                    <a:lnTo>
                      <a:pt x="159" y="295"/>
                    </a:lnTo>
                    <a:lnTo>
                      <a:pt x="170" y="305"/>
                    </a:lnTo>
                    <a:lnTo>
                      <a:pt x="180" y="305"/>
                    </a:lnTo>
                    <a:lnTo>
                      <a:pt x="191" y="297"/>
                    </a:lnTo>
                    <a:lnTo>
                      <a:pt x="203" y="297"/>
                    </a:lnTo>
                    <a:lnTo>
                      <a:pt x="230" y="305"/>
                    </a:lnTo>
                    <a:lnTo>
                      <a:pt x="234" y="312"/>
                    </a:lnTo>
                    <a:lnTo>
                      <a:pt x="234" y="321"/>
                    </a:lnTo>
                    <a:lnTo>
                      <a:pt x="250" y="322"/>
                    </a:lnTo>
                    <a:lnTo>
                      <a:pt x="253" y="316"/>
                    </a:lnTo>
                    <a:lnTo>
                      <a:pt x="256" y="318"/>
                    </a:lnTo>
                    <a:lnTo>
                      <a:pt x="257" y="328"/>
                    </a:lnTo>
                    <a:lnTo>
                      <a:pt x="268" y="343"/>
                    </a:lnTo>
                    <a:lnTo>
                      <a:pt x="268" y="366"/>
                    </a:lnTo>
                    <a:lnTo>
                      <a:pt x="277" y="388"/>
                    </a:lnTo>
                    <a:lnTo>
                      <a:pt x="278" y="399"/>
                    </a:lnTo>
                    <a:lnTo>
                      <a:pt x="294" y="418"/>
                    </a:lnTo>
                    <a:lnTo>
                      <a:pt x="301" y="416"/>
                    </a:lnTo>
                    <a:lnTo>
                      <a:pt x="313" y="430"/>
                    </a:lnTo>
                    <a:lnTo>
                      <a:pt x="318" y="420"/>
                    </a:lnTo>
                    <a:lnTo>
                      <a:pt x="326" y="415"/>
                    </a:lnTo>
                    <a:lnTo>
                      <a:pt x="339" y="416"/>
                    </a:lnTo>
                    <a:lnTo>
                      <a:pt x="355" y="410"/>
                    </a:lnTo>
                    <a:lnTo>
                      <a:pt x="360" y="395"/>
                    </a:lnTo>
                    <a:lnTo>
                      <a:pt x="359" y="382"/>
                    </a:lnTo>
                    <a:lnTo>
                      <a:pt x="368" y="357"/>
                    </a:lnTo>
                    <a:lnTo>
                      <a:pt x="337" y="30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Canada"/>
              <p:cNvSpPr>
                <a:spLocks noChangeAspect="1"/>
              </p:cNvSpPr>
              <p:nvPr>
                <p:custDataLst>
                  <p:tags r:id="rId197"/>
                </p:custDataLst>
              </p:nvPr>
            </p:nvSpPr>
            <p:spPr bwMode="gray">
              <a:xfrm>
                <a:off x="1462" y="960"/>
                <a:ext cx="121" cy="112"/>
              </a:xfrm>
              <a:custGeom>
                <a:avLst/>
                <a:gdLst/>
                <a:ahLst/>
                <a:cxnLst>
                  <a:cxn ang="0">
                    <a:pos x="22" y="39"/>
                  </a:cxn>
                  <a:cxn ang="0">
                    <a:pos x="18" y="69"/>
                  </a:cxn>
                  <a:cxn ang="0">
                    <a:pos x="88" y="118"/>
                  </a:cxn>
                  <a:cxn ang="0">
                    <a:pos x="103" y="142"/>
                  </a:cxn>
                  <a:cxn ang="0">
                    <a:pos x="45" y="146"/>
                  </a:cxn>
                  <a:cxn ang="0">
                    <a:pos x="39" y="178"/>
                  </a:cxn>
                  <a:cxn ang="0">
                    <a:pos x="70" y="189"/>
                  </a:cxn>
                  <a:cxn ang="0">
                    <a:pos x="83" y="233"/>
                  </a:cxn>
                  <a:cxn ang="0">
                    <a:pos x="110" y="200"/>
                  </a:cxn>
                  <a:cxn ang="0">
                    <a:pos x="143" y="192"/>
                  </a:cxn>
                  <a:cxn ang="0">
                    <a:pos x="132" y="225"/>
                  </a:cxn>
                  <a:cxn ang="0">
                    <a:pos x="158" y="204"/>
                  </a:cxn>
                  <a:cxn ang="0">
                    <a:pos x="177" y="181"/>
                  </a:cxn>
                  <a:cxn ang="0">
                    <a:pos x="193" y="192"/>
                  </a:cxn>
                  <a:cxn ang="0">
                    <a:pos x="229" y="209"/>
                  </a:cxn>
                  <a:cxn ang="0">
                    <a:pos x="260" y="216"/>
                  </a:cxn>
                  <a:cxn ang="0">
                    <a:pos x="208" y="232"/>
                  </a:cxn>
                  <a:cxn ang="0">
                    <a:pos x="266" y="236"/>
                  </a:cxn>
                  <a:cxn ang="0">
                    <a:pos x="313" y="243"/>
                  </a:cxn>
                  <a:cxn ang="0">
                    <a:pos x="154" y="292"/>
                  </a:cxn>
                  <a:cxn ang="0">
                    <a:pos x="138" y="340"/>
                  </a:cxn>
                  <a:cxn ang="0">
                    <a:pos x="185" y="382"/>
                  </a:cxn>
                  <a:cxn ang="0">
                    <a:pos x="153" y="392"/>
                  </a:cxn>
                  <a:cxn ang="0">
                    <a:pos x="164" y="416"/>
                  </a:cxn>
                  <a:cxn ang="0">
                    <a:pos x="243" y="442"/>
                  </a:cxn>
                  <a:cxn ang="0">
                    <a:pos x="184" y="486"/>
                  </a:cxn>
                  <a:cxn ang="0">
                    <a:pos x="211" y="506"/>
                  </a:cxn>
                  <a:cxn ang="0">
                    <a:pos x="210" y="513"/>
                  </a:cxn>
                  <a:cxn ang="0">
                    <a:pos x="250" y="547"/>
                  </a:cxn>
                  <a:cxn ang="0">
                    <a:pos x="326" y="549"/>
                  </a:cxn>
                  <a:cxn ang="0">
                    <a:pos x="326" y="511"/>
                  </a:cxn>
                  <a:cxn ang="0">
                    <a:pos x="365" y="552"/>
                  </a:cxn>
                  <a:cxn ang="0">
                    <a:pos x="335" y="475"/>
                  </a:cxn>
                  <a:cxn ang="0">
                    <a:pos x="330" y="430"/>
                  </a:cxn>
                  <a:cxn ang="0">
                    <a:pos x="368" y="497"/>
                  </a:cxn>
                  <a:cxn ang="0">
                    <a:pos x="405" y="533"/>
                  </a:cxn>
                  <a:cxn ang="0">
                    <a:pos x="398" y="415"/>
                  </a:cxn>
                  <a:cxn ang="0">
                    <a:pos x="421" y="461"/>
                  </a:cxn>
                  <a:cxn ang="0">
                    <a:pos x="435" y="416"/>
                  </a:cxn>
                  <a:cxn ang="0">
                    <a:pos x="420" y="360"/>
                  </a:cxn>
                  <a:cxn ang="0">
                    <a:pos x="432" y="284"/>
                  </a:cxn>
                  <a:cxn ang="0">
                    <a:pos x="431" y="321"/>
                  </a:cxn>
                  <a:cxn ang="0">
                    <a:pos x="455" y="407"/>
                  </a:cxn>
                  <a:cxn ang="0">
                    <a:pos x="486" y="303"/>
                  </a:cxn>
                  <a:cxn ang="0">
                    <a:pos x="513" y="310"/>
                  </a:cxn>
                  <a:cxn ang="0">
                    <a:pos x="602" y="231"/>
                  </a:cxn>
                  <a:cxn ang="0">
                    <a:pos x="588" y="170"/>
                  </a:cxn>
                  <a:cxn ang="0">
                    <a:pos x="551" y="135"/>
                  </a:cxn>
                  <a:cxn ang="0">
                    <a:pos x="535" y="176"/>
                  </a:cxn>
                  <a:cxn ang="0">
                    <a:pos x="539" y="141"/>
                  </a:cxn>
                  <a:cxn ang="0">
                    <a:pos x="507" y="93"/>
                  </a:cxn>
                  <a:cxn ang="0">
                    <a:pos x="468" y="127"/>
                  </a:cxn>
                  <a:cxn ang="0">
                    <a:pos x="481" y="96"/>
                  </a:cxn>
                  <a:cxn ang="0">
                    <a:pos x="481" y="33"/>
                  </a:cxn>
                  <a:cxn ang="0">
                    <a:pos x="104" y="0"/>
                  </a:cxn>
                  <a:cxn ang="0">
                    <a:pos x="99" y="0"/>
                  </a:cxn>
                  <a:cxn ang="0">
                    <a:pos x="2" y="0"/>
                  </a:cxn>
                </a:cxnLst>
                <a:rect l="0" t="0" r="r" b="b"/>
                <a:pathLst>
                  <a:path w="603" h="558">
                    <a:moveTo>
                      <a:pt x="3" y="21"/>
                    </a:moveTo>
                    <a:lnTo>
                      <a:pt x="23" y="26"/>
                    </a:lnTo>
                    <a:lnTo>
                      <a:pt x="25" y="32"/>
                    </a:lnTo>
                    <a:lnTo>
                      <a:pt x="22" y="39"/>
                    </a:lnTo>
                    <a:lnTo>
                      <a:pt x="1" y="42"/>
                    </a:lnTo>
                    <a:lnTo>
                      <a:pt x="12" y="52"/>
                    </a:lnTo>
                    <a:lnTo>
                      <a:pt x="9" y="57"/>
                    </a:lnTo>
                    <a:lnTo>
                      <a:pt x="18" y="69"/>
                    </a:lnTo>
                    <a:lnTo>
                      <a:pt x="34" y="103"/>
                    </a:lnTo>
                    <a:lnTo>
                      <a:pt x="55" y="117"/>
                    </a:lnTo>
                    <a:lnTo>
                      <a:pt x="59" y="124"/>
                    </a:lnTo>
                    <a:lnTo>
                      <a:pt x="88" y="118"/>
                    </a:lnTo>
                    <a:lnTo>
                      <a:pt x="105" y="128"/>
                    </a:lnTo>
                    <a:lnTo>
                      <a:pt x="126" y="104"/>
                    </a:lnTo>
                    <a:lnTo>
                      <a:pt x="120" y="129"/>
                    </a:lnTo>
                    <a:lnTo>
                      <a:pt x="103" y="142"/>
                    </a:lnTo>
                    <a:lnTo>
                      <a:pt x="81" y="144"/>
                    </a:lnTo>
                    <a:lnTo>
                      <a:pt x="80" y="149"/>
                    </a:lnTo>
                    <a:lnTo>
                      <a:pt x="64" y="155"/>
                    </a:lnTo>
                    <a:lnTo>
                      <a:pt x="45" y="146"/>
                    </a:lnTo>
                    <a:lnTo>
                      <a:pt x="39" y="152"/>
                    </a:lnTo>
                    <a:lnTo>
                      <a:pt x="38" y="161"/>
                    </a:lnTo>
                    <a:lnTo>
                      <a:pt x="40" y="168"/>
                    </a:lnTo>
                    <a:lnTo>
                      <a:pt x="39" y="178"/>
                    </a:lnTo>
                    <a:lnTo>
                      <a:pt x="48" y="189"/>
                    </a:lnTo>
                    <a:lnTo>
                      <a:pt x="56" y="188"/>
                    </a:lnTo>
                    <a:lnTo>
                      <a:pt x="60" y="195"/>
                    </a:lnTo>
                    <a:lnTo>
                      <a:pt x="70" y="189"/>
                    </a:lnTo>
                    <a:lnTo>
                      <a:pt x="72" y="200"/>
                    </a:lnTo>
                    <a:lnTo>
                      <a:pt x="77" y="209"/>
                    </a:lnTo>
                    <a:lnTo>
                      <a:pt x="76" y="212"/>
                    </a:lnTo>
                    <a:lnTo>
                      <a:pt x="83" y="233"/>
                    </a:lnTo>
                    <a:lnTo>
                      <a:pt x="88" y="224"/>
                    </a:lnTo>
                    <a:lnTo>
                      <a:pt x="98" y="212"/>
                    </a:lnTo>
                    <a:lnTo>
                      <a:pt x="108" y="209"/>
                    </a:lnTo>
                    <a:lnTo>
                      <a:pt x="110" y="200"/>
                    </a:lnTo>
                    <a:lnTo>
                      <a:pt x="109" y="193"/>
                    </a:lnTo>
                    <a:lnTo>
                      <a:pt x="116" y="183"/>
                    </a:lnTo>
                    <a:lnTo>
                      <a:pt x="135" y="193"/>
                    </a:lnTo>
                    <a:lnTo>
                      <a:pt x="143" y="192"/>
                    </a:lnTo>
                    <a:lnTo>
                      <a:pt x="132" y="203"/>
                    </a:lnTo>
                    <a:lnTo>
                      <a:pt x="130" y="209"/>
                    </a:lnTo>
                    <a:lnTo>
                      <a:pt x="129" y="225"/>
                    </a:lnTo>
                    <a:lnTo>
                      <a:pt x="132" y="225"/>
                    </a:lnTo>
                    <a:lnTo>
                      <a:pt x="138" y="236"/>
                    </a:lnTo>
                    <a:lnTo>
                      <a:pt x="146" y="233"/>
                    </a:lnTo>
                    <a:lnTo>
                      <a:pt x="156" y="221"/>
                    </a:lnTo>
                    <a:lnTo>
                      <a:pt x="158" y="204"/>
                    </a:lnTo>
                    <a:lnTo>
                      <a:pt x="168" y="197"/>
                    </a:lnTo>
                    <a:lnTo>
                      <a:pt x="170" y="181"/>
                    </a:lnTo>
                    <a:lnTo>
                      <a:pt x="175" y="172"/>
                    </a:lnTo>
                    <a:lnTo>
                      <a:pt x="177" y="181"/>
                    </a:lnTo>
                    <a:lnTo>
                      <a:pt x="170" y="208"/>
                    </a:lnTo>
                    <a:lnTo>
                      <a:pt x="174" y="211"/>
                    </a:lnTo>
                    <a:lnTo>
                      <a:pt x="191" y="205"/>
                    </a:lnTo>
                    <a:lnTo>
                      <a:pt x="193" y="192"/>
                    </a:lnTo>
                    <a:lnTo>
                      <a:pt x="194" y="189"/>
                    </a:lnTo>
                    <a:lnTo>
                      <a:pt x="218" y="183"/>
                    </a:lnTo>
                    <a:lnTo>
                      <a:pt x="215" y="200"/>
                    </a:lnTo>
                    <a:lnTo>
                      <a:pt x="229" y="209"/>
                    </a:lnTo>
                    <a:lnTo>
                      <a:pt x="276" y="203"/>
                    </a:lnTo>
                    <a:lnTo>
                      <a:pt x="277" y="206"/>
                    </a:lnTo>
                    <a:lnTo>
                      <a:pt x="272" y="211"/>
                    </a:lnTo>
                    <a:lnTo>
                      <a:pt x="260" y="216"/>
                    </a:lnTo>
                    <a:lnTo>
                      <a:pt x="222" y="216"/>
                    </a:lnTo>
                    <a:lnTo>
                      <a:pt x="220" y="224"/>
                    </a:lnTo>
                    <a:lnTo>
                      <a:pt x="208" y="224"/>
                    </a:lnTo>
                    <a:lnTo>
                      <a:pt x="208" y="232"/>
                    </a:lnTo>
                    <a:lnTo>
                      <a:pt x="213" y="237"/>
                    </a:lnTo>
                    <a:lnTo>
                      <a:pt x="227" y="244"/>
                    </a:lnTo>
                    <a:lnTo>
                      <a:pt x="259" y="243"/>
                    </a:lnTo>
                    <a:lnTo>
                      <a:pt x="266" y="236"/>
                    </a:lnTo>
                    <a:lnTo>
                      <a:pt x="312" y="231"/>
                    </a:lnTo>
                    <a:lnTo>
                      <a:pt x="324" y="222"/>
                    </a:lnTo>
                    <a:lnTo>
                      <a:pt x="315" y="241"/>
                    </a:lnTo>
                    <a:lnTo>
                      <a:pt x="313" y="243"/>
                    </a:lnTo>
                    <a:lnTo>
                      <a:pt x="275" y="247"/>
                    </a:lnTo>
                    <a:lnTo>
                      <a:pt x="242" y="258"/>
                    </a:lnTo>
                    <a:lnTo>
                      <a:pt x="173" y="265"/>
                    </a:lnTo>
                    <a:lnTo>
                      <a:pt x="154" y="292"/>
                    </a:lnTo>
                    <a:lnTo>
                      <a:pt x="138" y="298"/>
                    </a:lnTo>
                    <a:lnTo>
                      <a:pt x="127" y="313"/>
                    </a:lnTo>
                    <a:lnTo>
                      <a:pt x="130" y="325"/>
                    </a:lnTo>
                    <a:lnTo>
                      <a:pt x="138" y="340"/>
                    </a:lnTo>
                    <a:lnTo>
                      <a:pt x="145" y="359"/>
                    </a:lnTo>
                    <a:lnTo>
                      <a:pt x="163" y="356"/>
                    </a:lnTo>
                    <a:lnTo>
                      <a:pt x="183" y="371"/>
                    </a:lnTo>
                    <a:lnTo>
                      <a:pt x="185" y="382"/>
                    </a:lnTo>
                    <a:lnTo>
                      <a:pt x="163" y="380"/>
                    </a:lnTo>
                    <a:lnTo>
                      <a:pt x="156" y="373"/>
                    </a:lnTo>
                    <a:lnTo>
                      <a:pt x="151" y="377"/>
                    </a:lnTo>
                    <a:lnTo>
                      <a:pt x="153" y="392"/>
                    </a:lnTo>
                    <a:lnTo>
                      <a:pt x="158" y="404"/>
                    </a:lnTo>
                    <a:lnTo>
                      <a:pt x="165" y="404"/>
                    </a:lnTo>
                    <a:lnTo>
                      <a:pt x="163" y="410"/>
                    </a:lnTo>
                    <a:lnTo>
                      <a:pt x="164" y="416"/>
                    </a:lnTo>
                    <a:lnTo>
                      <a:pt x="170" y="426"/>
                    </a:lnTo>
                    <a:lnTo>
                      <a:pt x="193" y="420"/>
                    </a:lnTo>
                    <a:lnTo>
                      <a:pt x="201" y="427"/>
                    </a:lnTo>
                    <a:lnTo>
                      <a:pt x="243" y="442"/>
                    </a:lnTo>
                    <a:lnTo>
                      <a:pt x="238" y="448"/>
                    </a:lnTo>
                    <a:lnTo>
                      <a:pt x="178" y="457"/>
                    </a:lnTo>
                    <a:lnTo>
                      <a:pt x="178" y="472"/>
                    </a:lnTo>
                    <a:lnTo>
                      <a:pt x="184" y="486"/>
                    </a:lnTo>
                    <a:lnTo>
                      <a:pt x="193" y="491"/>
                    </a:lnTo>
                    <a:lnTo>
                      <a:pt x="199" y="505"/>
                    </a:lnTo>
                    <a:lnTo>
                      <a:pt x="205" y="509"/>
                    </a:lnTo>
                    <a:lnTo>
                      <a:pt x="211" y="506"/>
                    </a:lnTo>
                    <a:lnTo>
                      <a:pt x="212" y="497"/>
                    </a:lnTo>
                    <a:lnTo>
                      <a:pt x="216" y="500"/>
                    </a:lnTo>
                    <a:lnTo>
                      <a:pt x="216" y="506"/>
                    </a:lnTo>
                    <a:lnTo>
                      <a:pt x="210" y="513"/>
                    </a:lnTo>
                    <a:lnTo>
                      <a:pt x="218" y="523"/>
                    </a:lnTo>
                    <a:lnTo>
                      <a:pt x="223" y="537"/>
                    </a:lnTo>
                    <a:lnTo>
                      <a:pt x="242" y="537"/>
                    </a:lnTo>
                    <a:lnTo>
                      <a:pt x="250" y="547"/>
                    </a:lnTo>
                    <a:lnTo>
                      <a:pt x="269" y="549"/>
                    </a:lnTo>
                    <a:lnTo>
                      <a:pt x="290" y="558"/>
                    </a:lnTo>
                    <a:lnTo>
                      <a:pt x="324" y="558"/>
                    </a:lnTo>
                    <a:lnTo>
                      <a:pt x="326" y="549"/>
                    </a:lnTo>
                    <a:lnTo>
                      <a:pt x="323" y="532"/>
                    </a:lnTo>
                    <a:lnTo>
                      <a:pt x="307" y="523"/>
                    </a:lnTo>
                    <a:lnTo>
                      <a:pt x="299" y="511"/>
                    </a:lnTo>
                    <a:lnTo>
                      <a:pt x="326" y="511"/>
                    </a:lnTo>
                    <a:lnTo>
                      <a:pt x="339" y="515"/>
                    </a:lnTo>
                    <a:lnTo>
                      <a:pt x="347" y="532"/>
                    </a:lnTo>
                    <a:lnTo>
                      <a:pt x="360" y="539"/>
                    </a:lnTo>
                    <a:lnTo>
                      <a:pt x="365" y="552"/>
                    </a:lnTo>
                    <a:lnTo>
                      <a:pt x="367" y="545"/>
                    </a:lnTo>
                    <a:lnTo>
                      <a:pt x="350" y="501"/>
                    </a:lnTo>
                    <a:lnTo>
                      <a:pt x="339" y="486"/>
                    </a:lnTo>
                    <a:lnTo>
                      <a:pt x="335" y="475"/>
                    </a:lnTo>
                    <a:lnTo>
                      <a:pt x="322" y="447"/>
                    </a:lnTo>
                    <a:lnTo>
                      <a:pt x="323" y="426"/>
                    </a:lnTo>
                    <a:lnTo>
                      <a:pt x="328" y="424"/>
                    </a:lnTo>
                    <a:lnTo>
                      <a:pt x="330" y="430"/>
                    </a:lnTo>
                    <a:lnTo>
                      <a:pt x="339" y="457"/>
                    </a:lnTo>
                    <a:lnTo>
                      <a:pt x="346" y="469"/>
                    </a:lnTo>
                    <a:lnTo>
                      <a:pt x="367" y="486"/>
                    </a:lnTo>
                    <a:lnTo>
                      <a:pt x="368" y="497"/>
                    </a:lnTo>
                    <a:lnTo>
                      <a:pt x="384" y="532"/>
                    </a:lnTo>
                    <a:lnTo>
                      <a:pt x="394" y="544"/>
                    </a:lnTo>
                    <a:lnTo>
                      <a:pt x="401" y="545"/>
                    </a:lnTo>
                    <a:lnTo>
                      <a:pt x="405" y="533"/>
                    </a:lnTo>
                    <a:lnTo>
                      <a:pt x="412" y="483"/>
                    </a:lnTo>
                    <a:lnTo>
                      <a:pt x="395" y="451"/>
                    </a:lnTo>
                    <a:lnTo>
                      <a:pt x="394" y="436"/>
                    </a:lnTo>
                    <a:lnTo>
                      <a:pt x="398" y="415"/>
                    </a:lnTo>
                    <a:lnTo>
                      <a:pt x="401" y="416"/>
                    </a:lnTo>
                    <a:lnTo>
                      <a:pt x="403" y="426"/>
                    </a:lnTo>
                    <a:lnTo>
                      <a:pt x="417" y="447"/>
                    </a:lnTo>
                    <a:lnTo>
                      <a:pt x="421" y="461"/>
                    </a:lnTo>
                    <a:lnTo>
                      <a:pt x="436" y="461"/>
                    </a:lnTo>
                    <a:lnTo>
                      <a:pt x="436" y="451"/>
                    </a:lnTo>
                    <a:lnTo>
                      <a:pt x="438" y="434"/>
                    </a:lnTo>
                    <a:lnTo>
                      <a:pt x="435" y="416"/>
                    </a:lnTo>
                    <a:lnTo>
                      <a:pt x="423" y="407"/>
                    </a:lnTo>
                    <a:lnTo>
                      <a:pt x="425" y="396"/>
                    </a:lnTo>
                    <a:lnTo>
                      <a:pt x="420" y="376"/>
                    </a:lnTo>
                    <a:lnTo>
                      <a:pt x="420" y="360"/>
                    </a:lnTo>
                    <a:lnTo>
                      <a:pt x="421" y="348"/>
                    </a:lnTo>
                    <a:lnTo>
                      <a:pt x="421" y="329"/>
                    </a:lnTo>
                    <a:lnTo>
                      <a:pt x="427" y="312"/>
                    </a:lnTo>
                    <a:lnTo>
                      <a:pt x="432" y="284"/>
                    </a:lnTo>
                    <a:lnTo>
                      <a:pt x="436" y="280"/>
                    </a:lnTo>
                    <a:lnTo>
                      <a:pt x="436" y="287"/>
                    </a:lnTo>
                    <a:lnTo>
                      <a:pt x="433" y="298"/>
                    </a:lnTo>
                    <a:lnTo>
                      <a:pt x="431" y="321"/>
                    </a:lnTo>
                    <a:lnTo>
                      <a:pt x="436" y="334"/>
                    </a:lnTo>
                    <a:lnTo>
                      <a:pt x="436" y="361"/>
                    </a:lnTo>
                    <a:lnTo>
                      <a:pt x="438" y="380"/>
                    </a:lnTo>
                    <a:lnTo>
                      <a:pt x="455" y="407"/>
                    </a:lnTo>
                    <a:lnTo>
                      <a:pt x="460" y="404"/>
                    </a:lnTo>
                    <a:lnTo>
                      <a:pt x="475" y="367"/>
                    </a:lnTo>
                    <a:lnTo>
                      <a:pt x="489" y="345"/>
                    </a:lnTo>
                    <a:lnTo>
                      <a:pt x="486" y="303"/>
                    </a:lnTo>
                    <a:lnTo>
                      <a:pt x="486" y="291"/>
                    </a:lnTo>
                    <a:lnTo>
                      <a:pt x="496" y="300"/>
                    </a:lnTo>
                    <a:lnTo>
                      <a:pt x="498" y="329"/>
                    </a:lnTo>
                    <a:lnTo>
                      <a:pt x="513" y="310"/>
                    </a:lnTo>
                    <a:lnTo>
                      <a:pt x="511" y="307"/>
                    </a:lnTo>
                    <a:lnTo>
                      <a:pt x="512" y="292"/>
                    </a:lnTo>
                    <a:lnTo>
                      <a:pt x="565" y="267"/>
                    </a:lnTo>
                    <a:lnTo>
                      <a:pt x="602" y="231"/>
                    </a:lnTo>
                    <a:lnTo>
                      <a:pt x="603" y="204"/>
                    </a:lnTo>
                    <a:lnTo>
                      <a:pt x="600" y="195"/>
                    </a:lnTo>
                    <a:lnTo>
                      <a:pt x="592" y="184"/>
                    </a:lnTo>
                    <a:lnTo>
                      <a:pt x="588" y="170"/>
                    </a:lnTo>
                    <a:lnTo>
                      <a:pt x="571" y="146"/>
                    </a:lnTo>
                    <a:lnTo>
                      <a:pt x="560" y="123"/>
                    </a:lnTo>
                    <a:lnTo>
                      <a:pt x="552" y="128"/>
                    </a:lnTo>
                    <a:lnTo>
                      <a:pt x="551" y="135"/>
                    </a:lnTo>
                    <a:lnTo>
                      <a:pt x="549" y="145"/>
                    </a:lnTo>
                    <a:lnTo>
                      <a:pt x="549" y="156"/>
                    </a:lnTo>
                    <a:lnTo>
                      <a:pt x="545" y="165"/>
                    </a:lnTo>
                    <a:lnTo>
                      <a:pt x="535" y="176"/>
                    </a:lnTo>
                    <a:lnTo>
                      <a:pt x="534" y="168"/>
                    </a:lnTo>
                    <a:lnTo>
                      <a:pt x="540" y="162"/>
                    </a:lnTo>
                    <a:lnTo>
                      <a:pt x="538" y="150"/>
                    </a:lnTo>
                    <a:lnTo>
                      <a:pt x="539" y="141"/>
                    </a:lnTo>
                    <a:lnTo>
                      <a:pt x="538" y="130"/>
                    </a:lnTo>
                    <a:lnTo>
                      <a:pt x="529" y="123"/>
                    </a:lnTo>
                    <a:lnTo>
                      <a:pt x="519" y="103"/>
                    </a:lnTo>
                    <a:lnTo>
                      <a:pt x="507" y="93"/>
                    </a:lnTo>
                    <a:lnTo>
                      <a:pt x="502" y="92"/>
                    </a:lnTo>
                    <a:lnTo>
                      <a:pt x="489" y="107"/>
                    </a:lnTo>
                    <a:lnTo>
                      <a:pt x="479" y="107"/>
                    </a:lnTo>
                    <a:lnTo>
                      <a:pt x="468" y="127"/>
                    </a:lnTo>
                    <a:lnTo>
                      <a:pt x="464" y="128"/>
                    </a:lnTo>
                    <a:lnTo>
                      <a:pt x="464" y="115"/>
                    </a:lnTo>
                    <a:lnTo>
                      <a:pt x="470" y="102"/>
                    </a:lnTo>
                    <a:lnTo>
                      <a:pt x="481" y="96"/>
                    </a:lnTo>
                    <a:lnTo>
                      <a:pt x="487" y="60"/>
                    </a:lnTo>
                    <a:lnTo>
                      <a:pt x="496" y="32"/>
                    </a:lnTo>
                    <a:lnTo>
                      <a:pt x="496" y="27"/>
                    </a:lnTo>
                    <a:lnTo>
                      <a:pt x="481" y="33"/>
                    </a:lnTo>
                    <a:lnTo>
                      <a:pt x="481" y="28"/>
                    </a:lnTo>
                    <a:lnTo>
                      <a:pt x="491" y="17"/>
                    </a:lnTo>
                    <a:lnTo>
                      <a:pt x="487" y="0"/>
                    </a:lnTo>
                    <a:lnTo>
                      <a:pt x="104" y="0"/>
                    </a:lnTo>
                    <a:lnTo>
                      <a:pt x="110" y="9"/>
                    </a:lnTo>
                    <a:lnTo>
                      <a:pt x="111" y="15"/>
                    </a:lnTo>
                    <a:lnTo>
                      <a:pt x="102" y="1"/>
                    </a:lnTo>
                    <a:lnTo>
                      <a:pt x="99" y="0"/>
                    </a:lnTo>
                    <a:lnTo>
                      <a:pt x="78" y="0"/>
                    </a:lnTo>
                    <a:lnTo>
                      <a:pt x="75" y="2"/>
                    </a:lnTo>
                    <a:lnTo>
                      <a:pt x="72" y="0"/>
                    </a:lnTo>
                    <a:lnTo>
                      <a:pt x="2" y="0"/>
                    </a:lnTo>
                    <a:lnTo>
                      <a:pt x="0" y="7"/>
                    </a:lnTo>
                    <a:lnTo>
                      <a:pt x="3" y="2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" name="Canada"/>
              <p:cNvSpPr>
                <a:spLocks noChangeAspect="1"/>
              </p:cNvSpPr>
              <p:nvPr>
                <p:custDataLst>
                  <p:tags r:id="rId198"/>
                </p:custDataLst>
              </p:nvPr>
            </p:nvSpPr>
            <p:spPr bwMode="gray">
              <a:xfrm>
                <a:off x="1532" y="960"/>
                <a:ext cx="206" cy="207"/>
              </a:xfrm>
              <a:custGeom>
                <a:avLst/>
                <a:gdLst/>
                <a:ahLst/>
                <a:cxnLst>
                  <a:cxn ang="0">
                    <a:pos x="181" y="70"/>
                  </a:cxn>
                  <a:cxn ang="0">
                    <a:pos x="284" y="215"/>
                  </a:cxn>
                  <a:cxn ang="0">
                    <a:pos x="322" y="275"/>
                  </a:cxn>
                  <a:cxn ang="0">
                    <a:pos x="270" y="271"/>
                  </a:cxn>
                  <a:cxn ang="0">
                    <a:pos x="419" y="334"/>
                  </a:cxn>
                  <a:cxn ang="0">
                    <a:pos x="416" y="370"/>
                  </a:cxn>
                  <a:cxn ang="0">
                    <a:pos x="402" y="402"/>
                  </a:cxn>
                  <a:cxn ang="0">
                    <a:pos x="243" y="332"/>
                  </a:cxn>
                  <a:cxn ang="0">
                    <a:pos x="144" y="436"/>
                  </a:cxn>
                  <a:cxn ang="0">
                    <a:pos x="140" y="531"/>
                  </a:cxn>
                  <a:cxn ang="0">
                    <a:pos x="192" y="511"/>
                  </a:cxn>
                  <a:cxn ang="0">
                    <a:pos x="221" y="553"/>
                  </a:cxn>
                  <a:cxn ang="0">
                    <a:pos x="264" y="454"/>
                  </a:cxn>
                  <a:cxn ang="0">
                    <a:pos x="278" y="529"/>
                  </a:cxn>
                  <a:cxn ang="0">
                    <a:pos x="246" y="561"/>
                  </a:cxn>
                  <a:cxn ang="0">
                    <a:pos x="230" y="609"/>
                  </a:cxn>
                  <a:cxn ang="0">
                    <a:pos x="227" y="620"/>
                  </a:cxn>
                  <a:cxn ang="0">
                    <a:pos x="267" y="650"/>
                  </a:cxn>
                  <a:cxn ang="0">
                    <a:pos x="351" y="657"/>
                  </a:cxn>
                  <a:cxn ang="0">
                    <a:pos x="378" y="623"/>
                  </a:cxn>
                  <a:cxn ang="0">
                    <a:pos x="335" y="739"/>
                  </a:cxn>
                  <a:cxn ang="0">
                    <a:pos x="233" y="736"/>
                  </a:cxn>
                  <a:cxn ang="0">
                    <a:pos x="168" y="622"/>
                  </a:cxn>
                  <a:cxn ang="0">
                    <a:pos x="88" y="693"/>
                  </a:cxn>
                  <a:cxn ang="0">
                    <a:pos x="145" y="753"/>
                  </a:cxn>
                  <a:cxn ang="0">
                    <a:pos x="147" y="801"/>
                  </a:cxn>
                  <a:cxn ang="0">
                    <a:pos x="92" y="819"/>
                  </a:cxn>
                  <a:cxn ang="0">
                    <a:pos x="6" y="903"/>
                  </a:cxn>
                  <a:cxn ang="0">
                    <a:pos x="45" y="897"/>
                  </a:cxn>
                  <a:cxn ang="0">
                    <a:pos x="108" y="964"/>
                  </a:cxn>
                  <a:cxn ang="0">
                    <a:pos x="190" y="995"/>
                  </a:cxn>
                  <a:cxn ang="0">
                    <a:pos x="286" y="925"/>
                  </a:cxn>
                  <a:cxn ang="0">
                    <a:pos x="399" y="979"/>
                  </a:cxn>
                  <a:cxn ang="0">
                    <a:pos x="456" y="958"/>
                  </a:cxn>
                  <a:cxn ang="0">
                    <a:pos x="581" y="943"/>
                  </a:cxn>
                  <a:cxn ang="0">
                    <a:pos x="595" y="865"/>
                  </a:cxn>
                  <a:cxn ang="0">
                    <a:pos x="570" y="792"/>
                  </a:cxn>
                  <a:cxn ang="0">
                    <a:pos x="423" y="805"/>
                  </a:cxn>
                  <a:cxn ang="0">
                    <a:pos x="498" y="773"/>
                  </a:cxn>
                  <a:cxn ang="0">
                    <a:pos x="652" y="694"/>
                  </a:cxn>
                  <a:cxn ang="0">
                    <a:pos x="622" y="596"/>
                  </a:cxn>
                  <a:cxn ang="0">
                    <a:pos x="768" y="555"/>
                  </a:cxn>
                  <a:cxn ang="0">
                    <a:pos x="775" y="468"/>
                  </a:cxn>
                  <a:cxn ang="0">
                    <a:pos x="813" y="411"/>
                  </a:cxn>
                  <a:cxn ang="0">
                    <a:pos x="757" y="319"/>
                  </a:cxn>
                  <a:cxn ang="0">
                    <a:pos x="645" y="291"/>
                  </a:cxn>
                  <a:cxn ang="0">
                    <a:pos x="715" y="247"/>
                  </a:cxn>
                  <a:cxn ang="0">
                    <a:pos x="828" y="274"/>
                  </a:cxn>
                  <a:cxn ang="0">
                    <a:pos x="650" y="222"/>
                  </a:cxn>
                  <a:cxn ang="0">
                    <a:pos x="746" y="209"/>
                  </a:cxn>
                  <a:cxn ang="0">
                    <a:pos x="801" y="185"/>
                  </a:cxn>
                  <a:cxn ang="0">
                    <a:pos x="881" y="140"/>
                  </a:cxn>
                  <a:cxn ang="0">
                    <a:pos x="884" y="103"/>
                  </a:cxn>
                  <a:cxn ang="0">
                    <a:pos x="978" y="58"/>
                  </a:cxn>
                  <a:cxn ang="0">
                    <a:pos x="426" y="41"/>
                  </a:cxn>
                  <a:cxn ang="0">
                    <a:pos x="526" y="107"/>
                  </a:cxn>
                  <a:cxn ang="0">
                    <a:pos x="432" y="129"/>
                  </a:cxn>
                  <a:cxn ang="0">
                    <a:pos x="220" y="14"/>
                  </a:cxn>
                </a:cxnLst>
                <a:rect l="0" t="0" r="r" b="b"/>
                <a:pathLst>
                  <a:path w="1028" h="1037">
                    <a:moveTo>
                      <a:pt x="231" y="23"/>
                    </a:moveTo>
                    <a:lnTo>
                      <a:pt x="231" y="28"/>
                    </a:lnTo>
                    <a:lnTo>
                      <a:pt x="228" y="33"/>
                    </a:lnTo>
                    <a:lnTo>
                      <a:pt x="193" y="18"/>
                    </a:lnTo>
                    <a:lnTo>
                      <a:pt x="184" y="9"/>
                    </a:lnTo>
                    <a:lnTo>
                      <a:pt x="174" y="7"/>
                    </a:lnTo>
                    <a:lnTo>
                      <a:pt x="168" y="11"/>
                    </a:lnTo>
                    <a:lnTo>
                      <a:pt x="168" y="49"/>
                    </a:lnTo>
                    <a:lnTo>
                      <a:pt x="170" y="57"/>
                    </a:lnTo>
                    <a:lnTo>
                      <a:pt x="181" y="70"/>
                    </a:lnTo>
                    <a:lnTo>
                      <a:pt x="204" y="86"/>
                    </a:lnTo>
                    <a:lnTo>
                      <a:pt x="217" y="87"/>
                    </a:lnTo>
                    <a:lnTo>
                      <a:pt x="243" y="111"/>
                    </a:lnTo>
                    <a:lnTo>
                      <a:pt x="247" y="120"/>
                    </a:lnTo>
                    <a:lnTo>
                      <a:pt x="251" y="141"/>
                    </a:lnTo>
                    <a:lnTo>
                      <a:pt x="256" y="151"/>
                    </a:lnTo>
                    <a:lnTo>
                      <a:pt x="279" y="182"/>
                    </a:lnTo>
                    <a:lnTo>
                      <a:pt x="281" y="192"/>
                    </a:lnTo>
                    <a:lnTo>
                      <a:pt x="280" y="204"/>
                    </a:lnTo>
                    <a:lnTo>
                      <a:pt x="284" y="215"/>
                    </a:lnTo>
                    <a:lnTo>
                      <a:pt x="284" y="225"/>
                    </a:lnTo>
                    <a:lnTo>
                      <a:pt x="283" y="228"/>
                    </a:lnTo>
                    <a:lnTo>
                      <a:pt x="286" y="237"/>
                    </a:lnTo>
                    <a:lnTo>
                      <a:pt x="289" y="253"/>
                    </a:lnTo>
                    <a:lnTo>
                      <a:pt x="303" y="249"/>
                    </a:lnTo>
                    <a:lnTo>
                      <a:pt x="310" y="240"/>
                    </a:lnTo>
                    <a:lnTo>
                      <a:pt x="308" y="251"/>
                    </a:lnTo>
                    <a:lnTo>
                      <a:pt x="303" y="259"/>
                    </a:lnTo>
                    <a:lnTo>
                      <a:pt x="314" y="278"/>
                    </a:lnTo>
                    <a:lnTo>
                      <a:pt x="322" y="275"/>
                    </a:lnTo>
                    <a:lnTo>
                      <a:pt x="324" y="290"/>
                    </a:lnTo>
                    <a:lnTo>
                      <a:pt x="330" y="298"/>
                    </a:lnTo>
                    <a:lnTo>
                      <a:pt x="344" y="296"/>
                    </a:lnTo>
                    <a:lnTo>
                      <a:pt x="337" y="307"/>
                    </a:lnTo>
                    <a:lnTo>
                      <a:pt x="318" y="306"/>
                    </a:lnTo>
                    <a:lnTo>
                      <a:pt x="307" y="301"/>
                    </a:lnTo>
                    <a:lnTo>
                      <a:pt x="295" y="280"/>
                    </a:lnTo>
                    <a:lnTo>
                      <a:pt x="283" y="279"/>
                    </a:lnTo>
                    <a:lnTo>
                      <a:pt x="276" y="269"/>
                    </a:lnTo>
                    <a:lnTo>
                      <a:pt x="270" y="271"/>
                    </a:lnTo>
                    <a:lnTo>
                      <a:pt x="262" y="286"/>
                    </a:lnTo>
                    <a:lnTo>
                      <a:pt x="265" y="302"/>
                    </a:lnTo>
                    <a:lnTo>
                      <a:pt x="278" y="307"/>
                    </a:lnTo>
                    <a:lnTo>
                      <a:pt x="295" y="327"/>
                    </a:lnTo>
                    <a:lnTo>
                      <a:pt x="354" y="333"/>
                    </a:lnTo>
                    <a:lnTo>
                      <a:pt x="377" y="346"/>
                    </a:lnTo>
                    <a:lnTo>
                      <a:pt x="407" y="345"/>
                    </a:lnTo>
                    <a:lnTo>
                      <a:pt x="410" y="343"/>
                    </a:lnTo>
                    <a:lnTo>
                      <a:pt x="413" y="335"/>
                    </a:lnTo>
                    <a:lnTo>
                      <a:pt x="419" y="334"/>
                    </a:lnTo>
                    <a:lnTo>
                      <a:pt x="434" y="316"/>
                    </a:lnTo>
                    <a:lnTo>
                      <a:pt x="442" y="313"/>
                    </a:lnTo>
                    <a:lnTo>
                      <a:pt x="442" y="316"/>
                    </a:lnTo>
                    <a:lnTo>
                      <a:pt x="434" y="332"/>
                    </a:lnTo>
                    <a:lnTo>
                      <a:pt x="431" y="349"/>
                    </a:lnTo>
                    <a:lnTo>
                      <a:pt x="434" y="353"/>
                    </a:lnTo>
                    <a:lnTo>
                      <a:pt x="427" y="361"/>
                    </a:lnTo>
                    <a:lnTo>
                      <a:pt x="424" y="360"/>
                    </a:lnTo>
                    <a:lnTo>
                      <a:pt x="421" y="367"/>
                    </a:lnTo>
                    <a:lnTo>
                      <a:pt x="416" y="370"/>
                    </a:lnTo>
                    <a:lnTo>
                      <a:pt x="408" y="357"/>
                    </a:lnTo>
                    <a:lnTo>
                      <a:pt x="398" y="364"/>
                    </a:lnTo>
                    <a:lnTo>
                      <a:pt x="355" y="357"/>
                    </a:lnTo>
                    <a:lnTo>
                      <a:pt x="348" y="366"/>
                    </a:lnTo>
                    <a:lnTo>
                      <a:pt x="351" y="375"/>
                    </a:lnTo>
                    <a:lnTo>
                      <a:pt x="364" y="384"/>
                    </a:lnTo>
                    <a:lnTo>
                      <a:pt x="373" y="386"/>
                    </a:lnTo>
                    <a:lnTo>
                      <a:pt x="377" y="393"/>
                    </a:lnTo>
                    <a:lnTo>
                      <a:pt x="405" y="394"/>
                    </a:lnTo>
                    <a:lnTo>
                      <a:pt x="402" y="402"/>
                    </a:lnTo>
                    <a:lnTo>
                      <a:pt x="388" y="402"/>
                    </a:lnTo>
                    <a:lnTo>
                      <a:pt x="402" y="431"/>
                    </a:lnTo>
                    <a:lnTo>
                      <a:pt x="399" y="437"/>
                    </a:lnTo>
                    <a:lnTo>
                      <a:pt x="380" y="426"/>
                    </a:lnTo>
                    <a:lnTo>
                      <a:pt x="377" y="418"/>
                    </a:lnTo>
                    <a:lnTo>
                      <a:pt x="367" y="400"/>
                    </a:lnTo>
                    <a:lnTo>
                      <a:pt x="356" y="399"/>
                    </a:lnTo>
                    <a:lnTo>
                      <a:pt x="313" y="353"/>
                    </a:lnTo>
                    <a:lnTo>
                      <a:pt x="270" y="345"/>
                    </a:lnTo>
                    <a:lnTo>
                      <a:pt x="243" y="332"/>
                    </a:lnTo>
                    <a:lnTo>
                      <a:pt x="233" y="333"/>
                    </a:lnTo>
                    <a:lnTo>
                      <a:pt x="232" y="341"/>
                    </a:lnTo>
                    <a:lnTo>
                      <a:pt x="225" y="354"/>
                    </a:lnTo>
                    <a:lnTo>
                      <a:pt x="157" y="367"/>
                    </a:lnTo>
                    <a:lnTo>
                      <a:pt x="152" y="371"/>
                    </a:lnTo>
                    <a:lnTo>
                      <a:pt x="146" y="382"/>
                    </a:lnTo>
                    <a:lnTo>
                      <a:pt x="140" y="404"/>
                    </a:lnTo>
                    <a:lnTo>
                      <a:pt x="136" y="426"/>
                    </a:lnTo>
                    <a:lnTo>
                      <a:pt x="147" y="430"/>
                    </a:lnTo>
                    <a:lnTo>
                      <a:pt x="144" y="436"/>
                    </a:lnTo>
                    <a:lnTo>
                      <a:pt x="125" y="442"/>
                    </a:lnTo>
                    <a:lnTo>
                      <a:pt x="118" y="452"/>
                    </a:lnTo>
                    <a:lnTo>
                      <a:pt x="108" y="474"/>
                    </a:lnTo>
                    <a:lnTo>
                      <a:pt x="114" y="488"/>
                    </a:lnTo>
                    <a:lnTo>
                      <a:pt x="115" y="502"/>
                    </a:lnTo>
                    <a:lnTo>
                      <a:pt x="117" y="507"/>
                    </a:lnTo>
                    <a:lnTo>
                      <a:pt x="115" y="523"/>
                    </a:lnTo>
                    <a:lnTo>
                      <a:pt x="117" y="529"/>
                    </a:lnTo>
                    <a:lnTo>
                      <a:pt x="125" y="524"/>
                    </a:lnTo>
                    <a:lnTo>
                      <a:pt x="140" y="531"/>
                    </a:lnTo>
                    <a:lnTo>
                      <a:pt x="127" y="534"/>
                    </a:lnTo>
                    <a:lnTo>
                      <a:pt x="119" y="542"/>
                    </a:lnTo>
                    <a:lnTo>
                      <a:pt x="117" y="549"/>
                    </a:lnTo>
                    <a:lnTo>
                      <a:pt x="118" y="552"/>
                    </a:lnTo>
                    <a:lnTo>
                      <a:pt x="144" y="558"/>
                    </a:lnTo>
                    <a:lnTo>
                      <a:pt x="170" y="545"/>
                    </a:lnTo>
                    <a:lnTo>
                      <a:pt x="176" y="526"/>
                    </a:lnTo>
                    <a:lnTo>
                      <a:pt x="184" y="528"/>
                    </a:lnTo>
                    <a:lnTo>
                      <a:pt x="188" y="523"/>
                    </a:lnTo>
                    <a:lnTo>
                      <a:pt x="192" y="511"/>
                    </a:lnTo>
                    <a:lnTo>
                      <a:pt x="193" y="500"/>
                    </a:lnTo>
                    <a:lnTo>
                      <a:pt x="205" y="486"/>
                    </a:lnTo>
                    <a:lnTo>
                      <a:pt x="205" y="493"/>
                    </a:lnTo>
                    <a:lnTo>
                      <a:pt x="199" y="515"/>
                    </a:lnTo>
                    <a:lnTo>
                      <a:pt x="185" y="542"/>
                    </a:lnTo>
                    <a:lnTo>
                      <a:pt x="187" y="547"/>
                    </a:lnTo>
                    <a:lnTo>
                      <a:pt x="187" y="554"/>
                    </a:lnTo>
                    <a:lnTo>
                      <a:pt x="188" y="561"/>
                    </a:lnTo>
                    <a:lnTo>
                      <a:pt x="194" y="566"/>
                    </a:lnTo>
                    <a:lnTo>
                      <a:pt x="221" y="553"/>
                    </a:lnTo>
                    <a:lnTo>
                      <a:pt x="226" y="558"/>
                    </a:lnTo>
                    <a:lnTo>
                      <a:pt x="233" y="550"/>
                    </a:lnTo>
                    <a:lnTo>
                      <a:pt x="247" y="523"/>
                    </a:lnTo>
                    <a:lnTo>
                      <a:pt x="249" y="510"/>
                    </a:lnTo>
                    <a:lnTo>
                      <a:pt x="254" y="499"/>
                    </a:lnTo>
                    <a:lnTo>
                      <a:pt x="258" y="472"/>
                    </a:lnTo>
                    <a:lnTo>
                      <a:pt x="263" y="458"/>
                    </a:lnTo>
                    <a:lnTo>
                      <a:pt x="263" y="447"/>
                    </a:lnTo>
                    <a:lnTo>
                      <a:pt x="273" y="425"/>
                    </a:lnTo>
                    <a:lnTo>
                      <a:pt x="264" y="454"/>
                    </a:lnTo>
                    <a:lnTo>
                      <a:pt x="263" y="483"/>
                    </a:lnTo>
                    <a:lnTo>
                      <a:pt x="265" y="490"/>
                    </a:lnTo>
                    <a:lnTo>
                      <a:pt x="270" y="491"/>
                    </a:lnTo>
                    <a:lnTo>
                      <a:pt x="276" y="486"/>
                    </a:lnTo>
                    <a:lnTo>
                      <a:pt x="274" y="494"/>
                    </a:lnTo>
                    <a:lnTo>
                      <a:pt x="263" y="505"/>
                    </a:lnTo>
                    <a:lnTo>
                      <a:pt x="259" y="513"/>
                    </a:lnTo>
                    <a:lnTo>
                      <a:pt x="259" y="531"/>
                    </a:lnTo>
                    <a:lnTo>
                      <a:pt x="260" y="536"/>
                    </a:lnTo>
                    <a:lnTo>
                      <a:pt x="278" y="529"/>
                    </a:lnTo>
                    <a:lnTo>
                      <a:pt x="286" y="532"/>
                    </a:lnTo>
                    <a:lnTo>
                      <a:pt x="294" y="536"/>
                    </a:lnTo>
                    <a:lnTo>
                      <a:pt x="296" y="542"/>
                    </a:lnTo>
                    <a:lnTo>
                      <a:pt x="303" y="538"/>
                    </a:lnTo>
                    <a:lnTo>
                      <a:pt x="303" y="545"/>
                    </a:lnTo>
                    <a:lnTo>
                      <a:pt x="298" y="552"/>
                    </a:lnTo>
                    <a:lnTo>
                      <a:pt x="275" y="542"/>
                    </a:lnTo>
                    <a:lnTo>
                      <a:pt x="252" y="547"/>
                    </a:lnTo>
                    <a:lnTo>
                      <a:pt x="246" y="555"/>
                    </a:lnTo>
                    <a:lnTo>
                      <a:pt x="246" y="561"/>
                    </a:lnTo>
                    <a:lnTo>
                      <a:pt x="243" y="570"/>
                    </a:lnTo>
                    <a:lnTo>
                      <a:pt x="257" y="576"/>
                    </a:lnTo>
                    <a:lnTo>
                      <a:pt x="247" y="581"/>
                    </a:lnTo>
                    <a:lnTo>
                      <a:pt x="232" y="576"/>
                    </a:lnTo>
                    <a:lnTo>
                      <a:pt x="226" y="580"/>
                    </a:lnTo>
                    <a:lnTo>
                      <a:pt x="208" y="602"/>
                    </a:lnTo>
                    <a:lnTo>
                      <a:pt x="209" y="607"/>
                    </a:lnTo>
                    <a:lnTo>
                      <a:pt x="214" y="608"/>
                    </a:lnTo>
                    <a:lnTo>
                      <a:pt x="219" y="618"/>
                    </a:lnTo>
                    <a:lnTo>
                      <a:pt x="230" y="609"/>
                    </a:lnTo>
                    <a:lnTo>
                      <a:pt x="253" y="608"/>
                    </a:lnTo>
                    <a:lnTo>
                      <a:pt x="259" y="602"/>
                    </a:lnTo>
                    <a:lnTo>
                      <a:pt x="264" y="604"/>
                    </a:lnTo>
                    <a:lnTo>
                      <a:pt x="265" y="609"/>
                    </a:lnTo>
                    <a:lnTo>
                      <a:pt x="259" y="610"/>
                    </a:lnTo>
                    <a:lnTo>
                      <a:pt x="249" y="620"/>
                    </a:lnTo>
                    <a:lnTo>
                      <a:pt x="251" y="617"/>
                    </a:lnTo>
                    <a:lnTo>
                      <a:pt x="247" y="615"/>
                    </a:lnTo>
                    <a:lnTo>
                      <a:pt x="230" y="618"/>
                    </a:lnTo>
                    <a:lnTo>
                      <a:pt x="227" y="620"/>
                    </a:lnTo>
                    <a:lnTo>
                      <a:pt x="226" y="626"/>
                    </a:lnTo>
                    <a:lnTo>
                      <a:pt x="227" y="631"/>
                    </a:lnTo>
                    <a:lnTo>
                      <a:pt x="247" y="626"/>
                    </a:lnTo>
                    <a:lnTo>
                      <a:pt x="238" y="637"/>
                    </a:lnTo>
                    <a:lnTo>
                      <a:pt x="235" y="651"/>
                    </a:lnTo>
                    <a:lnTo>
                      <a:pt x="235" y="655"/>
                    </a:lnTo>
                    <a:lnTo>
                      <a:pt x="238" y="669"/>
                    </a:lnTo>
                    <a:lnTo>
                      <a:pt x="254" y="682"/>
                    </a:lnTo>
                    <a:lnTo>
                      <a:pt x="265" y="663"/>
                    </a:lnTo>
                    <a:lnTo>
                      <a:pt x="267" y="650"/>
                    </a:lnTo>
                    <a:lnTo>
                      <a:pt x="269" y="645"/>
                    </a:lnTo>
                    <a:lnTo>
                      <a:pt x="271" y="660"/>
                    </a:lnTo>
                    <a:lnTo>
                      <a:pt x="260" y="687"/>
                    </a:lnTo>
                    <a:lnTo>
                      <a:pt x="263" y="701"/>
                    </a:lnTo>
                    <a:lnTo>
                      <a:pt x="278" y="704"/>
                    </a:lnTo>
                    <a:lnTo>
                      <a:pt x="292" y="700"/>
                    </a:lnTo>
                    <a:lnTo>
                      <a:pt x="314" y="708"/>
                    </a:lnTo>
                    <a:lnTo>
                      <a:pt x="333" y="698"/>
                    </a:lnTo>
                    <a:lnTo>
                      <a:pt x="343" y="684"/>
                    </a:lnTo>
                    <a:lnTo>
                      <a:pt x="351" y="657"/>
                    </a:lnTo>
                    <a:lnTo>
                      <a:pt x="359" y="639"/>
                    </a:lnTo>
                    <a:lnTo>
                      <a:pt x="366" y="628"/>
                    </a:lnTo>
                    <a:lnTo>
                      <a:pt x="373" y="599"/>
                    </a:lnTo>
                    <a:lnTo>
                      <a:pt x="373" y="587"/>
                    </a:lnTo>
                    <a:lnTo>
                      <a:pt x="377" y="579"/>
                    </a:lnTo>
                    <a:lnTo>
                      <a:pt x="383" y="571"/>
                    </a:lnTo>
                    <a:lnTo>
                      <a:pt x="396" y="572"/>
                    </a:lnTo>
                    <a:lnTo>
                      <a:pt x="383" y="587"/>
                    </a:lnTo>
                    <a:lnTo>
                      <a:pt x="383" y="602"/>
                    </a:lnTo>
                    <a:lnTo>
                      <a:pt x="378" y="623"/>
                    </a:lnTo>
                    <a:lnTo>
                      <a:pt x="366" y="649"/>
                    </a:lnTo>
                    <a:lnTo>
                      <a:pt x="365" y="657"/>
                    </a:lnTo>
                    <a:lnTo>
                      <a:pt x="360" y="668"/>
                    </a:lnTo>
                    <a:lnTo>
                      <a:pt x="341" y="696"/>
                    </a:lnTo>
                    <a:lnTo>
                      <a:pt x="340" y="701"/>
                    </a:lnTo>
                    <a:lnTo>
                      <a:pt x="323" y="719"/>
                    </a:lnTo>
                    <a:lnTo>
                      <a:pt x="323" y="726"/>
                    </a:lnTo>
                    <a:lnTo>
                      <a:pt x="326" y="730"/>
                    </a:lnTo>
                    <a:lnTo>
                      <a:pt x="335" y="732"/>
                    </a:lnTo>
                    <a:lnTo>
                      <a:pt x="335" y="739"/>
                    </a:lnTo>
                    <a:lnTo>
                      <a:pt x="329" y="742"/>
                    </a:lnTo>
                    <a:lnTo>
                      <a:pt x="313" y="736"/>
                    </a:lnTo>
                    <a:lnTo>
                      <a:pt x="306" y="728"/>
                    </a:lnTo>
                    <a:lnTo>
                      <a:pt x="278" y="733"/>
                    </a:lnTo>
                    <a:lnTo>
                      <a:pt x="284" y="746"/>
                    </a:lnTo>
                    <a:lnTo>
                      <a:pt x="285" y="750"/>
                    </a:lnTo>
                    <a:lnTo>
                      <a:pt x="284" y="757"/>
                    </a:lnTo>
                    <a:lnTo>
                      <a:pt x="276" y="758"/>
                    </a:lnTo>
                    <a:lnTo>
                      <a:pt x="256" y="738"/>
                    </a:lnTo>
                    <a:lnTo>
                      <a:pt x="233" y="736"/>
                    </a:lnTo>
                    <a:lnTo>
                      <a:pt x="215" y="723"/>
                    </a:lnTo>
                    <a:lnTo>
                      <a:pt x="211" y="726"/>
                    </a:lnTo>
                    <a:lnTo>
                      <a:pt x="213" y="716"/>
                    </a:lnTo>
                    <a:lnTo>
                      <a:pt x="209" y="711"/>
                    </a:lnTo>
                    <a:lnTo>
                      <a:pt x="205" y="689"/>
                    </a:lnTo>
                    <a:lnTo>
                      <a:pt x="199" y="678"/>
                    </a:lnTo>
                    <a:lnTo>
                      <a:pt x="194" y="665"/>
                    </a:lnTo>
                    <a:lnTo>
                      <a:pt x="188" y="656"/>
                    </a:lnTo>
                    <a:lnTo>
                      <a:pt x="187" y="646"/>
                    </a:lnTo>
                    <a:lnTo>
                      <a:pt x="168" y="622"/>
                    </a:lnTo>
                    <a:lnTo>
                      <a:pt x="119" y="612"/>
                    </a:lnTo>
                    <a:lnTo>
                      <a:pt x="88" y="628"/>
                    </a:lnTo>
                    <a:lnTo>
                      <a:pt x="82" y="626"/>
                    </a:lnTo>
                    <a:lnTo>
                      <a:pt x="75" y="636"/>
                    </a:lnTo>
                    <a:lnTo>
                      <a:pt x="69" y="636"/>
                    </a:lnTo>
                    <a:lnTo>
                      <a:pt x="70" y="647"/>
                    </a:lnTo>
                    <a:lnTo>
                      <a:pt x="69" y="650"/>
                    </a:lnTo>
                    <a:lnTo>
                      <a:pt x="72" y="655"/>
                    </a:lnTo>
                    <a:lnTo>
                      <a:pt x="70" y="679"/>
                    </a:lnTo>
                    <a:lnTo>
                      <a:pt x="88" y="693"/>
                    </a:lnTo>
                    <a:lnTo>
                      <a:pt x="88" y="699"/>
                    </a:lnTo>
                    <a:lnTo>
                      <a:pt x="99" y="714"/>
                    </a:lnTo>
                    <a:lnTo>
                      <a:pt x="101" y="716"/>
                    </a:lnTo>
                    <a:lnTo>
                      <a:pt x="98" y="735"/>
                    </a:lnTo>
                    <a:lnTo>
                      <a:pt x="102" y="743"/>
                    </a:lnTo>
                    <a:lnTo>
                      <a:pt x="103" y="750"/>
                    </a:lnTo>
                    <a:lnTo>
                      <a:pt x="120" y="757"/>
                    </a:lnTo>
                    <a:lnTo>
                      <a:pt x="131" y="748"/>
                    </a:lnTo>
                    <a:lnTo>
                      <a:pt x="144" y="748"/>
                    </a:lnTo>
                    <a:lnTo>
                      <a:pt x="145" y="753"/>
                    </a:lnTo>
                    <a:lnTo>
                      <a:pt x="127" y="768"/>
                    </a:lnTo>
                    <a:lnTo>
                      <a:pt x="128" y="770"/>
                    </a:lnTo>
                    <a:lnTo>
                      <a:pt x="139" y="773"/>
                    </a:lnTo>
                    <a:lnTo>
                      <a:pt x="139" y="776"/>
                    </a:lnTo>
                    <a:lnTo>
                      <a:pt x="129" y="781"/>
                    </a:lnTo>
                    <a:lnTo>
                      <a:pt x="129" y="790"/>
                    </a:lnTo>
                    <a:lnTo>
                      <a:pt x="130" y="793"/>
                    </a:lnTo>
                    <a:lnTo>
                      <a:pt x="134" y="790"/>
                    </a:lnTo>
                    <a:lnTo>
                      <a:pt x="152" y="796"/>
                    </a:lnTo>
                    <a:lnTo>
                      <a:pt x="147" y="801"/>
                    </a:lnTo>
                    <a:lnTo>
                      <a:pt x="146" y="807"/>
                    </a:lnTo>
                    <a:lnTo>
                      <a:pt x="135" y="801"/>
                    </a:lnTo>
                    <a:lnTo>
                      <a:pt x="134" y="795"/>
                    </a:lnTo>
                    <a:lnTo>
                      <a:pt x="118" y="800"/>
                    </a:lnTo>
                    <a:lnTo>
                      <a:pt x="113" y="807"/>
                    </a:lnTo>
                    <a:lnTo>
                      <a:pt x="118" y="814"/>
                    </a:lnTo>
                    <a:lnTo>
                      <a:pt x="104" y="817"/>
                    </a:lnTo>
                    <a:lnTo>
                      <a:pt x="103" y="811"/>
                    </a:lnTo>
                    <a:lnTo>
                      <a:pt x="101" y="811"/>
                    </a:lnTo>
                    <a:lnTo>
                      <a:pt x="92" y="819"/>
                    </a:lnTo>
                    <a:lnTo>
                      <a:pt x="85" y="813"/>
                    </a:lnTo>
                    <a:lnTo>
                      <a:pt x="72" y="811"/>
                    </a:lnTo>
                    <a:lnTo>
                      <a:pt x="69" y="813"/>
                    </a:lnTo>
                    <a:lnTo>
                      <a:pt x="68" y="824"/>
                    </a:lnTo>
                    <a:lnTo>
                      <a:pt x="56" y="829"/>
                    </a:lnTo>
                    <a:lnTo>
                      <a:pt x="49" y="835"/>
                    </a:lnTo>
                    <a:lnTo>
                      <a:pt x="45" y="845"/>
                    </a:lnTo>
                    <a:lnTo>
                      <a:pt x="10" y="871"/>
                    </a:lnTo>
                    <a:lnTo>
                      <a:pt x="4" y="892"/>
                    </a:lnTo>
                    <a:lnTo>
                      <a:pt x="6" y="903"/>
                    </a:lnTo>
                    <a:lnTo>
                      <a:pt x="5" y="919"/>
                    </a:lnTo>
                    <a:lnTo>
                      <a:pt x="2" y="932"/>
                    </a:lnTo>
                    <a:lnTo>
                      <a:pt x="0" y="941"/>
                    </a:lnTo>
                    <a:lnTo>
                      <a:pt x="18" y="974"/>
                    </a:lnTo>
                    <a:lnTo>
                      <a:pt x="26" y="975"/>
                    </a:lnTo>
                    <a:lnTo>
                      <a:pt x="39" y="958"/>
                    </a:lnTo>
                    <a:lnTo>
                      <a:pt x="42" y="941"/>
                    </a:lnTo>
                    <a:lnTo>
                      <a:pt x="47" y="970"/>
                    </a:lnTo>
                    <a:lnTo>
                      <a:pt x="53" y="946"/>
                    </a:lnTo>
                    <a:lnTo>
                      <a:pt x="45" y="897"/>
                    </a:lnTo>
                    <a:lnTo>
                      <a:pt x="53" y="886"/>
                    </a:lnTo>
                    <a:lnTo>
                      <a:pt x="55" y="904"/>
                    </a:lnTo>
                    <a:lnTo>
                      <a:pt x="55" y="937"/>
                    </a:lnTo>
                    <a:lnTo>
                      <a:pt x="59" y="976"/>
                    </a:lnTo>
                    <a:lnTo>
                      <a:pt x="79" y="979"/>
                    </a:lnTo>
                    <a:lnTo>
                      <a:pt x="84" y="990"/>
                    </a:lnTo>
                    <a:lnTo>
                      <a:pt x="99" y="985"/>
                    </a:lnTo>
                    <a:lnTo>
                      <a:pt x="104" y="967"/>
                    </a:lnTo>
                    <a:lnTo>
                      <a:pt x="102" y="945"/>
                    </a:lnTo>
                    <a:lnTo>
                      <a:pt x="108" y="964"/>
                    </a:lnTo>
                    <a:lnTo>
                      <a:pt x="124" y="975"/>
                    </a:lnTo>
                    <a:lnTo>
                      <a:pt x="129" y="985"/>
                    </a:lnTo>
                    <a:lnTo>
                      <a:pt x="142" y="989"/>
                    </a:lnTo>
                    <a:lnTo>
                      <a:pt x="146" y="970"/>
                    </a:lnTo>
                    <a:lnTo>
                      <a:pt x="158" y="958"/>
                    </a:lnTo>
                    <a:lnTo>
                      <a:pt x="158" y="934"/>
                    </a:lnTo>
                    <a:lnTo>
                      <a:pt x="163" y="945"/>
                    </a:lnTo>
                    <a:lnTo>
                      <a:pt x="165" y="961"/>
                    </a:lnTo>
                    <a:lnTo>
                      <a:pt x="163" y="965"/>
                    </a:lnTo>
                    <a:lnTo>
                      <a:pt x="190" y="995"/>
                    </a:lnTo>
                    <a:lnTo>
                      <a:pt x="200" y="1004"/>
                    </a:lnTo>
                    <a:lnTo>
                      <a:pt x="225" y="1006"/>
                    </a:lnTo>
                    <a:lnTo>
                      <a:pt x="227" y="1016"/>
                    </a:lnTo>
                    <a:lnTo>
                      <a:pt x="274" y="1008"/>
                    </a:lnTo>
                    <a:lnTo>
                      <a:pt x="243" y="964"/>
                    </a:lnTo>
                    <a:lnTo>
                      <a:pt x="242" y="943"/>
                    </a:lnTo>
                    <a:lnTo>
                      <a:pt x="256" y="973"/>
                    </a:lnTo>
                    <a:lnTo>
                      <a:pt x="269" y="974"/>
                    </a:lnTo>
                    <a:lnTo>
                      <a:pt x="286" y="957"/>
                    </a:lnTo>
                    <a:lnTo>
                      <a:pt x="286" y="925"/>
                    </a:lnTo>
                    <a:lnTo>
                      <a:pt x="310" y="964"/>
                    </a:lnTo>
                    <a:lnTo>
                      <a:pt x="330" y="976"/>
                    </a:lnTo>
                    <a:lnTo>
                      <a:pt x="344" y="968"/>
                    </a:lnTo>
                    <a:lnTo>
                      <a:pt x="345" y="942"/>
                    </a:lnTo>
                    <a:lnTo>
                      <a:pt x="333" y="906"/>
                    </a:lnTo>
                    <a:lnTo>
                      <a:pt x="332" y="897"/>
                    </a:lnTo>
                    <a:lnTo>
                      <a:pt x="339" y="909"/>
                    </a:lnTo>
                    <a:lnTo>
                      <a:pt x="357" y="974"/>
                    </a:lnTo>
                    <a:lnTo>
                      <a:pt x="372" y="985"/>
                    </a:lnTo>
                    <a:lnTo>
                      <a:pt x="399" y="979"/>
                    </a:lnTo>
                    <a:lnTo>
                      <a:pt x="407" y="953"/>
                    </a:lnTo>
                    <a:lnTo>
                      <a:pt x="398" y="935"/>
                    </a:lnTo>
                    <a:lnTo>
                      <a:pt x="384" y="913"/>
                    </a:lnTo>
                    <a:lnTo>
                      <a:pt x="394" y="922"/>
                    </a:lnTo>
                    <a:lnTo>
                      <a:pt x="412" y="925"/>
                    </a:lnTo>
                    <a:lnTo>
                      <a:pt x="413" y="932"/>
                    </a:lnTo>
                    <a:lnTo>
                      <a:pt x="413" y="949"/>
                    </a:lnTo>
                    <a:lnTo>
                      <a:pt x="419" y="961"/>
                    </a:lnTo>
                    <a:lnTo>
                      <a:pt x="440" y="965"/>
                    </a:lnTo>
                    <a:lnTo>
                      <a:pt x="456" y="958"/>
                    </a:lnTo>
                    <a:lnTo>
                      <a:pt x="466" y="961"/>
                    </a:lnTo>
                    <a:lnTo>
                      <a:pt x="474" y="974"/>
                    </a:lnTo>
                    <a:lnTo>
                      <a:pt x="475" y="989"/>
                    </a:lnTo>
                    <a:lnTo>
                      <a:pt x="469" y="1012"/>
                    </a:lnTo>
                    <a:lnTo>
                      <a:pt x="463" y="1023"/>
                    </a:lnTo>
                    <a:lnTo>
                      <a:pt x="469" y="1037"/>
                    </a:lnTo>
                    <a:lnTo>
                      <a:pt x="513" y="1013"/>
                    </a:lnTo>
                    <a:lnTo>
                      <a:pt x="541" y="1005"/>
                    </a:lnTo>
                    <a:lnTo>
                      <a:pt x="559" y="985"/>
                    </a:lnTo>
                    <a:lnTo>
                      <a:pt x="581" y="943"/>
                    </a:lnTo>
                    <a:lnTo>
                      <a:pt x="586" y="973"/>
                    </a:lnTo>
                    <a:lnTo>
                      <a:pt x="608" y="957"/>
                    </a:lnTo>
                    <a:lnTo>
                      <a:pt x="612" y="941"/>
                    </a:lnTo>
                    <a:lnTo>
                      <a:pt x="633" y="934"/>
                    </a:lnTo>
                    <a:lnTo>
                      <a:pt x="635" y="919"/>
                    </a:lnTo>
                    <a:lnTo>
                      <a:pt x="638" y="892"/>
                    </a:lnTo>
                    <a:lnTo>
                      <a:pt x="634" y="863"/>
                    </a:lnTo>
                    <a:lnTo>
                      <a:pt x="625" y="844"/>
                    </a:lnTo>
                    <a:lnTo>
                      <a:pt x="606" y="850"/>
                    </a:lnTo>
                    <a:lnTo>
                      <a:pt x="595" y="865"/>
                    </a:lnTo>
                    <a:lnTo>
                      <a:pt x="586" y="879"/>
                    </a:lnTo>
                    <a:lnTo>
                      <a:pt x="575" y="877"/>
                    </a:lnTo>
                    <a:lnTo>
                      <a:pt x="576" y="861"/>
                    </a:lnTo>
                    <a:lnTo>
                      <a:pt x="555" y="849"/>
                    </a:lnTo>
                    <a:lnTo>
                      <a:pt x="558" y="843"/>
                    </a:lnTo>
                    <a:lnTo>
                      <a:pt x="565" y="836"/>
                    </a:lnTo>
                    <a:lnTo>
                      <a:pt x="576" y="829"/>
                    </a:lnTo>
                    <a:lnTo>
                      <a:pt x="581" y="816"/>
                    </a:lnTo>
                    <a:lnTo>
                      <a:pt x="579" y="807"/>
                    </a:lnTo>
                    <a:lnTo>
                      <a:pt x="570" y="792"/>
                    </a:lnTo>
                    <a:lnTo>
                      <a:pt x="556" y="789"/>
                    </a:lnTo>
                    <a:lnTo>
                      <a:pt x="539" y="790"/>
                    </a:lnTo>
                    <a:lnTo>
                      <a:pt x="512" y="821"/>
                    </a:lnTo>
                    <a:lnTo>
                      <a:pt x="506" y="819"/>
                    </a:lnTo>
                    <a:lnTo>
                      <a:pt x="518" y="801"/>
                    </a:lnTo>
                    <a:lnTo>
                      <a:pt x="517" y="789"/>
                    </a:lnTo>
                    <a:lnTo>
                      <a:pt x="473" y="781"/>
                    </a:lnTo>
                    <a:lnTo>
                      <a:pt x="452" y="785"/>
                    </a:lnTo>
                    <a:lnTo>
                      <a:pt x="426" y="818"/>
                    </a:lnTo>
                    <a:lnTo>
                      <a:pt x="423" y="805"/>
                    </a:lnTo>
                    <a:lnTo>
                      <a:pt x="420" y="786"/>
                    </a:lnTo>
                    <a:lnTo>
                      <a:pt x="414" y="776"/>
                    </a:lnTo>
                    <a:lnTo>
                      <a:pt x="429" y="779"/>
                    </a:lnTo>
                    <a:lnTo>
                      <a:pt x="458" y="766"/>
                    </a:lnTo>
                    <a:lnTo>
                      <a:pt x="458" y="760"/>
                    </a:lnTo>
                    <a:lnTo>
                      <a:pt x="441" y="748"/>
                    </a:lnTo>
                    <a:lnTo>
                      <a:pt x="437" y="732"/>
                    </a:lnTo>
                    <a:lnTo>
                      <a:pt x="439" y="722"/>
                    </a:lnTo>
                    <a:lnTo>
                      <a:pt x="467" y="754"/>
                    </a:lnTo>
                    <a:lnTo>
                      <a:pt x="498" y="773"/>
                    </a:lnTo>
                    <a:lnTo>
                      <a:pt x="577" y="770"/>
                    </a:lnTo>
                    <a:lnTo>
                      <a:pt x="585" y="758"/>
                    </a:lnTo>
                    <a:lnTo>
                      <a:pt x="593" y="762"/>
                    </a:lnTo>
                    <a:lnTo>
                      <a:pt x="592" y="768"/>
                    </a:lnTo>
                    <a:lnTo>
                      <a:pt x="592" y="770"/>
                    </a:lnTo>
                    <a:lnTo>
                      <a:pt x="622" y="753"/>
                    </a:lnTo>
                    <a:lnTo>
                      <a:pt x="635" y="725"/>
                    </a:lnTo>
                    <a:lnTo>
                      <a:pt x="638" y="709"/>
                    </a:lnTo>
                    <a:lnTo>
                      <a:pt x="636" y="701"/>
                    </a:lnTo>
                    <a:lnTo>
                      <a:pt x="652" y="694"/>
                    </a:lnTo>
                    <a:lnTo>
                      <a:pt x="654" y="687"/>
                    </a:lnTo>
                    <a:lnTo>
                      <a:pt x="634" y="668"/>
                    </a:lnTo>
                    <a:lnTo>
                      <a:pt x="634" y="658"/>
                    </a:lnTo>
                    <a:lnTo>
                      <a:pt x="636" y="650"/>
                    </a:lnTo>
                    <a:lnTo>
                      <a:pt x="630" y="633"/>
                    </a:lnTo>
                    <a:lnTo>
                      <a:pt x="623" y="628"/>
                    </a:lnTo>
                    <a:lnTo>
                      <a:pt x="624" y="625"/>
                    </a:lnTo>
                    <a:lnTo>
                      <a:pt x="624" y="614"/>
                    </a:lnTo>
                    <a:lnTo>
                      <a:pt x="622" y="603"/>
                    </a:lnTo>
                    <a:lnTo>
                      <a:pt x="622" y="596"/>
                    </a:lnTo>
                    <a:lnTo>
                      <a:pt x="634" y="603"/>
                    </a:lnTo>
                    <a:lnTo>
                      <a:pt x="679" y="604"/>
                    </a:lnTo>
                    <a:lnTo>
                      <a:pt x="687" y="613"/>
                    </a:lnTo>
                    <a:lnTo>
                      <a:pt x="706" y="607"/>
                    </a:lnTo>
                    <a:lnTo>
                      <a:pt x="727" y="583"/>
                    </a:lnTo>
                    <a:lnTo>
                      <a:pt x="743" y="591"/>
                    </a:lnTo>
                    <a:lnTo>
                      <a:pt x="746" y="599"/>
                    </a:lnTo>
                    <a:lnTo>
                      <a:pt x="760" y="574"/>
                    </a:lnTo>
                    <a:lnTo>
                      <a:pt x="760" y="570"/>
                    </a:lnTo>
                    <a:lnTo>
                      <a:pt x="768" y="555"/>
                    </a:lnTo>
                    <a:lnTo>
                      <a:pt x="714" y="545"/>
                    </a:lnTo>
                    <a:lnTo>
                      <a:pt x="690" y="537"/>
                    </a:lnTo>
                    <a:lnTo>
                      <a:pt x="709" y="522"/>
                    </a:lnTo>
                    <a:lnTo>
                      <a:pt x="728" y="523"/>
                    </a:lnTo>
                    <a:lnTo>
                      <a:pt x="764" y="539"/>
                    </a:lnTo>
                    <a:lnTo>
                      <a:pt x="776" y="511"/>
                    </a:lnTo>
                    <a:lnTo>
                      <a:pt x="795" y="501"/>
                    </a:lnTo>
                    <a:lnTo>
                      <a:pt x="797" y="493"/>
                    </a:lnTo>
                    <a:lnTo>
                      <a:pt x="787" y="477"/>
                    </a:lnTo>
                    <a:lnTo>
                      <a:pt x="775" y="468"/>
                    </a:lnTo>
                    <a:lnTo>
                      <a:pt x="751" y="463"/>
                    </a:lnTo>
                    <a:lnTo>
                      <a:pt x="738" y="453"/>
                    </a:lnTo>
                    <a:lnTo>
                      <a:pt x="725" y="450"/>
                    </a:lnTo>
                    <a:lnTo>
                      <a:pt x="733" y="445"/>
                    </a:lnTo>
                    <a:lnTo>
                      <a:pt x="749" y="447"/>
                    </a:lnTo>
                    <a:lnTo>
                      <a:pt x="786" y="443"/>
                    </a:lnTo>
                    <a:lnTo>
                      <a:pt x="798" y="439"/>
                    </a:lnTo>
                    <a:lnTo>
                      <a:pt x="805" y="430"/>
                    </a:lnTo>
                    <a:lnTo>
                      <a:pt x="819" y="420"/>
                    </a:lnTo>
                    <a:lnTo>
                      <a:pt x="813" y="411"/>
                    </a:lnTo>
                    <a:lnTo>
                      <a:pt x="813" y="402"/>
                    </a:lnTo>
                    <a:lnTo>
                      <a:pt x="817" y="392"/>
                    </a:lnTo>
                    <a:lnTo>
                      <a:pt x="816" y="375"/>
                    </a:lnTo>
                    <a:lnTo>
                      <a:pt x="813" y="354"/>
                    </a:lnTo>
                    <a:lnTo>
                      <a:pt x="802" y="344"/>
                    </a:lnTo>
                    <a:lnTo>
                      <a:pt x="774" y="334"/>
                    </a:lnTo>
                    <a:lnTo>
                      <a:pt x="733" y="340"/>
                    </a:lnTo>
                    <a:lnTo>
                      <a:pt x="733" y="332"/>
                    </a:lnTo>
                    <a:lnTo>
                      <a:pt x="748" y="327"/>
                    </a:lnTo>
                    <a:lnTo>
                      <a:pt x="757" y="319"/>
                    </a:lnTo>
                    <a:lnTo>
                      <a:pt x="757" y="313"/>
                    </a:lnTo>
                    <a:lnTo>
                      <a:pt x="749" y="303"/>
                    </a:lnTo>
                    <a:lnTo>
                      <a:pt x="678" y="310"/>
                    </a:lnTo>
                    <a:lnTo>
                      <a:pt x="665" y="316"/>
                    </a:lnTo>
                    <a:lnTo>
                      <a:pt x="655" y="329"/>
                    </a:lnTo>
                    <a:lnTo>
                      <a:pt x="647" y="330"/>
                    </a:lnTo>
                    <a:lnTo>
                      <a:pt x="656" y="314"/>
                    </a:lnTo>
                    <a:lnTo>
                      <a:pt x="658" y="302"/>
                    </a:lnTo>
                    <a:lnTo>
                      <a:pt x="647" y="300"/>
                    </a:lnTo>
                    <a:lnTo>
                      <a:pt x="645" y="291"/>
                    </a:lnTo>
                    <a:lnTo>
                      <a:pt x="669" y="298"/>
                    </a:lnTo>
                    <a:lnTo>
                      <a:pt x="712" y="284"/>
                    </a:lnTo>
                    <a:lnTo>
                      <a:pt x="740" y="287"/>
                    </a:lnTo>
                    <a:lnTo>
                      <a:pt x="740" y="279"/>
                    </a:lnTo>
                    <a:lnTo>
                      <a:pt x="716" y="269"/>
                    </a:lnTo>
                    <a:lnTo>
                      <a:pt x="652" y="267"/>
                    </a:lnTo>
                    <a:lnTo>
                      <a:pt x="644" y="260"/>
                    </a:lnTo>
                    <a:lnTo>
                      <a:pt x="658" y="255"/>
                    </a:lnTo>
                    <a:lnTo>
                      <a:pt x="704" y="255"/>
                    </a:lnTo>
                    <a:lnTo>
                      <a:pt x="715" y="247"/>
                    </a:lnTo>
                    <a:lnTo>
                      <a:pt x="732" y="249"/>
                    </a:lnTo>
                    <a:lnTo>
                      <a:pt x="748" y="255"/>
                    </a:lnTo>
                    <a:lnTo>
                      <a:pt x="754" y="263"/>
                    </a:lnTo>
                    <a:lnTo>
                      <a:pt x="753" y="276"/>
                    </a:lnTo>
                    <a:lnTo>
                      <a:pt x="758" y="289"/>
                    </a:lnTo>
                    <a:lnTo>
                      <a:pt x="769" y="295"/>
                    </a:lnTo>
                    <a:lnTo>
                      <a:pt x="819" y="302"/>
                    </a:lnTo>
                    <a:lnTo>
                      <a:pt x="827" y="298"/>
                    </a:lnTo>
                    <a:lnTo>
                      <a:pt x="829" y="287"/>
                    </a:lnTo>
                    <a:lnTo>
                      <a:pt x="828" y="274"/>
                    </a:lnTo>
                    <a:lnTo>
                      <a:pt x="814" y="257"/>
                    </a:lnTo>
                    <a:lnTo>
                      <a:pt x="825" y="240"/>
                    </a:lnTo>
                    <a:lnTo>
                      <a:pt x="818" y="232"/>
                    </a:lnTo>
                    <a:lnTo>
                      <a:pt x="752" y="236"/>
                    </a:lnTo>
                    <a:lnTo>
                      <a:pt x="746" y="228"/>
                    </a:lnTo>
                    <a:lnTo>
                      <a:pt x="687" y="236"/>
                    </a:lnTo>
                    <a:lnTo>
                      <a:pt x="661" y="243"/>
                    </a:lnTo>
                    <a:lnTo>
                      <a:pt x="671" y="236"/>
                    </a:lnTo>
                    <a:lnTo>
                      <a:pt x="672" y="228"/>
                    </a:lnTo>
                    <a:lnTo>
                      <a:pt x="650" y="222"/>
                    </a:lnTo>
                    <a:lnTo>
                      <a:pt x="641" y="214"/>
                    </a:lnTo>
                    <a:lnTo>
                      <a:pt x="657" y="209"/>
                    </a:lnTo>
                    <a:lnTo>
                      <a:pt x="683" y="212"/>
                    </a:lnTo>
                    <a:lnTo>
                      <a:pt x="677" y="187"/>
                    </a:lnTo>
                    <a:lnTo>
                      <a:pt x="672" y="181"/>
                    </a:lnTo>
                    <a:lnTo>
                      <a:pt x="679" y="178"/>
                    </a:lnTo>
                    <a:lnTo>
                      <a:pt x="684" y="184"/>
                    </a:lnTo>
                    <a:lnTo>
                      <a:pt x="689" y="198"/>
                    </a:lnTo>
                    <a:lnTo>
                      <a:pt x="698" y="204"/>
                    </a:lnTo>
                    <a:lnTo>
                      <a:pt x="746" y="209"/>
                    </a:lnTo>
                    <a:lnTo>
                      <a:pt x="749" y="200"/>
                    </a:lnTo>
                    <a:lnTo>
                      <a:pt x="740" y="188"/>
                    </a:lnTo>
                    <a:lnTo>
                      <a:pt x="737" y="181"/>
                    </a:lnTo>
                    <a:lnTo>
                      <a:pt x="687" y="171"/>
                    </a:lnTo>
                    <a:lnTo>
                      <a:pt x="679" y="158"/>
                    </a:lnTo>
                    <a:lnTo>
                      <a:pt x="687" y="156"/>
                    </a:lnTo>
                    <a:lnTo>
                      <a:pt x="722" y="162"/>
                    </a:lnTo>
                    <a:lnTo>
                      <a:pt x="764" y="189"/>
                    </a:lnTo>
                    <a:lnTo>
                      <a:pt x="794" y="194"/>
                    </a:lnTo>
                    <a:lnTo>
                      <a:pt x="801" y="185"/>
                    </a:lnTo>
                    <a:lnTo>
                      <a:pt x="797" y="170"/>
                    </a:lnTo>
                    <a:lnTo>
                      <a:pt x="810" y="176"/>
                    </a:lnTo>
                    <a:lnTo>
                      <a:pt x="838" y="178"/>
                    </a:lnTo>
                    <a:lnTo>
                      <a:pt x="846" y="165"/>
                    </a:lnTo>
                    <a:lnTo>
                      <a:pt x="845" y="155"/>
                    </a:lnTo>
                    <a:lnTo>
                      <a:pt x="850" y="157"/>
                    </a:lnTo>
                    <a:lnTo>
                      <a:pt x="855" y="146"/>
                    </a:lnTo>
                    <a:lnTo>
                      <a:pt x="861" y="160"/>
                    </a:lnTo>
                    <a:lnTo>
                      <a:pt x="876" y="156"/>
                    </a:lnTo>
                    <a:lnTo>
                      <a:pt x="881" y="140"/>
                    </a:lnTo>
                    <a:lnTo>
                      <a:pt x="880" y="125"/>
                    </a:lnTo>
                    <a:lnTo>
                      <a:pt x="873" y="106"/>
                    </a:lnTo>
                    <a:lnTo>
                      <a:pt x="871" y="91"/>
                    </a:lnTo>
                    <a:lnTo>
                      <a:pt x="813" y="80"/>
                    </a:lnTo>
                    <a:lnTo>
                      <a:pt x="817" y="66"/>
                    </a:lnTo>
                    <a:lnTo>
                      <a:pt x="834" y="61"/>
                    </a:lnTo>
                    <a:lnTo>
                      <a:pt x="856" y="74"/>
                    </a:lnTo>
                    <a:lnTo>
                      <a:pt x="884" y="79"/>
                    </a:lnTo>
                    <a:lnTo>
                      <a:pt x="882" y="91"/>
                    </a:lnTo>
                    <a:lnTo>
                      <a:pt x="884" y="103"/>
                    </a:lnTo>
                    <a:lnTo>
                      <a:pt x="899" y="112"/>
                    </a:lnTo>
                    <a:lnTo>
                      <a:pt x="914" y="111"/>
                    </a:lnTo>
                    <a:lnTo>
                      <a:pt x="914" y="115"/>
                    </a:lnTo>
                    <a:lnTo>
                      <a:pt x="937" y="108"/>
                    </a:lnTo>
                    <a:lnTo>
                      <a:pt x="961" y="109"/>
                    </a:lnTo>
                    <a:lnTo>
                      <a:pt x="969" y="101"/>
                    </a:lnTo>
                    <a:lnTo>
                      <a:pt x="982" y="98"/>
                    </a:lnTo>
                    <a:lnTo>
                      <a:pt x="1004" y="59"/>
                    </a:lnTo>
                    <a:lnTo>
                      <a:pt x="995" y="54"/>
                    </a:lnTo>
                    <a:lnTo>
                      <a:pt x="978" y="58"/>
                    </a:lnTo>
                    <a:lnTo>
                      <a:pt x="980" y="44"/>
                    </a:lnTo>
                    <a:lnTo>
                      <a:pt x="990" y="29"/>
                    </a:lnTo>
                    <a:lnTo>
                      <a:pt x="1011" y="21"/>
                    </a:lnTo>
                    <a:lnTo>
                      <a:pt x="1015" y="12"/>
                    </a:lnTo>
                    <a:lnTo>
                      <a:pt x="1028" y="0"/>
                    </a:lnTo>
                    <a:lnTo>
                      <a:pt x="393" y="0"/>
                    </a:lnTo>
                    <a:lnTo>
                      <a:pt x="394" y="1"/>
                    </a:lnTo>
                    <a:lnTo>
                      <a:pt x="440" y="28"/>
                    </a:lnTo>
                    <a:lnTo>
                      <a:pt x="439" y="33"/>
                    </a:lnTo>
                    <a:lnTo>
                      <a:pt x="426" y="41"/>
                    </a:lnTo>
                    <a:lnTo>
                      <a:pt x="430" y="48"/>
                    </a:lnTo>
                    <a:lnTo>
                      <a:pt x="432" y="72"/>
                    </a:lnTo>
                    <a:lnTo>
                      <a:pt x="432" y="87"/>
                    </a:lnTo>
                    <a:lnTo>
                      <a:pt x="437" y="87"/>
                    </a:lnTo>
                    <a:lnTo>
                      <a:pt x="437" y="92"/>
                    </a:lnTo>
                    <a:lnTo>
                      <a:pt x="441" y="102"/>
                    </a:lnTo>
                    <a:lnTo>
                      <a:pt x="462" y="108"/>
                    </a:lnTo>
                    <a:lnTo>
                      <a:pt x="479" y="123"/>
                    </a:lnTo>
                    <a:lnTo>
                      <a:pt x="515" y="107"/>
                    </a:lnTo>
                    <a:lnTo>
                      <a:pt x="526" y="107"/>
                    </a:lnTo>
                    <a:lnTo>
                      <a:pt x="527" y="113"/>
                    </a:lnTo>
                    <a:lnTo>
                      <a:pt x="525" y="120"/>
                    </a:lnTo>
                    <a:lnTo>
                      <a:pt x="513" y="120"/>
                    </a:lnTo>
                    <a:lnTo>
                      <a:pt x="482" y="136"/>
                    </a:lnTo>
                    <a:lnTo>
                      <a:pt x="478" y="142"/>
                    </a:lnTo>
                    <a:lnTo>
                      <a:pt x="478" y="149"/>
                    </a:lnTo>
                    <a:lnTo>
                      <a:pt x="480" y="154"/>
                    </a:lnTo>
                    <a:lnTo>
                      <a:pt x="479" y="155"/>
                    </a:lnTo>
                    <a:lnTo>
                      <a:pt x="445" y="130"/>
                    </a:lnTo>
                    <a:lnTo>
                      <a:pt x="432" y="129"/>
                    </a:lnTo>
                    <a:lnTo>
                      <a:pt x="423" y="139"/>
                    </a:lnTo>
                    <a:lnTo>
                      <a:pt x="421" y="111"/>
                    </a:lnTo>
                    <a:lnTo>
                      <a:pt x="415" y="111"/>
                    </a:lnTo>
                    <a:lnTo>
                      <a:pt x="412" y="102"/>
                    </a:lnTo>
                    <a:lnTo>
                      <a:pt x="410" y="87"/>
                    </a:lnTo>
                    <a:lnTo>
                      <a:pt x="405" y="82"/>
                    </a:lnTo>
                    <a:lnTo>
                      <a:pt x="405" y="68"/>
                    </a:lnTo>
                    <a:lnTo>
                      <a:pt x="357" y="0"/>
                    </a:lnTo>
                    <a:lnTo>
                      <a:pt x="183" y="0"/>
                    </a:lnTo>
                    <a:lnTo>
                      <a:pt x="220" y="14"/>
                    </a:lnTo>
                    <a:lnTo>
                      <a:pt x="231" y="2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Canada"/>
              <p:cNvSpPr>
                <a:spLocks noChangeAspect="1"/>
              </p:cNvSpPr>
              <p:nvPr>
                <p:custDataLst>
                  <p:tags r:id="rId199"/>
                </p:custDataLst>
              </p:nvPr>
            </p:nvSpPr>
            <p:spPr bwMode="gray">
              <a:xfrm>
                <a:off x="1564" y="1153"/>
                <a:ext cx="6" cy="6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0" y="21"/>
                  </a:cxn>
                  <a:cxn ang="0">
                    <a:pos x="30" y="30"/>
                  </a:cxn>
                  <a:cxn ang="0">
                    <a:pos x="3" y="0"/>
                  </a:cxn>
                  <a:cxn ang="0">
                    <a:pos x="0" y="16"/>
                  </a:cxn>
                </a:cxnLst>
                <a:rect l="0" t="0" r="r" b="b"/>
                <a:pathLst>
                  <a:path w="30" h="30">
                    <a:moveTo>
                      <a:pt x="0" y="16"/>
                    </a:moveTo>
                    <a:lnTo>
                      <a:pt x="0" y="21"/>
                    </a:lnTo>
                    <a:lnTo>
                      <a:pt x="30" y="30"/>
                    </a:lnTo>
                    <a:lnTo>
                      <a:pt x="3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" name="Canada"/>
              <p:cNvSpPr>
                <a:spLocks noChangeAspect="1"/>
              </p:cNvSpPr>
              <p:nvPr>
                <p:custDataLst>
                  <p:tags r:id="rId200"/>
                </p:custDataLst>
              </p:nvPr>
            </p:nvSpPr>
            <p:spPr bwMode="gray">
              <a:xfrm>
                <a:off x="1564" y="1147"/>
                <a:ext cx="1" cy="6"/>
              </a:xfrm>
              <a:custGeom>
                <a:avLst/>
                <a:gdLst/>
                <a:ahLst/>
                <a:cxnLst>
                  <a:cxn ang="0">
                    <a:pos x="5" y="11"/>
                  </a:cxn>
                  <a:cxn ang="0">
                    <a:pos x="0" y="0"/>
                  </a:cxn>
                  <a:cxn ang="0">
                    <a:pos x="0" y="24"/>
                  </a:cxn>
                  <a:cxn ang="0">
                    <a:pos x="5" y="31"/>
                  </a:cxn>
                  <a:cxn ang="0">
                    <a:pos x="7" y="27"/>
                  </a:cxn>
                  <a:cxn ang="0">
                    <a:pos x="5" y="11"/>
                  </a:cxn>
                </a:cxnLst>
                <a:rect l="0" t="0" r="r" b="b"/>
                <a:pathLst>
                  <a:path w="7" h="31">
                    <a:moveTo>
                      <a:pt x="5" y="11"/>
                    </a:moveTo>
                    <a:lnTo>
                      <a:pt x="0" y="0"/>
                    </a:lnTo>
                    <a:lnTo>
                      <a:pt x="0" y="24"/>
                    </a:lnTo>
                    <a:lnTo>
                      <a:pt x="5" y="31"/>
                    </a:lnTo>
                    <a:lnTo>
                      <a:pt x="7" y="27"/>
                    </a:lnTo>
                    <a:lnTo>
                      <a:pt x="5" y="1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Canada"/>
              <p:cNvSpPr>
                <a:spLocks noChangeAspect="1"/>
              </p:cNvSpPr>
              <p:nvPr>
                <p:custDataLst>
                  <p:tags r:id="rId201"/>
                </p:custDataLst>
              </p:nvPr>
            </p:nvSpPr>
            <p:spPr bwMode="gray">
              <a:xfrm>
                <a:off x="1031" y="1408"/>
                <a:ext cx="17" cy="23"/>
              </a:xfrm>
              <a:custGeom>
                <a:avLst/>
                <a:gdLst/>
                <a:ahLst/>
                <a:cxnLst>
                  <a:cxn ang="0">
                    <a:pos x="16" y="58"/>
                  </a:cxn>
                  <a:cxn ang="0">
                    <a:pos x="22" y="61"/>
                  </a:cxn>
                  <a:cxn ang="0">
                    <a:pos x="25" y="56"/>
                  </a:cxn>
                  <a:cxn ang="0">
                    <a:pos x="19" y="46"/>
                  </a:cxn>
                  <a:cxn ang="0">
                    <a:pos x="24" y="46"/>
                  </a:cxn>
                  <a:cxn ang="0">
                    <a:pos x="30" y="52"/>
                  </a:cxn>
                  <a:cxn ang="0">
                    <a:pos x="35" y="47"/>
                  </a:cxn>
                  <a:cxn ang="0">
                    <a:pos x="38" y="52"/>
                  </a:cxn>
                  <a:cxn ang="0">
                    <a:pos x="46" y="46"/>
                  </a:cxn>
                  <a:cxn ang="0">
                    <a:pos x="47" y="37"/>
                  </a:cxn>
                  <a:cxn ang="0">
                    <a:pos x="43" y="41"/>
                  </a:cxn>
                  <a:cxn ang="0">
                    <a:pos x="38" y="37"/>
                  </a:cxn>
                  <a:cxn ang="0">
                    <a:pos x="43" y="32"/>
                  </a:cxn>
                  <a:cxn ang="0">
                    <a:pos x="48" y="19"/>
                  </a:cxn>
                  <a:cxn ang="0">
                    <a:pos x="44" y="11"/>
                  </a:cxn>
                  <a:cxn ang="0">
                    <a:pos x="43" y="3"/>
                  </a:cxn>
                  <a:cxn ang="0">
                    <a:pos x="47" y="0"/>
                  </a:cxn>
                  <a:cxn ang="0">
                    <a:pos x="47" y="10"/>
                  </a:cxn>
                  <a:cxn ang="0">
                    <a:pos x="58" y="18"/>
                  </a:cxn>
                  <a:cxn ang="0">
                    <a:pos x="57" y="26"/>
                  </a:cxn>
                  <a:cxn ang="0">
                    <a:pos x="60" y="32"/>
                  </a:cxn>
                  <a:cxn ang="0">
                    <a:pos x="67" y="35"/>
                  </a:cxn>
                  <a:cxn ang="0">
                    <a:pos x="76" y="24"/>
                  </a:cxn>
                  <a:cxn ang="0">
                    <a:pos x="81" y="30"/>
                  </a:cxn>
                  <a:cxn ang="0">
                    <a:pos x="81" y="41"/>
                  </a:cxn>
                  <a:cxn ang="0">
                    <a:pos x="79" y="50"/>
                  </a:cxn>
                  <a:cxn ang="0">
                    <a:pos x="70" y="58"/>
                  </a:cxn>
                  <a:cxn ang="0">
                    <a:pos x="49" y="94"/>
                  </a:cxn>
                  <a:cxn ang="0">
                    <a:pos x="35" y="110"/>
                  </a:cxn>
                  <a:cxn ang="0">
                    <a:pos x="24" y="106"/>
                  </a:cxn>
                  <a:cxn ang="0">
                    <a:pos x="22" y="110"/>
                  </a:cxn>
                  <a:cxn ang="0">
                    <a:pos x="22" y="113"/>
                  </a:cxn>
                  <a:cxn ang="0">
                    <a:pos x="16" y="106"/>
                  </a:cxn>
                  <a:cxn ang="0">
                    <a:pos x="17" y="101"/>
                  </a:cxn>
                  <a:cxn ang="0">
                    <a:pos x="27" y="104"/>
                  </a:cxn>
                  <a:cxn ang="0">
                    <a:pos x="33" y="96"/>
                  </a:cxn>
                  <a:cxn ang="0">
                    <a:pos x="38" y="85"/>
                  </a:cxn>
                  <a:cxn ang="0">
                    <a:pos x="26" y="96"/>
                  </a:cxn>
                  <a:cxn ang="0">
                    <a:pos x="12" y="86"/>
                  </a:cxn>
                  <a:cxn ang="0">
                    <a:pos x="8" y="73"/>
                  </a:cxn>
                  <a:cxn ang="0">
                    <a:pos x="6" y="61"/>
                  </a:cxn>
                  <a:cxn ang="0">
                    <a:pos x="1" y="57"/>
                  </a:cxn>
                  <a:cxn ang="0">
                    <a:pos x="0" y="52"/>
                  </a:cxn>
                  <a:cxn ang="0">
                    <a:pos x="3" y="46"/>
                  </a:cxn>
                  <a:cxn ang="0">
                    <a:pos x="6" y="46"/>
                  </a:cxn>
                  <a:cxn ang="0">
                    <a:pos x="16" y="58"/>
                  </a:cxn>
                </a:cxnLst>
                <a:rect l="0" t="0" r="r" b="b"/>
                <a:pathLst>
                  <a:path w="81" h="113">
                    <a:moveTo>
                      <a:pt x="16" y="58"/>
                    </a:moveTo>
                    <a:lnTo>
                      <a:pt x="22" y="61"/>
                    </a:lnTo>
                    <a:lnTo>
                      <a:pt x="25" y="56"/>
                    </a:lnTo>
                    <a:lnTo>
                      <a:pt x="19" y="46"/>
                    </a:lnTo>
                    <a:lnTo>
                      <a:pt x="24" y="46"/>
                    </a:lnTo>
                    <a:lnTo>
                      <a:pt x="30" y="52"/>
                    </a:lnTo>
                    <a:lnTo>
                      <a:pt x="35" y="47"/>
                    </a:lnTo>
                    <a:lnTo>
                      <a:pt x="38" y="52"/>
                    </a:lnTo>
                    <a:lnTo>
                      <a:pt x="46" y="46"/>
                    </a:lnTo>
                    <a:lnTo>
                      <a:pt x="47" y="37"/>
                    </a:lnTo>
                    <a:lnTo>
                      <a:pt x="43" y="41"/>
                    </a:lnTo>
                    <a:lnTo>
                      <a:pt x="38" y="37"/>
                    </a:lnTo>
                    <a:lnTo>
                      <a:pt x="43" y="32"/>
                    </a:lnTo>
                    <a:lnTo>
                      <a:pt x="48" y="19"/>
                    </a:lnTo>
                    <a:lnTo>
                      <a:pt x="44" y="11"/>
                    </a:lnTo>
                    <a:lnTo>
                      <a:pt x="43" y="3"/>
                    </a:lnTo>
                    <a:lnTo>
                      <a:pt x="47" y="0"/>
                    </a:lnTo>
                    <a:lnTo>
                      <a:pt x="47" y="10"/>
                    </a:lnTo>
                    <a:lnTo>
                      <a:pt x="58" y="18"/>
                    </a:lnTo>
                    <a:lnTo>
                      <a:pt x="57" y="26"/>
                    </a:lnTo>
                    <a:lnTo>
                      <a:pt x="60" y="32"/>
                    </a:lnTo>
                    <a:lnTo>
                      <a:pt x="67" y="35"/>
                    </a:lnTo>
                    <a:lnTo>
                      <a:pt x="76" y="24"/>
                    </a:lnTo>
                    <a:lnTo>
                      <a:pt x="81" y="30"/>
                    </a:lnTo>
                    <a:lnTo>
                      <a:pt x="81" y="41"/>
                    </a:lnTo>
                    <a:lnTo>
                      <a:pt x="79" y="50"/>
                    </a:lnTo>
                    <a:lnTo>
                      <a:pt x="70" y="58"/>
                    </a:lnTo>
                    <a:lnTo>
                      <a:pt x="49" y="94"/>
                    </a:lnTo>
                    <a:lnTo>
                      <a:pt x="35" y="110"/>
                    </a:lnTo>
                    <a:lnTo>
                      <a:pt x="24" y="106"/>
                    </a:lnTo>
                    <a:lnTo>
                      <a:pt x="22" y="110"/>
                    </a:lnTo>
                    <a:lnTo>
                      <a:pt x="22" y="113"/>
                    </a:lnTo>
                    <a:lnTo>
                      <a:pt x="16" y="106"/>
                    </a:lnTo>
                    <a:lnTo>
                      <a:pt x="17" y="101"/>
                    </a:lnTo>
                    <a:lnTo>
                      <a:pt x="27" y="104"/>
                    </a:lnTo>
                    <a:lnTo>
                      <a:pt x="33" y="96"/>
                    </a:lnTo>
                    <a:lnTo>
                      <a:pt x="38" y="85"/>
                    </a:lnTo>
                    <a:lnTo>
                      <a:pt x="26" y="96"/>
                    </a:lnTo>
                    <a:lnTo>
                      <a:pt x="12" y="86"/>
                    </a:lnTo>
                    <a:lnTo>
                      <a:pt x="8" y="73"/>
                    </a:lnTo>
                    <a:lnTo>
                      <a:pt x="6" y="61"/>
                    </a:lnTo>
                    <a:lnTo>
                      <a:pt x="1" y="57"/>
                    </a:lnTo>
                    <a:lnTo>
                      <a:pt x="0" y="52"/>
                    </a:lnTo>
                    <a:lnTo>
                      <a:pt x="3" y="46"/>
                    </a:lnTo>
                    <a:lnTo>
                      <a:pt x="6" y="46"/>
                    </a:lnTo>
                    <a:lnTo>
                      <a:pt x="16" y="5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" name="Canada"/>
              <p:cNvSpPr>
                <a:spLocks noChangeAspect="1"/>
              </p:cNvSpPr>
              <p:nvPr>
                <p:custDataLst>
                  <p:tags r:id="rId202"/>
                </p:custDataLst>
              </p:nvPr>
            </p:nvSpPr>
            <p:spPr bwMode="gray">
              <a:xfrm>
                <a:off x="1024" y="1423"/>
                <a:ext cx="11" cy="11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1" y="4"/>
                  </a:cxn>
                  <a:cxn ang="0">
                    <a:pos x="0" y="8"/>
                  </a:cxn>
                  <a:cxn ang="0">
                    <a:pos x="1" y="22"/>
                  </a:cxn>
                  <a:cxn ang="0">
                    <a:pos x="9" y="28"/>
                  </a:cxn>
                  <a:cxn ang="0">
                    <a:pos x="12" y="38"/>
                  </a:cxn>
                  <a:cxn ang="0">
                    <a:pos x="23" y="39"/>
                  </a:cxn>
                  <a:cxn ang="0">
                    <a:pos x="32" y="49"/>
                  </a:cxn>
                  <a:cxn ang="0">
                    <a:pos x="41" y="50"/>
                  </a:cxn>
                  <a:cxn ang="0">
                    <a:pos x="44" y="55"/>
                  </a:cxn>
                  <a:cxn ang="0">
                    <a:pos x="47" y="58"/>
                  </a:cxn>
                  <a:cxn ang="0">
                    <a:pos x="52" y="56"/>
                  </a:cxn>
                  <a:cxn ang="0">
                    <a:pos x="54" y="50"/>
                  </a:cxn>
                  <a:cxn ang="0">
                    <a:pos x="45" y="39"/>
                  </a:cxn>
                  <a:cxn ang="0">
                    <a:pos x="30" y="28"/>
                  </a:cxn>
                  <a:cxn ang="0">
                    <a:pos x="33" y="22"/>
                  </a:cxn>
                  <a:cxn ang="0">
                    <a:pos x="19" y="15"/>
                  </a:cxn>
                  <a:cxn ang="0">
                    <a:pos x="14" y="4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</a:cxnLst>
                <a:rect l="0" t="0" r="r" b="b"/>
                <a:pathLst>
                  <a:path w="54" h="58">
                    <a:moveTo>
                      <a:pt x="2" y="4"/>
                    </a:moveTo>
                    <a:lnTo>
                      <a:pt x="1" y="4"/>
                    </a:lnTo>
                    <a:lnTo>
                      <a:pt x="0" y="8"/>
                    </a:lnTo>
                    <a:lnTo>
                      <a:pt x="1" y="22"/>
                    </a:lnTo>
                    <a:lnTo>
                      <a:pt x="9" y="28"/>
                    </a:lnTo>
                    <a:lnTo>
                      <a:pt x="12" y="38"/>
                    </a:lnTo>
                    <a:lnTo>
                      <a:pt x="23" y="39"/>
                    </a:lnTo>
                    <a:lnTo>
                      <a:pt x="32" y="49"/>
                    </a:lnTo>
                    <a:lnTo>
                      <a:pt x="41" y="50"/>
                    </a:lnTo>
                    <a:lnTo>
                      <a:pt x="44" y="55"/>
                    </a:lnTo>
                    <a:lnTo>
                      <a:pt x="47" y="58"/>
                    </a:lnTo>
                    <a:lnTo>
                      <a:pt x="52" y="56"/>
                    </a:lnTo>
                    <a:lnTo>
                      <a:pt x="54" y="50"/>
                    </a:lnTo>
                    <a:lnTo>
                      <a:pt x="45" y="39"/>
                    </a:lnTo>
                    <a:lnTo>
                      <a:pt x="30" y="28"/>
                    </a:lnTo>
                    <a:lnTo>
                      <a:pt x="33" y="22"/>
                    </a:lnTo>
                    <a:lnTo>
                      <a:pt x="19" y="15"/>
                    </a:lnTo>
                    <a:lnTo>
                      <a:pt x="14" y="4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7" name="Freeform 313"/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 bwMode="gray">
            <a:xfrm rot="21085610">
              <a:off x="2447787" y="3883074"/>
              <a:ext cx="18725" cy="9362"/>
            </a:xfrm>
            <a:custGeom>
              <a:avLst/>
              <a:gdLst/>
              <a:ahLst/>
              <a:cxnLst>
                <a:cxn ang="0">
                  <a:pos x="291" y="10"/>
                </a:cxn>
                <a:cxn ang="0">
                  <a:pos x="281" y="6"/>
                </a:cxn>
                <a:cxn ang="0">
                  <a:pos x="289" y="25"/>
                </a:cxn>
                <a:cxn ang="0">
                  <a:pos x="298" y="25"/>
                </a:cxn>
                <a:cxn ang="0">
                  <a:pos x="326" y="50"/>
                </a:cxn>
                <a:cxn ang="0">
                  <a:pos x="336" y="96"/>
                </a:cxn>
                <a:cxn ang="0">
                  <a:pos x="312" y="69"/>
                </a:cxn>
                <a:cxn ang="0">
                  <a:pos x="274" y="50"/>
                </a:cxn>
                <a:cxn ang="0">
                  <a:pos x="230" y="52"/>
                </a:cxn>
                <a:cxn ang="0">
                  <a:pos x="98" y="96"/>
                </a:cxn>
                <a:cxn ang="0">
                  <a:pos x="21" y="93"/>
                </a:cxn>
                <a:cxn ang="0">
                  <a:pos x="0" y="52"/>
                </a:cxn>
                <a:cxn ang="0">
                  <a:pos x="87" y="45"/>
                </a:cxn>
                <a:cxn ang="0">
                  <a:pos x="208" y="0"/>
                </a:cxn>
                <a:cxn ang="0">
                  <a:pos x="257" y="0"/>
                </a:cxn>
                <a:cxn ang="0">
                  <a:pos x="291" y="10"/>
                </a:cxn>
              </a:cxnLst>
              <a:rect l="0" t="0" r="r" b="b"/>
              <a:pathLst>
                <a:path w="336" h="96">
                  <a:moveTo>
                    <a:pt x="291" y="10"/>
                  </a:moveTo>
                  <a:lnTo>
                    <a:pt x="281" y="6"/>
                  </a:lnTo>
                  <a:lnTo>
                    <a:pt x="289" y="25"/>
                  </a:lnTo>
                  <a:lnTo>
                    <a:pt x="298" y="25"/>
                  </a:lnTo>
                  <a:lnTo>
                    <a:pt x="326" y="50"/>
                  </a:lnTo>
                  <a:lnTo>
                    <a:pt x="336" y="96"/>
                  </a:lnTo>
                  <a:lnTo>
                    <a:pt x="312" y="69"/>
                  </a:lnTo>
                  <a:lnTo>
                    <a:pt x="274" y="50"/>
                  </a:lnTo>
                  <a:lnTo>
                    <a:pt x="230" y="52"/>
                  </a:lnTo>
                  <a:lnTo>
                    <a:pt x="98" y="96"/>
                  </a:lnTo>
                  <a:lnTo>
                    <a:pt x="21" y="93"/>
                  </a:lnTo>
                  <a:lnTo>
                    <a:pt x="0" y="52"/>
                  </a:lnTo>
                  <a:lnTo>
                    <a:pt x="87" y="45"/>
                  </a:lnTo>
                  <a:lnTo>
                    <a:pt x="208" y="0"/>
                  </a:lnTo>
                  <a:lnTo>
                    <a:pt x="257" y="0"/>
                  </a:lnTo>
                  <a:lnTo>
                    <a:pt x="291" y="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48" name="Freeform 314"/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 bwMode="gray">
            <a:xfrm rot="21085610">
              <a:off x="2478214" y="3885414"/>
              <a:ext cx="2341" cy="23406"/>
            </a:xfrm>
            <a:custGeom>
              <a:avLst/>
              <a:gdLst/>
              <a:ahLst/>
              <a:cxnLst>
                <a:cxn ang="0">
                  <a:pos x="76" y="83"/>
                </a:cxn>
                <a:cxn ang="0">
                  <a:pos x="86" y="6"/>
                </a:cxn>
                <a:cxn ang="0">
                  <a:pos x="86" y="62"/>
                </a:cxn>
                <a:cxn ang="0">
                  <a:pos x="53" y="146"/>
                </a:cxn>
                <a:cxn ang="0">
                  <a:pos x="39" y="232"/>
                </a:cxn>
                <a:cxn ang="0">
                  <a:pos x="0" y="173"/>
                </a:cxn>
                <a:cxn ang="0">
                  <a:pos x="14" y="159"/>
                </a:cxn>
                <a:cxn ang="0">
                  <a:pos x="21" y="135"/>
                </a:cxn>
                <a:cxn ang="0">
                  <a:pos x="18" y="95"/>
                </a:cxn>
                <a:cxn ang="0">
                  <a:pos x="42" y="6"/>
                </a:cxn>
                <a:cxn ang="0">
                  <a:pos x="53" y="0"/>
                </a:cxn>
                <a:cxn ang="0">
                  <a:pos x="72" y="41"/>
                </a:cxn>
                <a:cxn ang="0">
                  <a:pos x="76" y="83"/>
                </a:cxn>
              </a:cxnLst>
              <a:rect l="0" t="0" r="r" b="b"/>
              <a:pathLst>
                <a:path w="86" h="232">
                  <a:moveTo>
                    <a:pt x="76" y="83"/>
                  </a:moveTo>
                  <a:lnTo>
                    <a:pt x="86" y="6"/>
                  </a:lnTo>
                  <a:lnTo>
                    <a:pt x="86" y="62"/>
                  </a:lnTo>
                  <a:lnTo>
                    <a:pt x="53" y="146"/>
                  </a:lnTo>
                  <a:lnTo>
                    <a:pt x="39" y="232"/>
                  </a:lnTo>
                  <a:lnTo>
                    <a:pt x="0" y="173"/>
                  </a:lnTo>
                  <a:lnTo>
                    <a:pt x="14" y="159"/>
                  </a:lnTo>
                  <a:lnTo>
                    <a:pt x="21" y="135"/>
                  </a:lnTo>
                  <a:lnTo>
                    <a:pt x="18" y="95"/>
                  </a:lnTo>
                  <a:lnTo>
                    <a:pt x="42" y="6"/>
                  </a:lnTo>
                  <a:lnTo>
                    <a:pt x="53" y="0"/>
                  </a:lnTo>
                  <a:lnTo>
                    <a:pt x="72" y="41"/>
                  </a:lnTo>
                  <a:lnTo>
                    <a:pt x="76" y="8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49" name="Freeform 315"/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 bwMode="gray">
            <a:xfrm rot="21085610">
              <a:off x="2478214" y="3939248"/>
              <a:ext cx="4681" cy="2341"/>
            </a:xfrm>
            <a:custGeom>
              <a:avLst/>
              <a:gdLst/>
              <a:ahLst/>
              <a:cxnLst>
                <a:cxn ang="0">
                  <a:pos x="55" y="25"/>
                </a:cxn>
                <a:cxn ang="0">
                  <a:pos x="73" y="7"/>
                </a:cxn>
                <a:cxn ang="0">
                  <a:pos x="73" y="0"/>
                </a:cxn>
                <a:cxn ang="0">
                  <a:pos x="48" y="0"/>
                </a:cxn>
                <a:cxn ang="0">
                  <a:pos x="8" y="4"/>
                </a:cxn>
                <a:cxn ang="0">
                  <a:pos x="0" y="28"/>
                </a:cxn>
                <a:cxn ang="0">
                  <a:pos x="55" y="25"/>
                </a:cxn>
              </a:cxnLst>
              <a:rect l="0" t="0" r="r" b="b"/>
              <a:pathLst>
                <a:path w="73" h="28">
                  <a:moveTo>
                    <a:pt x="55" y="25"/>
                  </a:moveTo>
                  <a:lnTo>
                    <a:pt x="73" y="7"/>
                  </a:lnTo>
                  <a:lnTo>
                    <a:pt x="73" y="0"/>
                  </a:lnTo>
                  <a:lnTo>
                    <a:pt x="48" y="0"/>
                  </a:lnTo>
                  <a:lnTo>
                    <a:pt x="8" y="4"/>
                  </a:lnTo>
                  <a:lnTo>
                    <a:pt x="0" y="28"/>
                  </a:lnTo>
                  <a:lnTo>
                    <a:pt x="55" y="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50" name="Freeform 316"/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 bwMode="gray">
            <a:xfrm rot="21085610">
              <a:off x="2466511" y="3936908"/>
              <a:ext cx="9362" cy="28087"/>
            </a:xfrm>
            <a:custGeom>
              <a:avLst/>
              <a:gdLst/>
              <a:ahLst/>
              <a:cxnLst>
                <a:cxn ang="0">
                  <a:pos x="93" y="46"/>
                </a:cxn>
                <a:cxn ang="0">
                  <a:pos x="107" y="50"/>
                </a:cxn>
                <a:cxn ang="0">
                  <a:pos x="114" y="81"/>
                </a:cxn>
                <a:cxn ang="0">
                  <a:pos x="175" y="163"/>
                </a:cxn>
                <a:cxn ang="0">
                  <a:pos x="175" y="244"/>
                </a:cxn>
                <a:cxn ang="0">
                  <a:pos x="168" y="268"/>
                </a:cxn>
                <a:cxn ang="0">
                  <a:pos x="141" y="288"/>
                </a:cxn>
                <a:cxn ang="0">
                  <a:pos x="101" y="291"/>
                </a:cxn>
                <a:cxn ang="0">
                  <a:pos x="59" y="244"/>
                </a:cxn>
                <a:cxn ang="0">
                  <a:pos x="10" y="212"/>
                </a:cxn>
                <a:cxn ang="0">
                  <a:pos x="0" y="167"/>
                </a:cxn>
                <a:cxn ang="0">
                  <a:pos x="28" y="84"/>
                </a:cxn>
                <a:cxn ang="0">
                  <a:pos x="35" y="39"/>
                </a:cxn>
                <a:cxn ang="0">
                  <a:pos x="30" y="8"/>
                </a:cxn>
                <a:cxn ang="0">
                  <a:pos x="79" y="0"/>
                </a:cxn>
                <a:cxn ang="0">
                  <a:pos x="93" y="46"/>
                </a:cxn>
              </a:cxnLst>
              <a:rect l="0" t="0" r="r" b="b"/>
              <a:pathLst>
                <a:path w="175" h="291">
                  <a:moveTo>
                    <a:pt x="93" y="46"/>
                  </a:moveTo>
                  <a:lnTo>
                    <a:pt x="107" y="50"/>
                  </a:lnTo>
                  <a:lnTo>
                    <a:pt x="114" y="81"/>
                  </a:lnTo>
                  <a:lnTo>
                    <a:pt x="175" y="163"/>
                  </a:lnTo>
                  <a:lnTo>
                    <a:pt x="175" y="244"/>
                  </a:lnTo>
                  <a:lnTo>
                    <a:pt x="168" y="268"/>
                  </a:lnTo>
                  <a:lnTo>
                    <a:pt x="141" y="288"/>
                  </a:lnTo>
                  <a:lnTo>
                    <a:pt x="101" y="291"/>
                  </a:lnTo>
                  <a:lnTo>
                    <a:pt x="59" y="244"/>
                  </a:lnTo>
                  <a:lnTo>
                    <a:pt x="10" y="212"/>
                  </a:lnTo>
                  <a:lnTo>
                    <a:pt x="0" y="167"/>
                  </a:lnTo>
                  <a:lnTo>
                    <a:pt x="28" y="84"/>
                  </a:lnTo>
                  <a:lnTo>
                    <a:pt x="35" y="39"/>
                  </a:lnTo>
                  <a:lnTo>
                    <a:pt x="30" y="8"/>
                  </a:lnTo>
                  <a:lnTo>
                    <a:pt x="79" y="0"/>
                  </a:lnTo>
                  <a:lnTo>
                    <a:pt x="93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51" name="Freeform 317"/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 bwMode="gray">
            <a:xfrm rot="21085610">
              <a:off x="2478214" y="3969676"/>
              <a:ext cx="2341" cy="14044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47" y="0"/>
                </a:cxn>
                <a:cxn ang="0">
                  <a:pos x="69" y="118"/>
                </a:cxn>
                <a:cxn ang="0">
                  <a:pos x="59" y="144"/>
                </a:cxn>
                <a:cxn ang="0">
                  <a:pos x="17" y="128"/>
                </a:cxn>
                <a:cxn ang="0">
                  <a:pos x="0" y="70"/>
                </a:cxn>
              </a:cxnLst>
              <a:rect l="0" t="0" r="r" b="b"/>
              <a:pathLst>
                <a:path w="69" h="144">
                  <a:moveTo>
                    <a:pt x="0" y="70"/>
                  </a:moveTo>
                  <a:lnTo>
                    <a:pt x="47" y="0"/>
                  </a:lnTo>
                  <a:lnTo>
                    <a:pt x="69" y="118"/>
                  </a:lnTo>
                  <a:lnTo>
                    <a:pt x="59" y="144"/>
                  </a:lnTo>
                  <a:lnTo>
                    <a:pt x="17" y="128"/>
                  </a:lnTo>
                  <a:lnTo>
                    <a:pt x="0" y="7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52" name="Freeform 318"/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 bwMode="gray">
            <a:xfrm rot="21085610">
              <a:off x="2499280" y="3929886"/>
              <a:ext cx="2341" cy="18725"/>
            </a:xfrm>
            <a:custGeom>
              <a:avLst/>
              <a:gdLst/>
              <a:ahLst/>
              <a:cxnLst>
                <a:cxn ang="0">
                  <a:pos x="37" y="20"/>
                </a:cxn>
                <a:cxn ang="0">
                  <a:pos x="37" y="0"/>
                </a:cxn>
                <a:cxn ang="0">
                  <a:pos x="52" y="45"/>
                </a:cxn>
                <a:cxn ang="0">
                  <a:pos x="47" y="192"/>
                </a:cxn>
                <a:cxn ang="0">
                  <a:pos x="10" y="160"/>
                </a:cxn>
                <a:cxn ang="0">
                  <a:pos x="0" y="120"/>
                </a:cxn>
                <a:cxn ang="0">
                  <a:pos x="20" y="99"/>
                </a:cxn>
                <a:cxn ang="0">
                  <a:pos x="37" y="20"/>
                </a:cxn>
              </a:cxnLst>
              <a:rect l="0" t="0" r="r" b="b"/>
              <a:pathLst>
                <a:path w="52" h="192">
                  <a:moveTo>
                    <a:pt x="37" y="20"/>
                  </a:moveTo>
                  <a:lnTo>
                    <a:pt x="37" y="0"/>
                  </a:lnTo>
                  <a:lnTo>
                    <a:pt x="52" y="45"/>
                  </a:lnTo>
                  <a:lnTo>
                    <a:pt x="47" y="192"/>
                  </a:lnTo>
                  <a:lnTo>
                    <a:pt x="10" y="160"/>
                  </a:lnTo>
                  <a:lnTo>
                    <a:pt x="0" y="120"/>
                  </a:lnTo>
                  <a:lnTo>
                    <a:pt x="20" y="99"/>
                  </a:lnTo>
                  <a:lnTo>
                    <a:pt x="37" y="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53" name="Freeform 319"/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 bwMode="gray">
            <a:xfrm rot="21085610">
              <a:off x="2510983" y="3946270"/>
              <a:ext cx="7022" cy="21065"/>
            </a:xfrm>
            <a:custGeom>
              <a:avLst/>
              <a:gdLst/>
              <a:ahLst/>
              <a:cxnLst>
                <a:cxn ang="0">
                  <a:pos x="115" y="147"/>
                </a:cxn>
                <a:cxn ang="0">
                  <a:pos x="132" y="142"/>
                </a:cxn>
                <a:cxn ang="0">
                  <a:pos x="146" y="205"/>
                </a:cxn>
                <a:cxn ang="0">
                  <a:pos x="121" y="212"/>
                </a:cxn>
                <a:cxn ang="0">
                  <a:pos x="87" y="202"/>
                </a:cxn>
                <a:cxn ang="0">
                  <a:pos x="101" y="157"/>
                </a:cxn>
                <a:cxn ang="0">
                  <a:pos x="56" y="76"/>
                </a:cxn>
                <a:cxn ang="0">
                  <a:pos x="0" y="0"/>
                </a:cxn>
                <a:cxn ang="0">
                  <a:pos x="24" y="4"/>
                </a:cxn>
                <a:cxn ang="0">
                  <a:pos x="52" y="35"/>
                </a:cxn>
                <a:cxn ang="0">
                  <a:pos x="115" y="147"/>
                </a:cxn>
              </a:cxnLst>
              <a:rect l="0" t="0" r="r" b="b"/>
              <a:pathLst>
                <a:path w="146" h="212">
                  <a:moveTo>
                    <a:pt x="115" y="147"/>
                  </a:moveTo>
                  <a:lnTo>
                    <a:pt x="132" y="142"/>
                  </a:lnTo>
                  <a:lnTo>
                    <a:pt x="146" y="205"/>
                  </a:lnTo>
                  <a:lnTo>
                    <a:pt x="121" y="212"/>
                  </a:lnTo>
                  <a:lnTo>
                    <a:pt x="87" y="202"/>
                  </a:lnTo>
                  <a:lnTo>
                    <a:pt x="101" y="157"/>
                  </a:lnTo>
                  <a:lnTo>
                    <a:pt x="56" y="76"/>
                  </a:lnTo>
                  <a:lnTo>
                    <a:pt x="0" y="0"/>
                  </a:lnTo>
                  <a:lnTo>
                    <a:pt x="24" y="4"/>
                  </a:lnTo>
                  <a:lnTo>
                    <a:pt x="52" y="35"/>
                  </a:lnTo>
                  <a:lnTo>
                    <a:pt x="115" y="14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54" name="Freeform 320"/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 bwMode="gray">
            <a:xfrm rot="21085610">
              <a:off x="2532048" y="3962654"/>
              <a:ext cx="4681" cy="4681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3" y="28"/>
                </a:cxn>
                <a:cxn ang="0">
                  <a:pos x="0" y="55"/>
                </a:cxn>
                <a:cxn ang="0">
                  <a:pos x="35" y="52"/>
                </a:cxn>
                <a:cxn ang="0">
                  <a:pos x="52" y="0"/>
                </a:cxn>
                <a:cxn ang="0">
                  <a:pos x="20" y="0"/>
                </a:cxn>
              </a:cxnLst>
              <a:rect l="0" t="0" r="r" b="b"/>
              <a:pathLst>
                <a:path w="52" h="55">
                  <a:moveTo>
                    <a:pt x="20" y="0"/>
                  </a:moveTo>
                  <a:lnTo>
                    <a:pt x="3" y="28"/>
                  </a:lnTo>
                  <a:lnTo>
                    <a:pt x="0" y="55"/>
                  </a:lnTo>
                  <a:lnTo>
                    <a:pt x="35" y="52"/>
                  </a:lnTo>
                  <a:lnTo>
                    <a:pt x="52" y="0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55" name="Freeform 321"/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 bwMode="gray">
            <a:xfrm rot="21085610">
              <a:off x="2522686" y="3983720"/>
              <a:ext cx="7022" cy="2340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17"/>
                </a:cxn>
                <a:cxn ang="0">
                  <a:pos x="37" y="105"/>
                </a:cxn>
                <a:cxn ang="0">
                  <a:pos x="55" y="135"/>
                </a:cxn>
                <a:cxn ang="0">
                  <a:pos x="93" y="149"/>
                </a:cxn>
                <a:cxn ang="0">
                  <a:pos x="117" y="204"/>
                </a:cxn>
                <a:cxn ang="0">
                  <a:pos x="117" y="232"/>
                </a:cxn>
                <a:cxn ang="0">
                  <a:pos x="96" y="191"/>
                </a:cxn>
                <a:cxn ang="0">
                  <a:pos x="52" y="162"/>
                </a:cxn>
                <a:cxn ang="0">
                  <a:pos x="35" y="118"/>
                </a:cxn>
                <a:cxn ang="0">
                  <a:pos x="24" y="44"/>
                </a:cxn>
                <a:cxn ang="0">
                  <a:pos x="0" y="0"/>
                </a:cxn>
              </a:cxnLst>
              <a:rect l="0" t="0" r="r" b="b"/>
              <a:pathLst>
                <a:path w="117" h="232">
                  <a:moveTo>
                    <a:pt x="0" y="0"/>
                  </a:moveTo>
                  <a:lnTo>
                    <a:pt x="10" y="17"/>
                  </a:lnTo>
                  <a:lnTo>
                    <a:pt x="37" y="105"/>
                  </a:lnTo>
                  <a:lnTo>
                    <a:pt x="55" y="135"/>
                  </a:lnTo>
                  <a:lnTo>
                    <a:pt x="93" y="149"/>
                  </a:lnTo>
                  <a:lnTo>
                    <a:pt x="117" y="204"/>
                  </a:lnTo>
                  <a:lnTo>
                    <a:pt x="117" y="232"/>
                  </a:lnTo>
                  <a:lnTo>
                    <a:pt x="96" y="191"/>
                  </a:lnTo>
                  <a:lnTo>
                    <a:pt x="52" y="162"/>
                  </a:lnTo>
                  <a:lnTo>
                    <a:pt x="35" y="118"/>
                  </a:lnTo>
                  <a:lnTo>
                    <a:pt x="24" y="4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56" name="Freeform 322"/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 bwMode="gray">
            <a:xfrm rot="21085610">
              <a:off x="2543751" y="4004785"/>
              <a:ext cx="7022" cy="21065"/>
            </a:xfrm>
            <a:custGeom>
              <a:avLst/>
              <a:gdLst/>
              <a:ahLst/>
              <a:cxnLst>
                <a:cxn ang="0">
                  <a:pos x="101" y="73"/>
                </a:cxn>
                <a:cxn ang="0">
                  <a:pos x="101" y="48"/>
                </a:cxn>
                <a:cxn ang="0">
                  <a:pos x="101" y="56"/>
                </a:cxn>
                <a:cxn ang="0">
                  <a:pos x="90" y="48"/>
                </a:cxn>
                <a:cxn ang="0">
                  <a:pos x="31" y="48"/>
                </a:cxn>
                <a:cxn ang="0">
                  <a:pos x="4" y="27"/>
                </a:cxn>
                <a:cxn ang="0">
                  <a:pos x="0" y="14"/>
                </a:cxn>
                <a:cxn ang="0">
                  <a:pos x="11" y="0"/>
                </a:cxn>
                <a:cxn ang="0">
                  <a:pos x="46" y="14"/>
                </a:cxn>
                <a:cxn ang="0">
                  <a:pos x="83" y="41"/>
                </a:cxn>
                <a:cxn ang="0">
                  <a:pos x="125" y="41"/>
                </a:cxn>
                <a:cxn ang="0">
                  <a:pos x="145" y="61"/>
                </a:cxn>
                <a:cxn ang="0">
                  <a:pos x="149" y="113"/>
                </a:cxn>
                <a:cxn ang="0">
                  <a:pos x="103" y="172"/>
                </a:cxn>
                <a:cxn ang="0">
                  <a:pos x="49" y="218"/>
                </a:cxn>
                <a:cxn ang="0">
                  <a:pos x="35" y="182"/>
                </a:cxn>
                <a:cxn ang="0">
                  <a:pos x="111" y="100"/>
                </a:cxn>
                <a:cxn ang="0">
                  <a:pos x="101" y="73"/>
                </a:cxn>
              </a:cxnLst>
              <a:rect l="0" t="0" r="r" b="b"/>
              <a:pathLst>
                <a:path w="149" h="218">
                  <a:moveTo>
                    <a:pt x="101" y="73"/>
                  </a:moveTo>
                  <a:lnTo>
                    <a:pt x="101" y="48"/>
                  </a:lnTo>
                  <a:lnTo>
                    <a:pt x="101" y="56"/>
                  </a:lnTo>
                  <a:lnTo>
                    <a:pt x="90" y="48"/>
                  </a:lnTo>
                  <a:lnTo>
                    <a:pt x="31" y="48"/>
                  </a:lnTo>
                  <a:lnTo>
                    <a:pt x="4" y="27"/>
                  </a:lnTo>
                  <a:lnTo>
                    <a:pt x="0" y="14"/>
                  </a:lnTo>
                  <a:lnTo>
                    <a:pt x="11" y="0"/>
                  </a:lnTo>
                  <a:lnTo>
                    <a:pt x="46" y="14"/>
                  </a:lnTo>
                  <a:lnTo>
                    <a:pt x="83" y="41"/>
                  </a:lnTo>
                  <a:lnTo>
                    <a:pt x="125" y="41"/>
                  </a:lnTo>
                  <a:lnTo>
                    <a:pt x="145" y="61"/>
                  </a:lnTo>
                  <a:lnTo>
                    <a:pt x="149" y="113"/>
                  </a:lnTo>
                  <a:lnTo>
                    <a:pt x="103" y="172"/>
                  </a:lnTo>
                  <a:lnTo>
                    <a:pt x="49" y="218"/>
                  </a:lnTo>
                  <a:lnTo>
                    <a:pt x="35" y="182"/>
                  </a:lnTo>
                  <a:lnTo>
                    <a:pt x="111" y="100"/>
                  </a:lnTo>
                  <a:lnTo>
                    <a:pt x="101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57" name="Freeform 323"/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 bwMode="gray">
            <a:xfrm rot="21085610">
              <a:off x="2562476" y="4018829"/>
              <a:ext cx="7022" cy="2341"/>
            </a:xfrm>
            <a:custGeom>
              <a:avLst/>
              <a:gdLst/>
              <a:ahLst/>
              <a:cxnLst>
                <a:cxn ang="0">
                  <a:pos x="118" y="34"/>
                </a:cxn>
                <a:cxn ang="0">
                  <a:pos x="100" y="3"/>
                </a:cxn>
                <a:cxn ang="0">
                  <a:pos x="56" y="0"/>
                </a:cxn>
                <a:cxn ang="0">
                  <a:pos x="0" y="24"/>
                </a:cxn>
                <a:cxn ang="0">
                  <a:pos x="52" y="17"/>
                </a:cxn>
                <a:cxn ang="0">
                  <a:pos x="90" y="34"/>
                </a:cxn>
                <a:cxn ang="0">
                  <a:pos x="118" y="34"/>
                </a:cxn>
              </a:cxnLst>
              <a:rect l="0" t="0" r="r" b="b"/>
              <a:pathLst>
                <a:path w="118" h="34">
                  <a:moveTo>
                    <a:pt x="118" y="34"/>
                  </a:moveTo>
                  <a:lnTo>
                    <a:pt x="100" y="3"/>
                  </a:lnTo>
                  <a:lnTo>
                    <a:pt x="56" y="0"/>
                  </a:lnTo>
                  <a:lnTo>
                    <a:pt x="0" y="24"/>
                  </a:lnTo>
                  <a:lnTo>
                    <a:pt x="52" y="17"/>
                  </a:lnTo>
                  <a:lnTo>
                    <a:pt x="90" y="34"/>
                  </a:lnTo>
                  <a:lnTo>
                    <a:pt x="118" y="3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58" name="Freeform 324"/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 bwMode="gray">
            <a:xfrm rot="21085610">
              <a:off x="2578860" y="4028191"/>
              <a:ext cx="14044" cy="9362"/>
            </a:xfrm>
            <a:custGeom>
              <a:avLst/>
              <a:gdLst/>
              <a:ahLst/>
              <a:cxnLst>
                <a:cxn ang="0">
                  <a:pos x="48" y="19"/>
                </a:cxn>
                <a:cxn ang="0">
                  <a:pos x="86" y="0"/>
                </a:cxn>
                <a:cxn ang="0">
                  <a:pos x="114" y="25"/>
                </a:cxn>
                <a:cxn ang="0">
                  <a:pos x="192" y="61"/>
                </a:cxn>
                <a:cxn ang="0">
                  <a:pos x="241" y="92"/>
                </a:cxn>
                <a:cxn ang="0">
                  <a:pos x="248" y="103"/>
                </a:cxn>
                <a:cxn ang="0">
                  <a:pos x="210" y="98"/>
                </a:cxn>
                <a:cxn ang="0">
                  <a:pos x="148" y="52"/>
                </a:cxn>
                <a:cxn ang="0">
                  <a:pos x="100" y="34"/>
                </a:cxn>
                <a:cxn ang="0">
                  <a:pos x="41" y="73"/>
                </a:cxn>
                <a:cxn ang="0">
                  <a:pos x="0" y="76"/>
                </a:cxn>
                <a:cxn ang="0">
                  <a:pos x="13" y="48"/>
                </a:cxn>
                <a:cxn ang="0">
                  <a:pos x="48" y="19"/>
                </a:cxn>
              </a:cxnLst>
              <a:rect l="0" t="0" r="r" b="b"/>
              <a:pathLst>
                <a:path w="248" h="103">
                  <a:moveTo>
                    <a:pt x="48" y="19"/>
                  </a:moveTo>
                  <a:lnTo>
                    <a:pt x="86" y="0"/>
                  </a:lnTo>
                  <a:lnTo>
                    <a:pt x="114" y="25"/>
                  </a:lnTo>
                  <a:lnTo>
                    <a:pt x="192" y="61"/>
                  </a:lnTo>
                  <a:lnTo>
                    <a:pt x="241" y="92"/>
                  </a:lnTo>
                  <a:lnTo>
                    <a:pt x="248" y="103"/>
                  </a:lnTo>
                  <a:lnTo>
                    <a:pt x="210" y="98"/>
                  </a:lnTo>
                  <a:lnTo>
                    <a:pt x="148" y="52"/>
                  </a:lnTo>
                  <a:lnTo>
                    <a:pt x="100" y="34"/>
                  </a:lnTo>
                  <a:lnTo>
                    <a:pt x="41" y="73"/>
                  </a:lnTo>
                  <a:lnTo>
                    <a:pt x="0" y="76"/>
                  </a:lnTo>
                  <a:lnTo>
                    <a:pt x="13" y="48"/>
                  </a:lnTo>
                  <a:lnTo>
                    <a:pt x="48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59" name="Freeform 325"/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 bwMode="gray">
            <a:xfrm rot="21085610">
              <a:off x="2560135" y="4053938"/>
              <a:ext cx="9362" cy="14044"/>
            </a:xfrm>
            <a:custGeom>
              <a:avLst/>
              <a:gdLst/>
              <a:ahLst/>
              <a:cxnLst>
                <a:cxn ang="0">
                  <a:pos x="192" y="0"/>
                </a:cxn>
                <a:cxn ang="0">
                  <a:pos x="184" y="0"/>
                </a:cxn>
                <a:cxn ang="0">
                  <a:pos x="184" y="56"/>
                </a:cxn>
                <a:cxn ang="0">
                  <a:pos x="175" y="104"/>
                </a:cxn>
                <a:cxn ang="0">
                  <a:pos x="132" y="132"/>
                </a:cxn>
                <a:cxn ang="0">
                  <a:pos x="0" y="146"/>
                </a:cxn>
                <a:cxn ang="0">
                  <a:pos x="4" y="76"/>
                </a:cxn>
                <a:cxn ang="0">
                  <a:pos x="62" y="49"/>
                </a:cxn>
                <a:cxn ang="0">
                  <a:pos x="114" y="67"/>
                </a:cxn>
                <a:cxn ang="0">
                  <a:pos x="192" y="0"/>
                </a:cxn>
              </a:cxnLst>
              <a:rect l="0" t="0" r="r" b="b"/>
              <a:pathLst>
                <a:path w="192" h="146">
                  <a:moveTo>
                    <a:pt x="192" y="0"/>
                  </a:moveTo>
                  <a:lnTo>
                    <a:pt x="184" y="0"/>
                  </a:lnTo>
                  <a:lnTo>
                    <a:pt x="184" y="56"/>
                  </a:lnTo>
                  <a:lnTo>
                    <a:pt x="175" y="104"/>
                  </a:lnTo>
                  <a:lnTo>
                    <a:pt x="132" y="132"/>
                  </a:lnTo>
                  <a:lnTo>
                    <a:pt x="0" y="146"/>
                  </a:lnTo>
                  <a:lnTo>
                    <a:pt x="4" y="76"/>
                  </a:lnTo>
                  <a:lnTo>
                    <a:pt x="62" y="49"/>
                  </a:lnTo>
                  <a:lnTo>
                    <a:pt x="114" y="67"/>
                  </a:lnTo>
                  <a:lnTo>
                    <a:pt x="192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60" name="Freeform 326"/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 bwMode="gray">
            <a:xfrm rot="21085610">
              <a:off x="2475874" y="3967335"/>
              <a:ext cx="4681" cy="7022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0" y="55"/>
                </a:cxn>
                <a:cxn ang="0">
                  <a:pos x="4" y="80"/>
                </a:cxn>
                <a:cxn ang="0">
                  <a:pos x="42" y="57"/>
                </a:cxn>
                <a:cxn ang="0">
                  <a:pos x="70" y="9"/>
                </a:cxn>
                <a:cxn ang="0">
                  <a:pos x="42" y="0"/>
                </a:cxn>
              </a:cxnLst>
              <a:rect l="0" t="0" r="r" b="b"/>
              <a:pathLst>
                <a:path w="70" h="80">
                  <a:moveTo>
                    <a:pt x="42" y="0"/>
                  </a:moveTo>
                  <a:lnTo>
                    <a:pt x="0" y="55"/>
                  </a:lnTo>
                  <a:lnTo>
                    <a:pt x="4" y="80"/>
                  </a:lnTo>
                  <a:lnTo>
                    <a:pt x="42" y="57"/>
                  </a:lnTo>
                  <a:lnTo>
                    <a:pt x="70" y="9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61" name="Freeform 327"/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 bwMode="gray">
            <a:xfrm rot="21085610">
              <a:off x="2429062" y="3943929"/>
              <a:ext cx="2341" cy="9362"/>
            </a:xfrm>
            <a:custGeom>
              <a:avLst/>
              <a:gdLst/>
              <a:ahLst/>
              <a:cxnLst>
                <a:cxn ang="0">
                  <a:pos x="72" y="7"/>
                </a:cxn>
                <a:cxn ang="0">
                  <a:pos x="57" y="0"/>
                </a:cxn>
                <a:cxn ang="0">
                  <a:pos x="0" y="79"/>
                </a:cxn>
                <a:cxn ang="0">
                  <a:pos x="7" y="93"/>
                </a:cxn>
                <a:cxn ang="0">
                  <a:pos x="72" y="7"/>
                </a:cxn>
              </a:cxnLst>
              <a:rect l="0" t="0" r="r" b="b"/>
              <a:pathLst>
                <a:path w="72" h="93">
                  <a:moveTo>
                    <a:pt x="72" y="7"/>
                  </a:moveTo>
                  <a:lnTo>
                    <a:pt x="57" y="0"/>
                  </a:lnTo>
                  <a:lnTo>
                    <a:pt x="0" y="79"/>
                  </a:lnTo>
                  <a:lnTo>
                    <a:pt x="7" y="93"/>
                  </a:lnTo>
                  <a:lnTo>
                    <a:pt x="72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62" name="Freeform 328"/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 bwMode="gray">
            <a:xfrm rot="21085610">
              <a:off x="2424381" y="3955632"/>
              <a:ext cx="4681" cy="4681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0" y="26"/>
                </a:cxn>
                <a:cxn ang="0">
                  <a:pos x="4" y="36"/>
                </a:cxn>
                <a:cxn ang="0">
                  <a:pos x="53" y="18"/>
                </a:cxn>
                <a:cxn ang="0">
                  <a:pos x="56" y="0"/>
                </a:cxn>
              </a:cxnLst>
              <a:rect l="0" t="0" r="r" b="b"/>
              <a:pathLst>
                <a:path w="56" h="36">
                  <a:moveTo>
                    <a:pt x="56" y="0"/>
                  </a:moveTo>
                  <a:lnTo>
                    <a:pt x="0" y="26"/>
                  </a:lnTo>
                  <a:lnTo>
                    <a:pt x="4" y="36"/>
                  </a:lnTo>
                  <a:lnTo>
                    <a:pt x="53" y="18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63" name="Freeform 329"/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 bwMode="gray">
            <a:xfrm rot="21085610">
              <a:off x="2410337" y="3960314"/>
              <a:ext cx="9362" cy="9362"/>
            </a:xfrm>
            <a:custGeom>
              <a:avLst/>
              <a:gdLst/>
              <a:ahLst/>
              <a:cxnLst>
                <a:cxn ang="0">
                  <a:pos x="152" y="40"/>
                </a:cxn>
                <a:cxn ang="0">
                  <a:pos x="109" y="36"/>
                </a:cxn>
                <a:cxn ang="0">
                  <a:pos x="44" y="67"/>
                </a:cxn>
                <a:cxn ang="0">
                  <a:pos x="0" y="70"/>
                </a:cxn>
                <a:cxn ang="0">
                  <a:pos x="9" y="50"/>
                </a:cxn>
                <a:cxn ang="0">
                  <a:pos x="59" y="36"/>
                </a:cxn>
                <a:cxn ang="0">
                  <a:pos x="119" y="0"/>
                </a:cxn>
                <a:cxn ang="0">
                  <a:pos x="155" y="9"/>
                </a:cxn>
                <a:cxn ang="0">
                  <a:pos x="152" y="40"/>
                </a:cxn>
              </a:cxnLst>
              <a:rect l="0" t="0" r="r" b="b"/>
              <a:pathLst>
                <a:path w="155" h="70">
                  <a:moveTo>
                    <a:pt x="152" y="40"/>
                  </a:moveTo>
                  <a:lnTo>
                    <a:pt x="109" y="36"/>
                  </a:lnTo>
                  <a:lnTo>
                    <a:pt x="44" y="67"/>
                  </a:lnTo>
                  <a:lnTo>
                    <a:pt x="0" y="70"/>
                  </a:lnTo>
                  <a:lnTo>
                    <a:pt x="9" y="50"/>
                  </a:lnTo>
                  <a:lnTo>
                    <a:pt x="59" y="36"/>
                  </a:lnTo>
                  <a:lnTo>
                    <a:pt x="119" y="0"/>
                  </a:lnTo>
                  <a:lnTo>
                    <a:pt x="155" y="9"/>
                  </a:lnTo>
                  <a:lnTo>
                    <a:pt x="152" y="4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64" name="Jamaica"/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 bwMode="gray">
            <a:xfrm rot="20552049">
              <a:off x="2473533" y="4161605"/>
              <a:ext cx="35109" cy="25747"/>
            </a:xfrm>
            <a:custGeom>
              <a:avLst/>
              <a:gdLst/>
              <a:ahLst/>
              <a:cxnLst>
                <a:cxn ang="0">
                  <a:pos x="373" y="31"/>
                </a:cxn>
                <a:cxn ang="0">
                  <a:pos x="397" y="35"/>
                </a:cxn>
                <a:cxn ang="0">
                  <a:pos x="450" y="63"/>
                </a:cxn>
                <a:cxn ang="0">
                  <a:pos x="483" y="101"/>
                </a:cxn>
                <a:cxn ang="0">
                  <a:pos x="600" y="104"/>
                </a:cxn>
                <a:cxn ang="0">
                  <a:pos x="642" y="212"/>
                </a:cxn>
                <a:cxn ang="0">
                  <a:pos x="588" y="222"/>
                </a:cxn>
                <a:cxn ang="0">
                  <a:pos x="504" y="197"/>
                </a:cxn>
                <a:cxn ang="0">
                  <a:pos x="442" y="222"/>
                </a:cxn>
                <a:cxn ang="0">
                  <a:pos x="390" y="222"/>
                </a:cxn>
                <a:cxn ang="0">
                  <a:pos x="369" y="260"/>
                </a:cxn>
                <a:cxn ang="0">
                  <a:pos x="304" y="256"/>
                </a:cxn>
                <a:cxn ang="0">
                  <a:pos x="273" y="228"/>
                </a:cxn>
                <a:cxn ang="0">
                  <a:pos x="194" y="222"/>
                </a:cxn>
                <a:cxn ang="0">
                  <a:pos x="101" y="135"/>
                </a:cxn>
                <a:cxn ang="0">
                  <a:pos x="39" y="115"/>
                </a:cxn>
                <a:cxn ang="0">
                  <a:pos x="0" y="73"/>
                </a:cxn>
                <a:cxn ang="0">
                  <a:pos x="10" y="44"/>
                </a:cxn>
                <a:cxn ang="0">
                  <a:pos x="138" y="0"/>
                </a:cxn>
                <a:cxn ang="0">
                  <a:pos x="194" y="4"/>
                </a:cxn>
                <a:cxn ang="0">
                  <a:pos x="279" y="21"/>
                </a:cxn>
                <a:cxn ang="0">
                  <a:pos x="373" y="31"/>
                </a:cxn>
              </a:cxnLst>
              <a:rect l="0" t="0" r="r" b="b"/>
              <a:pathLst>
                <a:path w="642" h="260">
                  <a:moveTo>
                    <a:pt x="373" y="31"/>
                  </a:moveTo>
                  <a:lnTo>
                    <a:pt x="397" y="35"/>
                  </a:lnTo>
                  <a:lnTo>
                    <a:pt x="450" y="63"/>
                  </a:lnTo>
                  <a:lnTo>
                    <a:pt x="483" y="101"/>
                  </a:lnTo>
                  <a:lnTo>
                    <a:pt x="600" y="104"/>
                  </a:lnTo>
                  <a:lnTo>
                    <a:pt x="642" y="212"/>
                  </a:lnTo>
                  <a:lnTo>
                    <a:pt x="588" y="222"/>
                  </a:lnTo>
                  <a:lnTo>
                    <a:pt x="504" y="197"/>
                  </a:lnTo>
                  <a:lnTo>
                    <a:pt x="442" y="222"/>
                  </a:lnTo>
                  <a:lnTo>
                    <a:pt x="390" y="222"/>
                  </a:lnTo>
                  <a:lnTo>
                    <a:pt x="369" y="260"/>
                  </a:lnTo>
                  <a:lnTo>
                    <a:pt x="304" y="256"/>
                  </a:lnTo>
                  <a:lnTo>
                    <a:pt x="273" y="228"/>
                  </a:lnTo>
                  <a:lnTo>
                    <a:pt x="194" y="222"/>
                  </a:lnTo>
                  <a:lnTo>
                    <a:pt x="101" y="135"/>
                  </a:lnTo>
                  <a:lnTo>
                    <a:pt x="39" y="115"/>
                  </a:lnTo>
                  <a:lnTo>
                    <a:pt x="0" y="73"/>
                  </a:lnTo>
                  <a:lnTo>
                    <a:pt x="10" y="44"/>
                  </a:lnTo>
                  <a:lnTo>
                    <a:pt x="138" y="0"/>
                  </a:lnTo>
                  <a:lnTo>
                    <a:pt x="194" y="4"/>
                  </a:lnTo>
                  <a:lnTo>
                    <a:pt x="279" y="21"/>
                  </a:lnTo>
                  <a:lnTo>
                    <a:pt x="373" y="3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65" name="Dominican Republic"/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 bwMode="gray">
            <a:xfrm rot="20552049">
              <a:off x="2569498" y="4077344"/>
              <a:ext cx="56174" cy="77240"/>
            </a:xfrm>
            <a:custGeom>
              <a:avLst/>
              <a:gdLst/>
              <a:ahLst/>
              <a:cxnLst>
                <a:cxn ang="0">
                  <a:pos x="25" y="17"/>
                </a:cxn>
                <a:cxn ang="0">
                  <a:pos x="119" y="0"/>
                </a:cxn>
                <a:cxn ang="0">
                  <a:pos x="338" y="4"/>
                </a:cxn>
                <a:cxn ang="0">
                  <a:pos x="512" y="76"/>
                </a:cxn>
                <a:cxn ang="0">
                  <a:pos x="614" y="110"/>
                </a:cxn>
                <a:cxn ang="0">
                  <a:pos x="643" y="181"/>
                </a:cxn>
                <a:cxn ang="0">
                  <a:pos x="805" y="193"/>
                </a:cxn>
                <a:cxn ang="0">
                  <a:pos x="825" y="227"/>
                </a:cxn>
                <a:cxn ang="0">
                  <a:pos x="728" y="244"/>
                </a:cxn>
                <a:cxn ang="0">
                  <a:pos x="796" y="294"/>
                </a:cxn>
                <a:cxn ang="0">
                  <a:pos x="977" y="336"/>
                </a:cxn>
                <a:cxn ang="0">
                  <a:pos x="1076" y="404"/>
                </a:cxn>
                <a:cxn ang="0">
                  <a:pos x="1080" y="462"/>
                </a:cxn>
                <a:cxn ang="0">
                  <a:pos x="1012" y="547"/>
                </a:cxn>
                <a:cxn ang="0">
                  <a:pos x="940" y="522"/>
                </a:cxn>
                <a:cxn ang="0">
                  <a:pos x="706" y="483"/>
                </a:cxn>
                <a:cxn ang="0">
                  <a:pos x="551" y="522"/>
                </a:cxn>
                <a:cxn ang="0">
                  <a:pos x="525" y="556"/>
                </a:cxn>
                <a:cxn ang="0">
                  <a:pos x="406" y="589"/>
                </a:cxn>
                <a:cxn ang="0">
                  <a:pos x="369" y="509"/>
                </a:cxn>
                <a:cxn ang="0">
                  <a:pos x="292" y="517"/>
                </a:cxn>
                <a:cxn ang="0">
                  <a:pos x="233" y="584"/>
                </a:cxn>
                <a:cxn ang="0">
                  <a:pos x="174" y="673"/>
                </a:cxn>
                <a:cxn ang="0">
                  <a:pos x="110" y="745"/>
                </a:cxn>
                <a:cxn ang="0">
                  <a:pos x="85" y="733"/>
                </a:cxn>
                <a:cxn ang="0">
                  <a:pos x="42" y="694"/>
                </a:cxn>
                <a:cxn ang="0">
                  <a:pos x="25" y="619"/>
                </a:cxn>
                <a:cxn ang="0">
                  <a:pos x="42" y="531"/>
                </a:cxn>
                <a:cxn ang="0">
                  <a:pos x="0" y="458"/>
                </a:cxn>
                <a:cxn ang="0">
                  <a:pos x="8" y="417"/>
                </a:cxn>
                <a:cxn ang="0">
                  <a:pos x="46" y="290"/>
                </a:cxn>
                <a:cxn ang="0">
                  <a:pos x="77" y="235"/>
                </a:cxn>
                <a:cxn ang="0">
                  <a:pos x="59" y="127"/>
                </a:cxn>
                <a:cxn ang="0">
                  <a:pos x="12" y="38"/>
                </a:cxn>
              </a:cxnLst>
              <a:rect l="0" t="0" r="r" b="b"/>
              <a:pathLst>
                <a:path w="1080" h="745">
                  <a:moveTo>
                    <a:pt x="17" y="29"/>
                  </a:moveTo>
                  <a:lnTo>
                    <a:pt x="25" y="17"/>
                  </a:lnTo>
                  <a:lnTo>
                    <a:pt x="51" y="0"/>
                  </a:lnTo>
                  <a:lnTo>
                    <a:pt x="119" y="0"/>
                  </a:lnTo>
                  <a:lnTo>
                    <a:pt x="183" y="9"/>
                  </a:lnTo>
                  <a:lnTo>
                    <a:pt x="338" y="4"/>
                  </a:lnTo>
                  <a:lnTo>
                    <a:pt x="423" y="29"/>
                  </a:lnTo>
                  <a:lnTo>
                    <a:pt x="512" y="76"/>
                  </a:lnTo>
                  <a:lnTo>
                    <a:pt x="589" y="84"/>
                  </a:lnTo>
                  <a:lnTo>
                    <a:pt x="614" y="110"/>
                  </a:lnTo>
                  <a:lnTo>
                    <a:pt x="632" y="169"/>
                  </a:lnTo>
                  <a:lnTo>
                    <a:pt x="643" y="181"/>
                  </a:lnTo>
                  <a:lnTo>
                    <a:pt x="699" y="193"/>
                  </a:lnTo>
                  <a:lnTo>
                    <a:pt x="805" y="193"/>
                  </a:lnTo>
                  <a:lnTo>
                    <a:pt x="822" y="203"/>
                  </a:lnTo>
                  <a:lnTo>
                    <a:pt x="825" y="227"/>
                  </a:lnTo>
                  <a:lnTo>
                    <a:pt x="779" y="244"/>
                  </a:lnTo>
                  <a:lnTo>
                    <a:pt x="728" y="244"/>
                  </a:lnTo>
                  <a:lnTo>
                    <a:pt x="723" y="269"/>
                  </a:lnTo>
                  <a:lnTo>
                    <a:pt x="796" y="294"/>
                  </a:lnTo>
                  <a:lnTo>
                    <a:pt x="944" y="298"/>
                  </a:lnTo>
                  <a:lnTo>
                    <a:pt x="977" y="336"/>
                  </a:lnTo>
                  <a:lnTo>
                    <a:pt x="1038" y="387"/>
                  </a:lnTo>
                  <a:lnTo>
                    <a:pt x="1076" y="404"/>
                  </a:lnTo>
                  <a:lnTo>
                    <a:pt x="1080" y="417"/>
                  </a:lnTo>
                  <a:lnTo>
                    <a:pt x="1080" y="462"/>
                  </a:lnTo>
                  <a:lnTo>
                    <a:pt x="1055" y="509"/>
                  </a:lnTo>
                  <a:lnTo>
                    <a:pt x="1012" y="547"/>
                  </a:lnTo>
                  <a:lnTo>
                    <a:pt x="969" y="547"/>
                  </a:lnTo>
                  <a:lnTo>
                    <a:pt x="940" y="522"/>
                  </a:lnTo>
                  <a:lnTo>
                    <a:pt x="872" y="496"/>
                  </a:lnTo>
                  <a:lnTo>
                    <a:pt x="706" y="483"/>
                  </a:lnTo>
                  <a:lnTo>
                    <a:pt x="589" y="500"/>
                  </a:lnTo>
                  <a:lnTo>
                    <a:pt x="551" y="522"/>
                  </a:lnTo>
                  <a:lnTo>
                    <a:pt x="538" y="547"/>
                  </a:lnTo>
                  <a:lnTo>
                    <a:pt x="525" y="556"/>
                  </a:lnTo>
                  <a:lnTo>
                    <a:pt x="474" y="576"/>
                  </a:lnTo>
                  <a:lnTo>
                    <a:pt x="406" y="589"/>
                  </a:lnTo>
                  <a:lnTo>
                    <a:pt x="369" y="522"/>
                  </a:lnTo>
                  <a:lnTo>
                    <a:pt x="369" y="509"/>
                  </a:lnTo>
                  <a:lnTo>
                    <a:pt x="322" y="504"/>
                  </a:lnTo>
                  <a:lnTo>
                    <a:pt x="292" y="517"/>
                  </a:lnTo>
                  <a:lnTo>
                    <a:pt x="271" y="534"/>
                  </a:lnTo>
                  <a:lnTo>
                    <a:pt x="233" y="584"/>
                  </a:lnTo>
                  <a:lnTo>
                    <a:pt x="191" y="656"/>
                  </a:lnTo>
                  <a:lnTo>
                    <a:pt x="174" y="673"/>
                  </a:lnTo>
                  <a:lnTo>
                    <a:pt x="170" y="690"/>
                  </a:lnTo>
                  <a:lnTo>
                    <a:pt x="110" y="745"/>
                  </a:lnTo>
                  <a:lnTo>
                    <a:pt x="88" y="745"/>
                  </a:lnTo>
                  <a:lnTo>
                    <a:pt x="85" y="733"/>
                  </a:lnTo>
                  <a:lnTo>
                    <a:pt x="46" y="702"/>
                  </a:lnTo>
                  <a:lnTo>
                    <a:pt x="42" y="694"/>
                  </a:lnTo>
                  <a:lnTo>
                    <a:pt x="42" y="640"/>
                  </a:lnTo>
                  <a:lnTo>
                    <a:pt x="25" y="619"/>
                  </a:lnTo>
                  <a:lnTo>
                    <a:pt x="34" y="606"/>
                  </a:lnTo>
                  <a:lnTo>
                    <a:pt x="42" y="531"/>
                  </a:lnTo>
                  <a:lnTo>
                    <a:pt x="34" y="496"/>
                  </a:lnTo>
                  <a:lnTo>
                    <a:pt x="0" y="458"/>
                  </a:lnTo>
                  <a:lnTo>
                    <a:pt x="0" y="434"/>
                  </a:lnTo>
                  <a:lnTo>
                    <a:pt x="8" y="417"/>
                  </a:lnTo>
                  <a:lnTo>
                    <a:pt x="51" y="384"/>
                  </a:lnTo>
                  <a:lnTo>
                    <a:pt x="46" y="290"/>
                  </a:lnTo>
                  <a:lnTo>
                    <a:pt x="68" y="269"/>
                  </a:lnTo>
                  <a:lnTo>
                    <a:pt x="77" y="235"/>
                  </a:lnTo>
                  <a:lnTo>
                    <a:pt x="51" y="206"/>
                  </a:lnTo>
                  <a:lnTo>
                    <a:pt x="59" y="127"/>
                  </a:lnTo>
                  <a:lnTo>
                    <a:pt x="46" y="80"/>
                  </a:lnTo>
                  <a:lnTo>
                    <a:pt x="12" y="38"/>
                  </a:lnTo>
                  <a:lnTo>
                    <a:pt x="17" y="2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66" name="Freeform 332"/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 bwMode="gray">
            <a:xfrm rot="20552049">
              <a:off x="2738021" y="4124156"/>
              <a:ext cx="2341" cy="2341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11" y="4"/>
                </a:cxn>
                <a:cxn ang="0">
                  <a:pos x="0" y="28"/>
                </a:cxn>
                <a:cxn ang="0">
                  <a:pos x="4" y="48"/>
                </a:cxn>
                <a:cxn ang="0">
                  <a:pos x="24" y="53"/>
                </a:cxn>
                <a:cxn ang="0">
                  <a:pos x="52" y="34"/>
                </a:cxn>
                <a:cxn ang="0">
                  <a:pos x="56" y="22"/>
                </a:cxn>
                <a:cxn ang="0">
                  <a:pos x="18" y="0"/>
                </a:cxn>
              </a:cxnLst>
              <a:rect l="0" t="0" r="r" b="b"/>
              <a:pathLst>
                <a:path w="56" h="53">
                  <a:moveTo>
                    <a:pt x="18" y="0"/>
                  </a:moveTo>
                  <a:lnTo>
                    <a:pt x="11" y="4"/>
                  </a:lnTo>
                  <a:lnTo>
                    <a:pt x="0" y="28"/>
                  </a:lnTo>
                  <a:lnTo>
                    <a:pt x="4" y="48"/>
                  </a:lnTo>
                  <a:lnTo>
                    <a:pt x="24" y="53"/>
                  </a:lnTo>
                  <a:lnTo>
                    <a:pt x="52" y="34"/>
                  </a:lnTo>
                  <a:lnTo>
                    <a:pt x="56" y="22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67" name="Freeform 333"/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 bwMode="gray">
            <a:xfrm rot="20552049">
              <a:off x="2770789" y="4187352"/>
              <a:ext cx="4681" cy="16384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32" y="7"/>
                </a:cxn>
                <a:cxn ang="0">
                  <a:pos x="66" y="41"/>
                </a:cxn>
                <a:cxn ang="0">
                  <a:pos x="111" y="138"/>
                </a:cxn>
                <a:cxn ang="0">
                  <a:pos x="105" y="145"/>
                </a:cxn>
                <a:cxn ang="0">
                  <a:pos x="66" y="152"/>
                </a:cxn>
                <a:cxn ang="0">
                  <a:pos x="49" y="138"/>
                </a:cxn>
                <a:cxn ang="0">
                  <a:pos x="7" y="47"/>
                </a:cxn>
                <a:cxn ang="0">
                  <a:pos x="0" y="23"/>
                </a:cxn>
                <a:cxn ang="0">
                  <a:pos x="4" y="0"/>
                </a:cxn>
              </a:cxnLst>
              <a:rect l="0" t="0" r="r" b="b"/>
              <a:pathLst>
                <a:path w="111" h="152">
                  <a:moveTo>
                    <a:pt x="4" y="0"/>
                  </a:moveTo>
                  <a:lnTo>
                    <a:pt x="32" y="7"/>
                  </a:lnTo>
                  <a:lnTo>
                    <a:pt x="66" y="41"/>
                  </a:lnTo>
                  <a:lnTo>
                    <a:pt x="111" y="138"/>
                  </a:lnTo>
                  <a:lnTo>
                    <a:pt x="105" y="145"/>
                  </a:lnTo>
                  <a:lnTo>
                    <a:pt x="66" y="152"/>
                  </a:lnTo>
                  <a:lnTo>
                    <a:pt x="49" y="138"/>
                  </a:lnTo>
                  <a:lnTo>
                    <a:pt x="7" y="47"/>
                  </a:lnTo>
                  <a:lnTo>
                    <a:pt x="0" y="23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68" name="Freeform 334"/>
            <p:cNvSpPr>
              <a:spLocks noChangeAspect="1"/>
            </p:cNvSpPr>
            <p:nvPr>
              <p:custDataLst>
                <p:tags r:id="rId157"/>
              </p:custDataLst>
            </p:nvPr>
          </p:nvSpPr>
          <p:spPr bwMode="gray">
            <a:xfrm rot="20552049">
              <a:off x="2805898" y="4302041"/>
              <a:ext cx="4681" cy="7022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51" y="11"/>
                </a:cxn>
                <a:cxn ang="0">
                  <a:pos x="0" y="52"/>
                </a:cxn>
                <a:cxn ang="0">
                  <a:pos x="14" y="63"/>
                </a:cxn>
                <a:cxn ang="0">
                  <a:pos x="62" y="31"/>
                </a:cxn>
                <a:cxn ang="0">
                  <a:pos x="86" y="0"/>
                </a:cxn>
              </a:cxnLst>
              <a:rect l="0" t="0" r="r" b="b"/>
              <a:pathLst>
                <a:path w="86" h="63">
                  <a:moveTo>
                    <a:pt x="86" y="0"/>
                  </a:moveTo>
                  <a:lnTo>
                    <a:pt x="51" y="11"/>
                  </a:lnTo>
                  <a:lnTo>
                    <a:pt x="0" y="52"/>
                  </a:lnTo>
                  <a:lnTo>
                    <a:pt x="14" y="63"/>
                  </a:lnTo>
                  <a:lnTo>
                    <a:pt x="62" y="31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69" name="Freeform 335"/>
            <p:cNvSpPr>
              <a:spLocks noChangeAspect="1"/>
            </p:cNvSpPr>
            <p:nvPr>
              <p:custDataLst>
                <p:tags r:id="rId158"/>
              </p:custDataLst>
            </p:nvPr>
          </p:nvSpPr>
          <p:spPr bwMode="gray">
            <a:xfrm rot="20552049">
              <a:off x="2796536" y="4323107"/>
              <a:ext cx="14044" cy="23406"/>
            </a:xfrm>
            <a:custGeom>
              <a:avLst/>
              <a:gdLst/>
              <a:ahLst/>
              <a:cxnLst>
                <a:cxn ang="0">
                  <a:pos x="287" y="26"/>
                </a:cxn>
                <a:cxn ang="0">
                  <a:pos x="267" y="48"/>
                </a:cxn>
                <a:cxn ang="0">
                  <a:pos x="259" y="106"/>
                </a:cxn>
                <a:cxn ang="0">
                  <a:pos x="267" y="144"/>
                </a:cxn>
                <a:cxn ang="0">
                  <a:pos x="276" y="153"/>
                </a:cxn>
                <a:cxn ang="0">
                  <a:pos x="270" y="204"/>
                </a:cxn>
                <a:cxn ang="0">
                  <a:pos x="233" y="232"/>
                </a:cxn>
                <a:cxn ang="0">
                  <a:pos x="173" y="245"/>
                </a:cxn>
                <a:cxn ang="0">
                  <a:pos x="3" y="245"/>
                </a:cxn>
                <a:cxn ang="0">
                  <a:pos x="0" y="232"/>
                </a:cxn>
                <a:cxn ang="0">
                  <a:pos x="102" y="194"/>
                </a:cxn>
                <a:cxn ang="0">
                  <a:pos x="118" y="156"/>
                </a:cxn>
                <a:cxn ang="0">
                  <a:pos x="128" y="85"/>
                </a:cxn>
                <a:cxn ang="0">
                  <a:pos x="123" y="72"/>
                </a:cxn>
                <a:cxn ang="0">
                  <a:pos x="111" y="65"/>
                </a:cxn>
                <a:cxn ang="0">
                  <a:pos x="77" y="60"/>
                </a:cxn>
                <a:cxn ang="0">
                  <a:pos x="72" y="34"/>
                </a:cxn>
                <a:cxn ang="0">
                  <a:pos x="85" y="34"/>
                </a:cxn>
                <a:cxn ang="0">
                  <a:pos x="111" y="23"/>
                </a:cxn>
                <a:cxn ang="0">
                  <a:pos x="207" y="18"/>
                </a:cxn>
                <a:cxn ang="0">
                  <a:pos x="276" y="0"/>
                </a:cxn>
                <a:cxn ang="0">
                  <a:pos x="287" y="0"/>
                </a:cxn>
                <a:cxn ang="0">
                  <a:pos x="287" y="26"/>
                </a:cxn>
              </a:cxnLst>
              <a:rect l="0" t="0" r="r" b="b"/>
              <a:pathLst>
                <a:path w="287" h="245">
                  <a:moveTo>
                    <a:pt x="287" y="26"/>
                  </a:moveTo>
                  <a:lnTo>
                    <a:pt x="267" y="48"/>
                  </a:lnTo>
                  <a:lnTo>
                    <a:pt x="259" y="106"/>
                  </a:lnTo>
                  <a:lnTo>
                    <a:pt x="267" y="144"/>
                  </a:lnTo>
                  <a:lnTo>
                    <a:pt x="276" y="153"/>
                  </a:lnTo>
                  <a:lnTo>
                    <a:pt x="270" y="204"/>
                  </a:lnTo>
                  <a:lnTo>
                    <a:pt x="233" y="232"/>
                  </a:lnTo>
                  <a:lnTo>
                    <a:pt x="173" y="245"/>
                  </a:lnTo>
                  <a:lnTo>
                    <a:pt x="3" y="245"/>
                  </a:lnTo>
                  <a:lnTo>
                    <a:pt x="0" y="232"/>
                  </a:lnTo>
                  <a:lnTo>
                    <a:pt x="102" y="194"/>
                  </a:lnTo>
                  <a:lnTo>
                    <a:pt x="118" y="156"/>
                  </a:lnTo>
                  <a:lnTo>
                    <a:pt x="128" y="85"/>
                  </a:lnTo>
                  <a:lnTo>
                    <a:pt x="123" y="72"/>
                  </a:lnTo>
                  <a:lnTo>
                    <a:pt x="111" y="65"/>
                  </a:lnTo>
                  <a:lnTo>
                    <a:pt x="77" y="60"/>
                  </a:lnTo>
                  <a:lnTo>
                    <a:pt x="72" y="34"/>
                  </a:lnTo>
                  <a:lnTo>
                    <a:pt x="85" y="34"/>
                  </a:lnTo>
                  <a:lnTo>
                    <a:pt x="111" y="23"/>
                  </a:lnTo>
                  <a:lnTo>
                    <a:pt x="207" y="18"/>
                  </a:lnTo>
                  <a:lnTo>
                    <a:pt x="276" y="0"/>
                  </a:lnTo>
                  <a:lnTo>
                    <a:pt x="287" y="0"/>
                  </a:lnTo>
                  <a:lnTo>
                    <a:pt x="287" y="2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70" name="Freeform 336"/>
            <p:cNvSpPr>
              <a:spLocks noChangeAspect="1"/>
            </p:cNvSpPr>
            <p:nvPr>
              <p:custDataLst>
                <p:tags r:id="rId159"/>
              </p:custDataLst>
            </p:nvPr>
          </p:nvSpPr>
          <p:spPr bwMode="gray">
            <a:xfrm rot="20552049">
              <a:off x="2541411" y="4086706"/>
              <a:ext cx="2341" cy="4681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39" y="0"/>
                </a:cxn>
                <a:cxn ang="0">
                  <a:pos x="68" y="20"/>
                </a:cxn>
                <a:cxn ang="0">
                  <a:pos x="63" y="42"/>
                </a:cxn>
                <a:cxn ang="0">
                  <a:pos x="14" y="42"/>
                </a:cxn>
                <a:cxn ang="0">
                  <a:pos x="5" y="34"/>
                </a:cxn>
                <a:cxn ang="0">
                  <a:pos x="0" y="20"/>
                </a:cxn>
                <a:cxn ang="0">
                  <a:pos x="5" y="9"/>
                </a:cxn>
                <a:cxn ang="0">
                  <a:pos x="17" y="9"/>
                </a:cxn>
                <a:cxn ang="0">
                  <a:pos x="26" y="0"/>
                </a:cxn>
              </a:cxnLst>
              <a:rect l="0" t="0" r="r" b="b"/>
              <a:pathLst>
                <a:path w="68" h="42">
                  <a:moveTo>
                    <a:pt x="26" y="0"/>
                  </a:moveTo>
                  <a:lnTo>
                    <a:pt x="39" y="0"/>
                  </a:lnTo>
                  <a:lnTo>
                    <a:pt x="68" y="20"/>
                  </a:lnTo>
                  <a:lnTo>
                    <a:pt x="63" y="42"/>
                  </a:lnTo>
                  <a:lnTo>
                    <a:pt x="14" y="42"/>
                  </a:lnTo>
                  <a:lnTo>
                    <a:pt x="5" y="34"/>
                  </a:lnTo>
                  <a:lnTo>
                    <a:pt x="0" y="20"/>
                  </a:lnTo>
                  <a:lnTo>
                    <a:pt x="5" y="9"/>
                  </a:lnTo>
                  <a:lnTo>
                    <a:pt x="17" y="9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grpSp>
          <p:nvGrpSpPr>
            <p:cNvPr id="171" name="Haiti"/>
            <p:cNvGrpSpPr>
              <a:grpSpLocks noChangeAspect="1"/>
            </p:cNvGrpSpPr>
            <p:nvPr/>
          </p:nvGrpSpPr>
          <p:grpSpPr bwMode="gray">
            <a:xfrm>
              <a:off x="2529708" y="4091387"/>
              <a:ext cx="42131" cy="65537"/>
              <a:chOff x="1694" y="2257"/>
              <a:chExt cx="18" cy="28"/>
            </a:xfrm>
            <a:grpFill/>
          </p:grpSpPr>
          <p:sp>
            <p:nvSpPr>
              <p:cNvPr id="184" name="Haiti"/>
              <p:cNvSpPr>
                <a:spLocks noChangeAspect="1"/>
              </p:cNvSpPr>
              <p:nvPr>
                <p:custDataLst>
                  <p:tags r:id="rId172"/>
                </p:custDataLst>
              </p:nvPr>
            </p:nvSpPr>
            <p:spPr bwMode="gray">
              <a:xfrm rot="20552049">
                <a:off x="1701" y="2270"/>
                <a:ext cx="3" cy="4"/>
              </a:xfrm>
              <a:custGeom>
                <a:avLst/>
                <a:gdLst/>
                <a:ahLst/>
                <a:cxnLst>
                  <a:cxn ang="0">
                    <a:pos x="89" y="8"/>
                  </a:cxn>
                  <a:cxn ang="0">
                    <a:pos x="138" y="32"/>
                  </a:cxn>
                  <a:cxn ang="0">
                    <a:pos x="147" y="83"/>
                  </a:cxn>
                  <a:cxn ang="0">
                    <a:pos x="105" y="62"/>
                  </a:cxn>
                  <a:cxn ang="0">
                    <a:pos x="29" y="56"/>
                  </a:cxn>
                  <a:cxn ang="0">
                    <a:pos x="0" y="14"/>
                  </a:cxn>
                  <a:cxn ang="0">
                    <a:pos x="32" y="0"/>
                  </a:cxn>
                  <a:cxn ang="0">
                    <a:pos x="89" y="8"/>
                  </a:cxn>
                </a:cxnLst>
                <a:rect l="0" t="0" r="r" b="b"/>
                <a:pathLst>
                  <a:path w="147" h="83">
                    <a:moveTo>
                      <a:pt x="89" y="8"/>
                    </a:moveTo>
                    <a:lnTo>
                      <a:pt x="138" y="32"/>
                    </a:lnTo>
                    <a:lnTo>
                      <a:pt x="147" y="83"/>
                    </a:lnTo>
                    <a:lnTo>
                      <a:pt x="105" y="62"/>
                    </a:lnTo>
                    <a:lnTo>
                      <a:pt x="29" y="56"/>
                    </a:lnTo>
                    <a:lnTo>
                      <a:pt x="0" y="14"/>
                    </a:lnTo>
                    <a:lnTo>
                      <a:pt x="32" y="0"/>
                    </a:lnTo>
                    <a:lnTo>
                      <a:pt x="89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5" name="Haiti"/>
              <p:cNvSpPr>
                <a:spLocks noChangeAspect="1"/>
              </p:cNvSpPr>
              <p:nvPr>
                <p:custDataLst>
                  <p:tags r:id="rId173"/>
                </p:custDataLst>
              </p:nvPr>
            </p:nvSpPr>
            <p:spPr bwMode="gray">
              <a:xfrm rot="20552049">
                <a:off x="1694" y="2257"/>
                <a:ext cx="18" cy="28"/>
              </a:xfrm>
              <a:custGeom>
                <a:avLst/>
                <a:gdLst/>
                <a:ahLst/>
                <a:cxnLst>
                  <a:cxn ang="0">
                    <a:pos x="826" y="627"/>
                  </a:cxn>
                  <a:cxn ang="0">
                    <a:pos x="835" y="614"/>
                  </a:cxn>
                  <a:cxn ang="0">
                    <a:pos x="843" y="539"/>
                  </a:cxn>
                  <a:cxn ang="0">
                    <a:pos x="835" y="504"/>
                  </a:cxn>
                  <a:cxn ang="0">
                    <a:pos x="801" y="466"/>
                  </a:cxn>
                  <a:cxn ang="0">
                    <a:pos x="801" y="442"/>
                  </a:cxn>
                  <a:cxn ang="0">
                    <a:pos x="809" y="425"/>
                  </a:cxn>
                  <a:cxn ang="0">
                    <a:pos x="852" y="392"/>
                  </a:cxn>
                  <a:cxn ang="0">
                    <a:pos x="847" y="298"/>
                  </a:cxn>
                  <a:cxn ang="0">
                    <a:pos x="868" y="277"/>
                  </a:cxn>
                  <a:cxn ang="0">
                    <a:pos x="877" y="243"/>
                  </a:cxn>
                  <a:cxn ang="0">
                    <a:pos x="852" y="214"/>
                  </a:cxn>
                  <a:cxn ang="0">
                    <a:pos x="860" y="135"/>
                  </a:cxn>
                  <a:cxn ang="0">
                    <a:pos x="847" y="88"/>
                  </a:cxn>
                  <a:cxn ang="0">
                    <a:pos x="813" y="46"/>
                  </a:cxn>
                  <a:cxn ang="0">
                    <a:pos x="818" y="37"/>
                  </a:cxn>
                  <a:cxn ang="0">
                    <a:pos x="809" y="37"/>
                  </a:cxn>
                  <a:cxn ang="0">
                    <a:pos x="775" y="63"/>
                  </a:cxn>
                  <a:cxn ang="0">
                    <a:pos x="639" y="67"/>
                  </a:cxn>
                  <a:cxn ang="0">
                    <a:pos x="606" y="59"/>
                  </a:cxn>
                  <a:cxn ang="0">
                    <a:pos x="564" y="29"/>
                  </a:cxn>
                  <a:cxn ang="0">
                    <a:pos x="513" y="8"/>
                  </a:cxn>
                  <a:cxn ang="0">
                    <a:pos x="445" y="0"/>
                  </a:cxn>
                  <a:cxn ang="0">
                    <a:pos x="356" y="17"/>
                  </a:cxn>
                  <a:cxn ang="0">
                    <a:pos x="317" y="37"/>
                  </a:cxn>
                  <a:cxn ang="0">
                    <a:pos x="300" y="63"/>
                  </a:cxn>
                  <a:cxn ang="0">
                    <a:pos x="305" y="101"/>
                  </a:cxn>
                  <a:cxn ang="0">
                    <a:pos x="326" y="109"/>
                  </a:cxn>
                  <a:cxn ang="0">
                    <a:pos x="445" y="109"/>
                  </a:cxn>
                  <a:cxn ang="0">
                    <a:pos x="492" y="135"/>
                  </a:cxn>
                  <a:cxn ang="0">
                    <a:pos x="504" y="172"/>
                  </a:cxn>
                  <a:cxn ang="0">
                    <a:pos x="504" y="298"/>
                  </a:cxn>
                  <a:cxn ang="0">
                    <a:pos x="513" y="327"/>
                  </a:cxn>
                  <a:cxn ang="0">
                    <a:pos x="584" y="387"/>
                  </a:cxn>
                  <a:cxn ang="0">
                    <a:pos x="631" y="412"/>
                  </a:cxn>
                  <a:cxn ang="0">
                    <a:pos x="635" y="442"/>
                  </a:cxn>
                  <a:cxn ang="0">
                    <a:pos x="618" y="459"/>
                  </a:cxn>
                  <a:cxn ang="0">
                    <a:pos x="581" y="459"/>
                  </a:cxn>
                  <a:cxn ang="0">
                    <a:pos x="516" y="476"/>
                  </a:cxn>
                  <a:cxn ang="0">
                    <a:pos x="377" y="479"/>
                  </a:cxn>
                  <a:cxn ang="0">
                    <a:pos x="262" y="466"/>
                  </a:cxn>
                  <a:cxn ang="0">
                    <a:pos x="186" y="445"/>
                  </a:cxn>
                  <a:cxn ang="0">
                    <a:pos x="8" y="445"/>
                  </a:cxn>
                  <a:cxn ang="0">
                    <a:pos x="0" y="459"/>
                  </a:cxn>
                  <a:cxn ang="0">
                    <a:pos x="0" y="491"/>
                  </a:cxn>
                  <a:cxn ang="0">
                    <a:pos x="42" y="550"/>
                  </a:cxn>
                  <a:cxn ang="0">
                    <a:pos x="131" y="589"/>
                  </a:cxn>
                  <a:cxn ang="0">
                    <a:pos x="164" y="623"/>
                  </a:cxn>
                  <a:cxn ang="0">
                    <a:pos x="186" y="614"/>
                  </a:cxn>
                  <a:cxn ang="0">
                    <a:pos x="181" y="584"/>
                  </a:cxn>
                  <a:cxn ang="0">
                    <a:pos x="198" y="567"/>
                  </a:cxn>
                  <a:cxn ang="0">
                    <a:pos x="224" y="555"/>
                  </a:cxn>
                  <a:cxn ang="0">
                    <a:pos x="249" y="555"/>
                  </a:cxn>
                  <a:cxn ang="0">
                    <a:pos x="339" y="559"/>
                  </a:cxn>
                  <a:cxn ang="0">
                    <a:pos x="504" y="601"/>
                  </a:cxn>
                  <a:cxn ang="0">
                    <a:pos x="547" y="597"/>
                  </a:cxn>
                  <a:cxn ang="0">
                    <a:pos x="648" y="567"/>
                  </a:cxn>
                  <a:cxn ang="0">
                    <a:pos x="690" y="567"/>
                  </a:cxn>
                  <a:cxn ang="0">
                    <a:pos x="729" y="575"/>
                  </a:cxn>
                  <a:cxn ang="0">
                    <a:pos x="758" y="592"/>
                  </a:cxn>
                  <a:cxn ang="0">
                    <a:pos x="787" y="601"/>
                  </a:cxn>
                  <a:cxn ang="0">
                    <a:pos x="821" y="617"/>
                  </a:cxn>
                  <a:cxn ang="0">
                    <a:pos x="826" y="627"/>
                  </a:cxn>
                </a:cxnLst>
                <a:rect l="0" t="0" r="r" b="b"/>
                <a:pathLst>
                  <a:path w="877" h="627">
                    <a:moveTo>
                      <a:pt x="826" y="627"/>
                    </a:moveTo>
                    <a:lnTo>
                      <a:pt x="835" y="614"/>
                    </a:lnTo>
                    <a:lnTo>
                      <a:pt x="843" y="539"/>
                    </a:lnTo>
                    <a:lnTo>
                      <a:pt x="835" y="504"/>
                    </a:lnTo>
                    <a:lnTo>
                      <a:pt x="801" y="466"/>
                    </a:lnTo>
                    <a:lnTo>
                      <a:pt x="801" y="442"/>
                    </a:lnTo>
                    <a:lnTo>
                      <a:pt x="809" y="425"/>
                    </a:lnTo>
                    <a:lnTo>
                      <a:pt x="852" y="392"/>
                    </a:lnTo>
                    <a:lnTo>
                      <a:pt x="847" y="298"/>
                    </a:lnTo>
                    <a:lnTo>
                      <a:pt x="868" y="277"/>
                    </a:lnTo>
                    <a:lnTo>
                      <a:pt x="877" y="243"/>
                    </a:lnTo>
                    <a:lnTo>
                      <a:pt x="852" y="214"/>
                    </a:lnTo>
                    <a:lnTo>
                      <a:pt x="860" y="135"/>
                    </a:lnTo>
                    <a:lnTo>
                      <a:pt x="847" y="88"/>
                    </a:lnTo>
                    <a:lnTo>
                      <a:pt x="813" y="46"/>
                    </a:lnTo>
                    <a:lnTo>
                      <a:pt x="818" y="37"/>
                    </a:lnTo>
                    <a:lnTo>
                      <a:pt x="809" y="37"/>
                    </a:lnTo>
                    <a:lnTo>
                      <a:pt x="775" y="63"/>
                    </a:lnTo>
                    <a:lnTo>
                      <a:pt x="639" y="67"/>
                    </a:lnTo>
                    <a:lnTo>
                      <a:pt x="606" y="59"/>
                    </a:lnTo>
                    <a:lnTo>
                      <a:pt x="564" y="29"/>
                    </a:lnTo>
                    <a:lnTo>
                      <a:pt x="513" y="8"/>
                    </a:lnTo>
                    <a:lnTo>
                      <a:pt x="445" y="0"/>
                    </a:lnTo>
                    <a:lnTo>
                      <a:pt x="356" y="17"/>
                    </a:lnTo>
                    <a:lnTo>
                      <a:pt x="317" y="37"/>
                    </a:lnTo>
                    <a:lnTo>
                      <a:pt x="300" y="63"/>
                    </a:lnTo>
                    <a:lnTo>
                      <a:pt x="305" y="101"/>
                    </a:lnTo>
                    <a:lnTo>
                      <a:pt x="326" y="109"/>
                    </a:lnTo>
                    <a:lnTo>
                      <a:pt x="445" y="109"/>
                    </a:lnTo>
                    <a:lnTo>
                      <a:pt x="492" y="135"/>
                    </a:lnTo>
                    <a:lnTo>
                      <a:pt x="504" y="172"/>
                    </a:lnTo>
                    <a:lnTo>
                      <a:pt x="504" y="298"/>
                    </a:lnTo>
                    <a:lnTo>
                      <a:pt x="513" y="327"/>
                    </a:lnTo>
                    <a:lnTo>
                      <a:pt x="584" y="387"/>
                    </a:lnTo>
                    <a:lnTo>
                      <a:pt x="631" y="412"/>
                    </a:lnTo>
                    <a:lnTo>
                      <a:pt x="635" y="442"/>
                    </a:lnTo>
                    <a:lnTo>
                      <a:pt x="618" y="459"/>
                    </a:lnTo>
                    <a:lnTo>
                      <a:pt x="581" y="459"/>
                    </a:lnTo>
                    <a:lnTo>
                      <a:pt x="516" y="476"/>
                    </a:lnTo>
                    <a:lnTo>
                      <a:pt x="377" y="479"/>
                    </a:lnTo>
                    <a:lnTo>
                      <a:pt x="262" y="466"/>
                    </a:lnTo>
                    <a:lnTo>
                      <a:pt x="186" y="445"/>
                    </a:lnTo>
                    <a:lnTo>
                      <a:pt x="8" y="445"/>
                    </a:lnTo>
                    <a:lnTo>
                      <a:pt x="0" y="459"/>
                    </a:lnTo>
                    <a:lnTo>
                      <a:pt x="0" y="491"/>
                    </a:lnTo>
                    <a:lnTo>
                      <a:pt x="42" y="550"/>
                    </a:lnTo>
                    <a:lnTo>
                      <a:pt x="131" y="589"/>
                    </a:lnTo>
                    <a:lnTo>
                      <a:pt x="164" y="623"/>
                    </a:lnTo>
                    <a:lnTo>
                      <a:pt x="186" y="614"/>
                    </a:lnTo>
                    <a:lnTo>
                      <a:pt x="181" y="584"/>
                    </a:lnTo>
                    <a:lnTo>
                      <a:pt x="198" y="567"/>
                    </a:lnTo>
                    <a:lnTo>
                      <a:pt x="224" y="555"/>
                    </a:lnTo>
                    <a:lnTo>
                      <a:pt x="249" y="555"/>
                    </a:lnTo>
                    <a:lnTo>
                      <a:pt x="339" y="559"/>
                    </a:lnTo>
                    <a:lnTo>
                      <a:pt x="504" y="601"/>
                    </a:lnTo>
                    <a:lnTo>
                      <a:pt x="547" y="597"/>
                    </a:lnTo>
                    <a:lnTo>
                      <a:pt x="648" y="567"/>
                    </a:lnTo>
                    <a:lnTo>
                      <a:pt x="690" y="567"/>
                    </a:lnTo>
                    <a:lnTo>
                      <a:pt x="729" y="575"/>
                    </a:lnTo>
                    <a:lnTo>
                      <a:pt x="758" y="592"/>
                    </a:lnTo>
                    <a:lnTo>
                      <a:pt x="787" y="601"/>
                    </a:lnTo>
                    <a:lnTo>
                      <a:pt x="821" y="617"/>
                    </a:lnTo>
                    <a:lnTo>
                      <a:pt x="826" y="62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sz="923" b="1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72" name="Puerto Rico"/>
            <p:cNvSpPr>
              <a:spLocks noChangeAspect="1"/>
            </p:cNvSpPr>
            <p:nvPr>
              <p:custDataLst>
                <p:tags r:id="rId160"/>
              </p:custDataLst>
            </p:nvPr>
          </p:nvSpPr>
          <p:spPr bwMode="gray">
            <a:xfrm rot="20552049">
              <a:off x="2644397" y="4105431"/>
              <a:ext cx="23406" cy="18725"/>
            </a:xfrm>
            <a:custGeom>
              <a:avLst/>
              <a:gdLst/>
              <a:ahLst/>
              <a:cxnLst>
                <a:cxn ang="0">
                  <a:pos x="442" y="20"/>
                </a:cxn>
                <a:cxn ang="0">
                  <a:pos x="462" y="54"/>
                </a:cxn>
                <a:cxn ang="0">
                  <a:pos x="471" y="99"/>
                </a:cxn>
                <a:cxn ang="0">
                  <a:pos x="425" y="141"/>
                </a:cxn>
                <a:cxn ang="0">
                  <a:pos x="393" y="159"/>
                </a:cxn>
                <a:cxn ang="0">
                  <a:pos x="292" y="180"/>
                </a:cxn>
                <a:cxn ang="0">
                  <a:pos x="224" y="180"/>
                </a:cxn>
                <a:cxn ang="0">
                  <a:pos x="156" y="172"/>
                </a:cxn>
                <a:cxn ang="0">
                  <a:pos x="51" y="176"/>
                </a:cxn>
                <a:cxn ang="0">
                  <a:pos x="42" y="172"/>
                </a:cxn>
                <a:cxn ang="0">
                  <a:pos x="30" y="113"/>
                </a:cxn>
                <a:cxn ang="0">
                  <a:pos x="0" y="66"/>
                </a:cxn>
                <a:cxn ang="0">
                  <a:pos x="0" y="23"/>
                </a:cxn>
                <a:cxn ang="0">
                  <a:pos x="30" y="0"/>
                </a:cxn>
                <a:cxn ang="0">
                  <a:pos x="385" y="0"/>
                </a:cxn>
                <a:cxn ang="0">
                  <a:pos x="416" y="3"/>
                </a:cxn>
                <a:cxn ang="0">
                  <a:pos x="437" y="11"/>
                </a:cxn>
                <a:cxn ang="0">
                  <a:pos x="442" y="20"/>
                </a:cxn>
              </a:cxnLst>
              <a:rect l="0" t="0" r="r" b="b"/>
              <a:pathLst>
                <a:path w="471" h="180">
                  <a:moveTo>
                    <a:pt x="442" y="20"/>
                  </a:moveTo>
                  <a:lnTo>
                    <a:pt x="462" y="54"/>
                  </a:lnTo>
                  <a:lnTo>
                    <a:pt x="471" y="99"/>
                  </a:lnTo>
                  <a:lnTo>
                    <a:pt x="425" y="141"/>
                  </a:lnTo>
                  <a:lnTo>
                    <a:pt x="393" y="159"/>
                  </a:lnTo>
                  <a:lnTo>
                    <a:pt x="292" y="180"/>
                  </a:lnTo>
                  <a:lnTo>
                    <a:pt x="224" y="180"/>
                  </a:lnTo>
                  <a:lnTo>
                    <a:pt x="156" y="172"/>
                  </a:lnTo>
                  <a:lnTo>
                    <a:pt x="51" y="176"/>
                  </a:lnTo>
                  <a:lnTo>
                    <a:pt x="42" y="172"/>
                  </a:lnTo>
                  <a:lnTo>
                    <a:pt x="30" y="113"/>
                  </a:lnTo>
                  <a:lnTo>
                    <a:pt x="0" y="66"/>
                  </a:lnTo>
                  <a:lnTo>
                    <a:pt x="0" y="23"/>
                  </a:lnTo>
                  <a:lnTo>
                    <a:pt x="30" y="0"/>
                  </a:lnTo>
                  <a:lnTo>
                    <a:pt x="385" y="0"/>
                  </a:lnTo>
                  <a:lnTo>
                    <a:pt x="416" y="3"/>
                  </a:lnTo>
                  <a:lnTo>
                    <a:pt x="437" y="11"/>
                  </a:lnTo>
                  <a:lnTo>
                    <a:pt x="442" y="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73" name="Freeform 341"/>
            <p:cNvSpPr>
              <a:spLocks noChangeAspect="1"/>
            </p:cNvSpPr>
            <p:nvPr>
              <p:custDataLst>
                <p:tags r:id="rId161"/>
              </p:custDataLst>
            </p:nvPr>
          </p:nvSpPr>
          <p:spPr bwMode="gray">
            <a:xfrm rot="20552049">
              <a:off x="2787174" y="4241186"/>
              <a:ext cx="0" cy="7022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0" y="7"/>
                </a:cxn>
                <a:cxn ang="0">
                  <a:pos x="0" y="76"/>
                </a:cxn>
                <a:cxn ang="0">
                  <a:pos x="14" y="59"/>
                </a:cxn>
                <a:cxn ang="0">
                  <a:pos x="14" y="0"/>
                </a:cxn>
              </a:cxnLst>
              <a:rect l="0" t="0" r="r" b="b"/>
              <a:pathLst>
                <a:path w="14" h="76">
                  <a:moveTo>
                    <a:pt x="14" y="0"/>
                  </a:moveTo>
                  <a:lnTo>
                    <a:pt x="0" y="7"/>
                  </a:lnTo>
                  <a:lnTo>
                    <a:pt x="0" y="76"/>
                  </a:lnTo>
                  <a:lnTo>
                    <a:pt x="14" y="59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74" name="Freeform 342"/>
            <p:cNvSpPr>
              <a:spLocks noChangeAspect="1"/>
            </p:cNvSpPr>
            <p:nvPr>
              <p:custDataLst>
                <p:tags r:id="rId162"/>
              </p:custDataLst>
            </p:nvPr>
          </p:nvSpPr>
          <p:spPr bwMode="gray">
            <a:xfrm rot="20552049">
              <a:off x="2747383" y="4142880"/>
              <a:ext cx="7022" cy="16384"/>
            </a:xfrm>
            <a:custGeom>
              <a:avLst/>
              <a:gdLst/>
              <a:ahLst/>
              <a:cxnLst>
                <a:cxn ang="0">
                  <a:pos x="122" y="0"/>
                </a:cxn>
                <a:cxn ang="0">
                  <a:pos x="98" y="4"/>
                </a:cxn>
                <a:cxn ang="0">
                  <a:pos x="81" y="52"/>
                </a:cxn>
                <a:cxn ang="0">
                  <a:pos x="17" y="45"/>
                </a:cxn>
                <a:cxn ang="0">
                  <a:pos x="0" y="104"/>
                </a:cxn>
                <a:cxn ang="0">
                  <a:pos x="8" y="160"/>
                </a:cxn>
                <a:cxn ang="0">
                  <a:pos x="53" y="163"/>
                </a:cxn>
                <a:cxn ang="0">
                  <a:pos x="70" y="104"/>
                </a:cxn>
                <a:cxn ang="0">
                  <a:pos x="83" y="93"/>
                </a:cxn>
                <a:cxn ang="0">
                  <a:pos x="132" y="91"/>
                </a:cxn>
                <a:cxn ang="0">
                  <a:pos x="173" y="74"/>
                </a:cxn>
                <a:cxn ang="0">
                  <a:pos x="166" y="52"/>
                </a:cxn>
                <a:cxn ang="0">
                  <a:pos x="135" y="38"/>
                </a:cxn>
                <a:cxn ang="0">
                  <a:pos x="122" y="0"/>
                </a:cxn>
              </a:cxnLst>
              <a:rect l="0" t="0" r="r" b="b"/>
              <a:pathLst>
                <a:path w="173" h="163">
                  <a:moveTo>
                    <a:pt x="122" y="0"/>
                  </a:moveTo>
                  <a:lnTo>
                    <a:pt x="98" y="4"/>
                  </a:lnTo>
                  <a:lnTo>
                    <a:pt x="81" y="52"/>
                  </a:lnTo>
                  <a:lnTo>
                    <a:pt x="17" y="45"/>
                  </a:lnTo>
                  <a:lnTo>
                    <a:pt x="0" y="104"/>
                  </a:lnTo>
                  <a:lnTo>
                    <a:pt x="8" y="160"/>
                  </a:lnTo>
                  <a:lnTo>
                    <a:pt x="53" y="163"/>
                  </a:lnTo>
                  <a:lnTo>
                    <a:pt x="70" y="104"/>
                  </a:lnTo>
                  <a:lnTo>
                    <a:pt x="83" y="93"/>
                  </a:lnTo>
                  <a:lnTo>
                    <a:pt x="132" y="91"/>
                  </a:lnTo>
                  <a:lnTo>
                    <a:pt x="173" y="74"/>
                  </a:lnTo>
                  <a:lnTo>
                    <a:pt x="166" y="52"/>
                  </a:lnTo>
                  <a:lnTo>
                    <a:pt x="135" y="38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75" name="Freeform 343"/>
            <p:cNvSpPr>
              <a:spLocks noChangeAspect="1"/>
            </p:cNvSpPr>
            <p:nvPr>
              <p:custDataLst>
                <p:tags r:id="rId163"/>
              </p:custDataLst>
            </p:nvPr>
          </p:nvSpPr>
          <p:spPr bwMode="gray">
            <a:xfrm rot="20552049">
              <a:off x="2679506" y="4100750"/>
              <a:ext cx="0" cy="2341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0" y="21"/>
                </a:cxn>
                <a:cxn ang="0">
                  <a:pos x="3" y="39"/>
                </a:cxn>
                <a:cxn ang="0">
                  <a:pos x="28" y="32"/>
                </a:cxn>
                <a:cxn ang="0">
                  <a:pos x="28" y="0"/>
                </a:cxn>
              </a:cxnLst>
              <a:rect l="0" t="0" r="r" b="b"/>
              <a:pathLst>
                <a:path w="28" h="39">
                  <a:moveTo>
                    <a:pt x="28" y="0"/>
                  </a:moveTo>
                  <a:lnTo>
                    <a:pt x="0" y="21"/>
                  </a:lnTo>
                  <a:lnTo>
                    <a:pt x="3" y="39"/>
                  </a:lnTo>
                  <a:lnTo>
                    <a:pt x="28" y="32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76" name="Freeform 344"/>
            <p:cNvSpPr>
              <a:spLocks noChangeAspect="1"/>
            </p:cNvSpPr>
            <p:nvPr>
              <p:custDataLst>
                <p:tags r:id="rId164"/>
              </p:custDataLst>
            </p:nvPr>
          </p:nvSpPr>
          <p:spPr bwMode="gray">
            <a:xfrm rot="20552049">
              <a:off x="2684187" y="4119474"/>
              <a:ext cx="2341" cy="4681"/>
            </a:xfrm>
            <a:custGeom>
              <a:avLst/>
              <a:gdLst/>
              <a:ahLst/>
              <a:cxnLst>
                <a:cxn ang="0">
                  <a:pos x="6" y="8"/>
                </a:cxn>
                <a:cxn ang="0">
                  <a:pos x="0" y="17"/>
                </a:cxn>
                <a:cxn ang="0">
                  <a:pos x="6" y="34"/>
                </a:cxn>
                <a:cxn ang="0">
                  <a:pos x="42" y="0"/>
                </a:cxn>
                <a:cxn ang="0">
                  <a:pos x="6" y="8"/>
                </a:cxn>
              </a:cxnLst>
              <a:rect l="0" t="0" r="r" b="b"/>
              <a:pathLst>
                <a:path w="42" h="34">
                  <a:moveTo>
                    <a:pt x="6" y="8"/>
                  </a:moveTo>
                  <a:lnTo>
                    <a:pt x="0" y="17"/>
                  </a:lnTo>
                  <a:lnTo>
                    <a:pt x="6" y="34"/>
                  </a:lnTo>
                  <a:lnTo>
                    <a:pt x="42" y="0"/>
                  </a:lnTo>
                  <a:lnTo>
                    <a:pt x="6" y="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77" name="Freeform 345"/>
            <p:cNvSpPr>
              <a:spLocks noChangeAspect="1"/>
            </p:cNvSpPr>
            <p:nvPr>
              <p:custDataLst>
                <p:tags r:id="rId165"/>
              </p:custDataLst>
            </p:nvPr>
          </p:nvSpPr>
          <p:spPr bwMode="gray">
            <a:xfrm rot="20552049">
              <a:off x="2759086" y="4168627"/>
              <a:ext cx="4681" cy="11703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0"/>
                </a:cxn>
                <a:cxn ang="0">
                  <a:pos x="0" y="86"/>
                </a:cxn>
                <a:cxn ang="0">
                  <a:pos x="14" y="124"/>
                </a:cxn>
                <a:cxn ang="0">
                  <a:pos x="42" y="124"/>
                </a:cxn>
                <a:cxn ang="0">
                  <a:pos x="52" y="90"/>
                </a:cxn>
                <a:cxn ang="0">
                  <a:pos x="49" y="20"/>
                </a:cxn>
                <a:cxn ang="0">
                  <a:pos x="18" y="0"/>
                </a:cxn>
              </a:cxnLst>
              <a:rect l="0" t="0" r="r" b="b"/>
              <a:pathLst>
                <a:path w="52" h="124">
                  <a:moveTo>
                    <a:pt x="18" y="0"/>
                  </a:moveTo>
                  <a:lnTo>
                    <a:pt x="0" y="0"/>
                  </a:lnTo>
                  <a:lnTo>
                    <a:pt x="0" y="86"/>
                  </a:lnTo>
                  <a:lnTo>
                    <a:pt x="14" y="124"/>
                  </a:lnTo>
                  <a:lnTo>
                    <a:pt x="42" y="124"/>
                  </a:lnTo>
                  <a:lnTo>
                    <a:pt x="52" y="90"/>
                  </a:lnTo>
                  <a:lnTo>
                    <a:pt x="49" y="2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78" name="Freeform 346"/>
            <p:cNvSpPr>
              <a:spLocks noChangeAspect="1"/>
            </p:cNvSpPr>
            <p:nvPr>
              <p:custDataLst>
                <p:tags r:id="rId166"/>
              </p:custDataLst>
            </p:nvPr>
          </p:nvSpPr>
          <p:spPr bwMode="gray">
            <a:xfrm rot="20552049">
              <a:off x="2787174" y="4278635"/>
              <a:ext cx="2341" cy="7022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17" y="14"/>
                </a:cxn>
                <a:cxn ang="0">
                  <a:pos x="0" y="62"/>
                </a:cxn>
                <a:cxn ang="0">
                  <a:pos x="38" y="41"/>
                </a:cxn>
                <a:cxn ang="0">
                  <a:pos x="49" y="0"/>
                </a:cxn>
              </a:cxnLst>
              <a:rect l="0" t="0" r="r" b="b"/>
              <a:pathLst>
                <a:path w="49" h="62">
                  <a:moveTo>
                    <a:pt x="49" y="0"/>
                  </a:moveTo>
                  <a:lnTo>
                    <a:pt x="17" y="14"/>
                  </a:lnTo>
                  <a:lnTo>
                    <a:pt x="0" y="62"/>
                  </a:lnTo>
                  <a:lnTo>
                    <a:pt x="38" y="41"/>
                  </a:lnTo>
                  <a:lnTo>
                    <a:pt x="4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79" name="Kuba"/>
            <p:cNvSpPr>
              <a:spLocks noChangeAspect="1"/>
            </p:cNvSpPr>
            <p:nvPr>
              <p:custDataLst>
                <p:tags r:id="rId167"/>
              </p:custDataLst>
            </p:nvPr>
          </p:nvSpPr>
          <p:spPr bwMode="gray">
            <a:xfrm rot="20552049">
              <a:off x="2337778" y="4021169"/>
              <a:ext cx="173204" cy="114689"/>
            </a:xfrm>
            <a:custGeom>
              <a:avLst/>
              <a:gdLst/>
              <a:ahLst/>
              <a:cxnLst>
                <a:cxn ang="0">
                  <a:pos x="2488" y="571"/>
                </a:cxn>
                <a:cxn ang="0">
                  <a:pos x="2639" y="644"/>
                </a:cxn>
                <a:cxn ang="0">
                  <a:pos x="2750" y="689"/>
                </a:cxn>
                <a:cxn ang="0">
                  <a:pos x="2869" y="689"/>
                </a:cxn>
                <a:cxn ang="0">
                  <a:pos x="2865" y="787"/>
                </a:cxn>
                <a:cxn ang="0">
                  <a:pos x="2916" y="820"/>
                </a:cxn>
                <a:cxn ang="0">
                  <a:pos x="3170" y="871"/>
                </a:cxn>
                <a:cxn ang="0">
                  <a:pos x="3309" y="951"/>
                </a:cxn>
                <a:cxn ang="0">
                  <a:pos x="3137" y="1073"/>
                </a:cxn>
                <a:cxn ang="0">
                  <a:pos x="2908" y="1111"/>
                </a:cxn>
                <a:cxn ang="0">
                  <a:pos x="2531" y="1086"/>
                </a:cxn>
                <a:cxn ang="0">
                  <a:pos x="2269" y="1123"/>
                </a:cxn>
                <a:cxn ang="0">
                  <a:pos x="2255" y="1069"/>
                </a:cxn>
                <a:cxn ang="0">
                  <a:pos x="2449" y="951"/>
                </a:cxn>
                <a:cxn ang="0">
                  <a:pos x="2416" y="880"/>
                </a:cxn>
                <a:cxn ang="0">
                  <a:pos x="2107" y="803"/>
                </a:cxn>
                <a:cxn ang="0">
                  <a:pos x="1989" y="660"/>
                </a:cxn>
                <a:cxn ang="0">
                  <a:pos x="1832" y="547"/>
                </a:cxn>
                <a:cxn ang="0">
                  <a:pos x="1675" y="534"/>
                </a:cxn>
                <a:cxn ang="0">
                  <a:pos x="1405" y="412"/>
                </a:cxn>
                <a:cxn ang="0">
                  <a:pos x="1184" y="366"/>
                </a:cxn>
                <a:cxn ang="0">
                  <a:pos x="1091" y="383"/>
                </a:cxn>
                <a:cxn ang="0">
                  <a:pos x="955" y="353"/>
                </a:cxn>
                <a:cxn ang="0">
                  <a:pos x="870" y="293"/>
                </a:cxn>
                <a:cxn ang="0">
                  <a:pos x="990" y="231"/>
                </a:cxn>
                <a:cxn ang="0">
                  <a:pos x="929" y="189"/>
                </a:cxn>
                <a:cxn ang="0">
                  <a:pos x="604" y="205"/>
                </a:cxn>
                <a:cxn ang="0">
                  <a:pos x="451" y="325"/>
                </a:cxn>
                <a:cxn ang="0">
                  <a:pos x="281" y="403"/>
                </a:cxn>
                <a:cxn ang="0">
                  <a:pos x="129" y="482"/>
                </a:cxn>
                <a:cxn ang="0">
                  <a:pos x="99" y="449"/>
                </a:cxn>
                <a:cxn ang="0">
                  <a:pos x="78" y="396"/>
                </a:cxn>
                <a:cxn ang="0">
                  <a:pos x="147" y="366"/>
                </a:cxn>
                <a:cxn ang="0">
                  <a:pos x="238" y="176"/>
                </a:cxn>
                <a:cxn ang="0">
                  <a:pos x="454" y="79"/>
                </a:cxn>
                <a:cxn ang="0">
                  <a:pos x="1003" y="0"/>
                </a:cxn>
                <a:cxn ang="0">
                  <a:pos x="1295" y="20"/>
                </a:cxn>
                <a:cxn ang="0">
                  <a:pos x="1490" y="62"/>
                </a:cxn>
                <a:cxn ang="0">
                  <a:pos x="1637" y="189"/>
                </a:cxn>
                <a:cxn ang="0">
                  <a:pos x="1879" y="251"/>
                </a:cxn>
                <a:cxn ang="0">
                  <a:pos x="1985" y="293"/>
                </a:cxn>
                <a:cxn ang="0">
                  <a:pos x="1989" y="325"/>
                </a:cxn>
                <a:cxn ang="0">
                  <a:pos x="2167" y="429"/>
                </a:cxn>
                <a:cxn ang="0">
                  <a:pos x="2394" y="508"/>
                </a:cxn>
              </a:cxnLst>
              <a:rect l="0" t="0" r="r" b="b"/>
              <a:pathLst>
                <a:path w="3347" h="1123">
                  <a:moveTo>
                    <a:pt x="2394" y="508"/>
                  </a:moveTo>
                  <a:lnTo>
                    <a:pt x="2399" y="517"/>
                  </a:lnTo>
                  <a:lnTo>
                    <a:pt x="2488" y="571"/>
                  </a:lnTo>
                  <a:lnTo>
                    <a:pt x="2559" y="627"/>
                  </a:lnTo>
                  <a:lnTo>
                    <a:pt x="2605" y="644"/>
                  </a:lnTo>
                  <a:lnTo>
                    <a:pt x="2639" y="644"/>
                  </a:lnTo>
                  <a:lnTo>
                    <a:pt x="2665" y="652"/>
                  </a:lnTo>
                  <a:lnTo>
                    <a:pt x="2687" y="669"/>
                  </a:lnTo>
                  <a:lnTo>
                    <a:pt x="2750" y="689"/>
                  </a:lnTo>
                  <a:lnTo>
                    <a:pt x="2793" y="689"/>
                  </a:lnTo>
                  <a:lnTo>
                    <a:pt x="2835" y="680"/>
                  </a:lnTo>
                  <a:lnTo>
                    <a:pt x="2869" y="689"/>
                  </a:lnTo>
                  <a:lnTo>
                    <a:pt x="2886" y="719"/>
                  </a:lnTo>
                  <a:lnTo>
                    <a:pt x="2886" y="744"/>
                  </a:lnTo>
                  <a:lnTo>
                    <a:pt x="2865" y="787"/>
                  </a:lnTo>
                  <a:lnTo>
                    <a:pt x="2865" y="803"/>
                  </a:lnTo>
                  <a:lnTo>
                    <a:pt x="2874" y="811"/>
                  </a:lnTo>
                  <a:lnTo>
                    <a:pt x="2916" y="820"/>
                  </a:lnTo>
                  <a:lnTo>
                    <a:pt x="3094" y="816"/>
                  </a:lnTo>
                  <a:lnTo>
                    <a:pt x="3128" y="828"/>
                  </a:lnTo>
                  <a:lnTo>
                    <a:pt x="3170" y="871"/>
                  </a:lnTo>
                  <a:lnTo>
                    <a:pt x="3182" y="891"/>
                  </a:lnTo>
                  <a:lnTo>
                    <a:pt x="3259" y="947"/>
                  </a:lnTo>
                  <a:lnTo>
                    <a:pt x="3309" y="951"/>
                  </a:lnTo>
                  <a:lnTo>
                    <a:pt x="3343" y="964"/>
                  </a:lnTo>
                  <a:lnTo>
                    <a:pt x="3347" y="1002"/>
                  </a:lnTo>
                  <a:lnTo>
                    <a:pt x="3137" y="1073"/>
                  </a:lnTo>
                  <a:lnTo>
                    <a:pt x="3072" y="1103"/>
                  </a:lnTo>
                  <a:lnTo>
                    <a:pt x="2996" y="1115"/>
                  </a:lnTo>
                  <a:lnTo>
                    <a:pt x="2908" y="1111"/>
                  </a:lnTo>
                  <a:lnTo>
                    <a:pt x="2852" y="1094"/>
                  </a:lnTo>
                  <a:lnTo>
                    <a:pt x="2793" y="1090"/>
                  </a:lnTo>
                  <a:lnTo>
                    <a:pt x="2531" y="1086"/>
                  </a:lnTo>
                  <a:lnTo>
                    <a:pt x="2394" y="1103"/>
                  </a:lnTo>
                  <a:lnTo>
                    <a:pt x="2314" y="1123"/>
                  </a:lnTo>
                  <a:lnTo>
                    <a:pt x="2269" y="1123"/>
                  </a:lnTo>
                  <a:lnTo>
                    <a:pt x="2243" y="1115"/>
                  </a:lnTo>
                  <a:lnTo>
                    <a:pt x="2235" y="1094"/>
                  </a:lnTo>
                  <a:lnTo>
                    <a:pt x="2255" y="1069"/>
                  </a:lnTo>
                  <a:lnTo>
                    <a:pt x="2314" y="1019"/>
                  </a:lnTo>
                  <a:lnTo>
                    <a:pt x="2373" y="985"/>
                  </a:lnTo>
                  <a:lnTo>
                    <a:pt x="2449" y="951"/>
                  </a:lnTo>
                  <a:lnTo>
                    <a:pt x="2457" y="917"/>
                  </a:lnTo>
                  <a:lnTo>
                    <a:pt x="2454" y="900"/>
                  </a:lnTo>
                  <a:lnTo>
                    <a:pt x="2416" y="880"/>
                  </a:lnTo>
                  <a:lnTo>
                    <a:pt x="2319" y="849"/>
                  </a:lnTo>
                  <a:lnTo>
                    <a:pt x="2141" y="837"/>
                  </a:lnTo>
                  <a:lnTo>
                    <a:pt x="2107" y="803"/>
                  </a:lnTo>
                  <a:lnTo>
                    <a:pt x="2056" y="770"/>
                  </a:lnTo>
                  <a:lnTo>
                    <a:pt x="2019" y="727"/>
                  </a:lnTo>
                  <a:lnTo>
                    <a:pt x="1989" y="660"/>
                  </a:lnTo>
                  <a:lnTo>
                    <a:pt x="1977" y="606"/>
                  </a:lnTo>
                  <a:lnTo>
                    <a:pt x="1938" y="560"/>
                  </a:lnTo>
                  <a:lnTo>
                    <a:pt x="1832" y="547"/>
                  </a:lnTo>
                  <a:lnTo>
                    <a:pt x="1734" y="551"/>
                  </a:lnTo>
                  <a:lnTo>
                    <a:pt x="1700" y="547"/>
                  </a:lnTo>
                  <a:lnTo>
                    <a:pt x="1675" y="534"/>
                  </a:lnTo>
                  <a:lnTo>
                    <a:pt x="1564" y="513"/>
                  </a:lnTo>
                  <a:lnTo>
                    <a:pt x="1473" y="472"/>
                  </a:lnTo>
                  <a:lnTo>
                    <a:pt x="1405" y="412"/>
                  </a:lnTo>
                  <a:lnTo>
                    <a:pt x="1354" y="387"/>
                  </a:lnTo>
                  <a:lnTo>
                    <a:pt x="1222" y="383"/>
                  </a:lnTo>
                  <a:lnTo>
                    <a:pt x="1184" y="366"/>
                  </a:lnTo>
                  <a:lnTo>
                    <a:pt x="1159" y="366"/>
                  </a:lnTo>
                  <a:lnTo>
                    <a:pt x="1129" y="378"/>
                  </a:lnTo>
                  <a:lnTo>
                    <a:pt x="1091" y="383"/>
                  </a:lnTo>
                  <a:lnTo>
                    <a:pt x="1049" y="370"/>
                  </a:lnTo>
                  <a:lnTo>
                    <a:pt x="1037" y="358"/>
                  </a:lnTo>
                  <a:lnTo>
                    <a:pt x="955" y="353"/>
                  </a:lnTo>
                  <a:lnTo>
                    <a:pt x="904" y="341"/>
                  </a:lnTo>
                  <a:lnTo>
                    <a:pt x="887" y="327"/>
                  </a:lnTo>
                  <a:lnTo>
                    <a:pt x="870" y="293"/>
                  </a:lnTo>
                  <a:lnTo>
                    <a:pt x="870" y="276"/>
                  </a:lnTo>
                  <a:lnTo>
                    <a:pt x="972" y="251"/>
                  </a:lnTo>
                  <a:lnTo>
                    <a:pt x="990" y="231"/>
                  </a:lnTo>
                  <a:lnTo>
                    <a:pt x="981" y="209"/>
                  </a:lnTo>
                  <a:lnTo>
                    <a:pt x="943" y="201"/>
                  </a:lnTo>
                  <a:lnTo>
                    <a:pt x="929" y="189"/>
                  </a:lnTo>
                  <a:lnTo>
                    <a:pt x="718" y="167"/>
                  </a:lnTo>
                  <a:lnTo>
                    <a:pt x="658" y="172"/>
                  </a:lnTo>
                  <a:lnTo>
                    <a:pt x="604" y="205"/>
                  </a:lnTo>
                  <a:lnTo>
                    <a:pt x="557" y="251"/>
                  </a:lnTo>
                  <a:lnTo>
                    <a:pt x="519" y="302"/>
                  </a:lnTo>
                  <a:lnTo>
                    <a:pt x="451" y="325"/>
                  </a:lnTo>
                  <a:lnTo>
                    <a:pt x="370" y="332"/>
                  </a:lnTo>
                  <a:lnTo>
                    <a:pt x="323" y="349"/>
                  </a:lnTo>
                  <a:lnTo>
                    <a:pt x="281" y="403"/>
                  </a:lnTo>
                  <a:lnTo>
                    <a:pt x="230" y="412"/>
                  </a:lnTo>
                  <a:lnTo>
                    <a:pt x="213" y="420"/>
                  </a:lnTo>
                  <a:lnTo>
                    <a:pt x="129" y="482"/>
                  </a:lnTo>
                  <a:lnTo>
                    <a:pt x="120" y="482"/>
                  </a:lnTo>
                  <a:lnTo>
                    <a:pt x="117" y="466"/>
                  </a:lnTo>
                  <a:lnTo>
                    <a:pt x="99" y="449"/>
                  </a:lnTo>
                  <a:lnTo>
                    <a:pt x="0" y="455"/>
                  </a:lnTo>
                  <a:lnTo>
                    <a:pt x="0" y="441"/>
                  </a:lnTo>
                  <a:lnTo>
                    <a:pt x="78" y="396"/>
                  </a:lnTo>
                  <a:lnTo>
                    <a:pt x="133" y="390"/>
                  </a:lnTo>
                  <a:lnTo>
                    <a:pt x="141" y="383"/>
                  </a:lnTo>
                  <a:lnTo>
                    <a:pt x="147" y="366"/>
                  </a:lnTo>
                  <a:lnTo>
                    <a:pt x="147" y="257"/>
                  </a:lnTo>
                  <a:lnTo>
                    <a:pt x="163" y="226"/>
                  </a:lnTo>
                  <a:lnTo>
                    <a:pt x="238" y="176"/>
                  </a:lnTo>
                  <a:lnTo>
                    <a:pt x="337" y="130"/>
                  </a:lnTo>
                  <a:lnTo>
                    <a:pt x="358" y="125"/>
                  </a:lnTo>
                  <a:lnTo>
                    <a:pt x="454" y="79"/>
                  </a:lnTo>
                  <a:lnTo>
                    <a:pt x="675" y="29"/>
                  </a:lnTo>
                  <a:lnTo>
                    <a:pt x="752" y="3"/>
                  </a:lnTo>
                  <a:lnTo>
                    <a:pt x="1003" y="0"/>
                  </a:lnTo>
                  <a:lnTo>
                    <a:pt x="1112" y="20"/>
                  </a:lnTo>
                  <a:lnTo>
                    <a:pt x="1227" y="25"/>
                  </a:lnTo>
                  <a:lnTo>
                    <a:pt x="1295" y="20"/>
                  </a:lnTo>
                  <a:lnTo>
                    <a:pt x="1336" y="54"/>
                  </a:lnTo>
                  <a:lnTo>
                    <a:pt x="1366" y="67"/>
                  </a:lnTo>
                  <a:lnTo>
                    <a:pt x="1490" y="62"/>
                  </a:lnTo>
                  <a:lnTo>
                    <a:pt x="1524" y="79"/>
                  </a:lnTo>
                  <a:lnTo>
                    <a:pt x="1612" y="150"/>
                  </a:lnTo>
                  <a:lnTo>
                    <a:pt x="1637" y="189"/>
                  </a:lnTo>
                  <a:lnTo>
                    <a:pt x="1700" y="240"/>
                  </a:lnTo>
                  <a:lnTo>
                    <a:pt x="1751" y="257"/>
                  </a:lnTo>
                  <a:lnTo>
                    <a:pt x="1879" y="251"/>
                  </a:lnTo>
                  <a:lnTo>
                    <a:pt x="1913" y="273"/>
                  </a:lnTo>
                  <a:lnTo>
                    <a:pt x="1968" y="273"/>
                  </a:lnTo>
                  <a:lnTo>
                    <a:pt x="1985" y="293"/>
                  </a:lnTo>
                  <a:lnTo>
                    <a:pt x="1968" y="293"/>
                  </a:lnTo>
                  <a:lnTo>
                    <a:pt x="1964" y="311"/>
                  </a:lnTo>
                  <a:lnTo>
                    <a:pt x="1989" y="325"/>
                  </a:lnTo>
                  <a:lnTo>
                    <a:pt x="2056" y="335"/>
                  </a:lnTo>
                  <a:lnTo>
                    <a:pt x="2099" y="358"/>
                  </a:lnTo>
                  <a:lnTo>
                    <a:pt x="2167" y="429"/>
                  </a:lnTo>
                  <a:lnTo>
                    <a:pt x="2269" y="458"/>
                  </a:lnTo>
                  <a:lnTo>
                    <a:pt x="2344" y="496"/>
                  </a:lnTo>
                  <a:lnTo>
                    <a:pt x="2394" y="50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80" name="Freeform 348"/>
            <p:cNvSpPr>
              <a:spLocks noChangeAspect="1"/>
            </p:cNvSpPr>
            <p:nvPr>
              <p:custDataLst>
                <p:tags r:id="rId168"/>
              </p:custDataLst>
            </p:nvPr>
          </p:nvSpPr>
          <p:spPr bwMode="gray">
            <a:xfrm rot="20552049">
              <a:off x="2365866" y="4082025"/>
              <a:ext cx="7022" cy="14044"/>
            </a:xfrm>
            <a:custGeom>
              <a:avLst/>
              <a:gdLst/>
              <a:ahLst/>
              <a:cxnLst>
                <a:cxn ang="0">
                  <a:pos x="128" y="5"/>
                </a:cxn>
                <a:cxn ang="0">
                  <a:pos x="136" y="42"/>
                </a:cxn>
                <a:cxn ang="0">
                  <a:pos x="153" y="64"/>
                </a:cxn>
                <a:cxn ang="0">
                  <a:pos x="165" y="128"/>
                </a:cxn>
                <a:cxn ang="0">
                  <a:pos x="77" y="156"/>
                </a:cxn>
                <a:cxn ang="0">
                  <a:pos x="38" y="156"/>
                </a:cxn>
                <a:cxn ang="0">
                  <a:pos x="22" y="144"/>
                </a:cxn>
                <a:cxn ang="0">
                  <a:pos x="8" y="131"/>
                </a:cxn>
                <a:cxn ang="0">
                  <a:pos x="0" y="98"/>
                </a:cxn>
                <a:cxn ang="0">
                  <a:pos x="51" y="123"/>
                </a:cxn>
                <a:cxn ang="0">
                  <a:pos x="63" y="89"/>
                </a:cxn>
                <a:cxn ang="0">
                  <a:pos x="51" y="68"/>
                </a:cxn>
                <a:cxn ang="0">
                  <a:pos x="47" y="42"/>
                </a:cxn>
                <a:cxn ang="0">
                  <a:pos x="51" y="9"/>
                </a:cxn>
                <a:cxn ang="0">
                  <a:pos x="89" y="0"/>
                </a:cxn>
                <a:cxn ang="0">
                  <a:pos x="114" y="5"/>
                </a:cxn>
                <a:cxn ang="0">
                  <a:pos x="128" y="14"/>
                </a:cxn>
                <a:cxn ang="0">
                  <a:pos x="128" y="5"/>
                </a:cxn>
              </a:cxnLst>
              <a:rect l="0" t="0" r="r" b="b"/>
              <a:pathLst>
                <a:path w="165" h="156">
                  <a:moveTo>
                    <a:pt x="128" y="5"/>
                  </a:moveTo>
                  <a:lnTo>
                    <a:pt x="136" y="42"/>
                  </a:lnTo>
                  <a:lnTo>
                    <a:pt x="153" y="64"/>
                  </a:lnTo>
                  <a:lnTo>
                    <a:pt x="165" y="128"/>
                  </a:lnTo>
                  <a:lnTo>
                    <a:pt x="77" y="156"/>
                  </a:lnTo>
                  <a:lnTo>
                    <a:pt x="38" y="156"/>
                  </a:lnTo>
                  <a:lnTo>
                    <a:pt x="22" y="144"/>
                  </a:lnTo>
                  <a:lnTo>
                    <a:pt x="8" y="131"/>
                  </a:lnTo>
                  <a:lnTo>
                    <a:pt x="0" y="98"/>
                  </a:lnTo>
                  <a:lnTo>
                    <a:pt x="51" y="123"/>
                  </a:lnTo>
                  <a:lnTo>
                    <a:pt x="63" y="89"/>
                  </a:lnTo>
                  <a:lnTo>
                    <a:pt x="51" y="68"/>
                  </a:lnTo>
                  <a:lnTo>
                    <a:pt x="47" y="42"/>
                  </a:lnTo>
                  <a:lnTo>
                    <a:pt x="51" y="9"/>
                  </a:lnTo>
                  <a:lnTo>
                    <a:pt x="89" y="0"/>
                  </a:lnTo>
                  <a:lnTo>
                    <a:pt x="114" y="5"/>
                  </a:lnTo>
                  <a:lnTo>
                    <a:pt x="128" y="14"/>
                  </a:lnTo>
                  <a:lnTo>
                    <a:pt x="128" y="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81" name="Freeform 349"/>
            <p:cNvSpPr>
              <a:spLocks noChangeAspect="1"/>
            </p:cNvSpPr>
            <p:nvPr>
              <p:custDataLst>
                <p:tags r:id="rId169"/>
              </p:custDataLst>
            </p:nvPr>
          </p:nvSpPr>
          <p:spPr bwMode="gray">
            <a:xfrm rot="20552049">
              <a:off x="2429062" y="4035213"/>
              <a:ext cx="16384" cy="21065"/>
            </a:xfrm>
            <a:custGeom>
              <a:avLst/>
              <a:gdLst/>
              <a:ahLst/>
              <a:cxnLst>
                <a:cxn ang="0">
                  <a:pos x="211" y="85"/>
                </a:cxn>
                <a:cxn ang="0">
                  <a:pos x="283" y="127"/>
                </a:cxn>
                <a:cxn ang="0">
                  <a:pos x="308" y="156"/>
                </a:cxn>
                <a:cxn ang="0">
                  <a:pos x="317" y="201"/>
                </a:cxn>
                <a:cxn ang="0">
                  <a:pos x="266" y="198"/>
                </a:cxn>
                <a:cxn ang="0">
                  <a:pos x="208" y="156"/>
                </a:cxn>
                <a:cxn ang="0">
                  <a:pos x="169" y="97"/>
                </a:cxn>
                <a:cxn ang="0">
                  <a:pos x="135" y="68"/>
                </a:cxn>
                <a:cxn ang="0">
                  <a:pos x="59" y="59"/>
                </a:cxn>
                <a:cxn ang="0">
                  <a:pos x="38" y="50"/>
                </a:cxn>
                <a:cxn ang="0">
                  <a:pos x="8" y="29"/>
                </a:cxn>
                <a:cxn ang="0">
                  <a:pos x="0" y="17"/>
                </a:cxn>
                <a:cxn ang="0">
                  <a:pos x="0" y="0"/>
                </a:cxn>
                <a:cxn ang="0">
                  <a:pos x="85" y="4"/>
                </a:cxn>
                <a:cxn ang="0">
                  <a:pos x="211" y="85"/>
                </a:cxn>
              </a:cxnLst>
              <a:rect l="0" t="0" r="r" b="b"/>
              <a:pathLst>
                <a:path w="317" h="201">
                  <a:moveTo>
                    <a:pt x="211" y="85"/>
                  </a:moveTo>
                  <a:lnTo>
                    <a:pt x="283" y="127"/>
                  </a:lnTo>
                  <a:lnTo>
                    <a:pt x="308" y="156"/>
                  </a:lnTo>
                  <a:lnTo>
                    <a:pt x="317" y="201"/>
                  </a:lnTo>
                  <a:lnTo>
                    <a:pt x="266" y="198"/>
                  </a:lnTo>
                  <a:lnTo>
                    <a:pt x="208" y="156"/>
                  </a:lnTo>
                  <a:lnTo>
                    <a:pt x="169" y="97"/>
                  </a:lnTo>
                  <a:lnTo>
                    <a:pt x="135" y="68"/>
                  </a:lnTo>
                  <a:lnTo>
                    <a:pt x="59" y="59"/>
                  </a:lnTo>
                  <a:lnTo>
                    <a:pt x="38" y="50"/>
                  </a:lnTo>
                  <a:lnTo>
                    <a:pt x="8" y="29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5" y="4"/>
                  </a:lnTo>
                  <a:lnTo>
                    <a:pt x="211" y="8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82" name="Freeform 350"/>
            <p:cNvSpPr>
              <a:spLocks noChangeAspect="1"/>
            </p:cNvSpPr>
            <p:nvPr>
              <p:custDataLst>
                <p:tags r:id="rId170"/>
              </p:custDataLst>
            </p:nvPr>
          </p:nvSpPr>
          <p:spPr bwMode="gray">
            <a:xfrm rot="20552049">
              <a:off x="2721637" y="4119474"/>
              <a:ext cx="0" cy="7022"/>
            </a:xfrm>
            <a:custGeom>
              <a:avLst/>
              <a:gdLst/>
              <a:ahLst/>
              <a:cxnLst>
                <a:cxn ang="0">
                  <a:pos x="34" y="2"/>
                </a:cxn>
                <a:cxn ang="0">
                  <a:pos x="0" y="0"/>
                </a:cxn>
                <a:cxn ang="0">
                  <a:pos x="11" y="30"/>
                </a:cxn>
                <a:cxn ang="0">
                  <a:pos x="31" y="47"/>
                </a:cxn>
                <a:cxn ang="0">
                  <a:pos x="46" y="42"/>
                </a:cxn>
                <a:cxn ang="0">
                  <a:pos x="46" y="10"/>
                </a:cxn>
                <a:cxn ang="0">
                  <a:pos x="34" y="2"/>
                </a:cxn>
              </a:cxnLst>
              <a:rect l="0" t="0" r="r" b="b"/>
              <a:pathLst>
                <a:path w="46" h="47">
                  <a:moveTo>
                    <a:pt x="34" y="2"/>
                  </a:moveTo>
                  <a:lnTo>
                    <a:pt x="0" y="0"/>
                  </a:lnTo>
                  <a:lnTo>
                    <a:pt x="11" y="30"/>
                  </a:lnTo>
                  <a:lnTo>
                    <a:pt x="31" y="47"/>
                  </a:lnTo>
                  <a:lnTo>
                    <a:pt x="46" y="42"/>
                  </a:lnTo>
                  <a:lnTo>
                    <a:pt x="46" y="10"/>
                  </a:lnTo>
                  <a:lnTo>
                    <a:pt x="34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  <p:sp>
          <p:nvSpPr>
            <p:cNvPr id="183" name="Freeform 351"/>
            <p:cNvSpPr>
              <a:spLocks noChangeAspect="1"/>
            </p:cNvSpPr>
            <p:nvPr>
              <p:custDataLst>
                <p:tags r:id="rId171"/>
              </p:custDataLst>
            </p:nvPr>
          </p:nvSpPr>
          <p:spPr bwMode="gray">
            <a:xfrm rot="20552049">
              <a:off x="2782492" y="4217780"/>
              <a:ext cx="2341" cy="9362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0" y="97"/>
                </a:cxn>
                <a:cxn ang="0">
                  <a:pos x="25" y="103"/>
                </a:cxn>
                <a:cxn ang="0">
                  <a:pos x="45" y="94"/>
                </a:cxn>
                <a:cxn ang="0">
                  <a:pos x="45" y="62"/>
                </a:cxn>
                <a:cxn ang="0">
                  <a:pos x="39" y="20"/>
                </a:cxn>
                <a:cxn ang="0">
                  <a:pos x="25" y="0"/>
                </a:cxn>
              </a:cxnLst>
              <a:rect l="0" t="0" r="r" b="b"/>
              <a:pathLst>
                <a:path w="45" h="103">
                  <a:moveTo>
                    <a:pt x="25" y="0"/>
                  </a:moveTo>
                  <a:lnTo>
                    <a:pt x="0" y="97"/>
                  </a:lnTo>
                  <a:lnTo>
                    <a:pt x="25" y="103"/>
                  </a:lnTo>
                  <a:lnTo>
                    <a:pt x="45" y="94"/>
                  </a:lnTo>
                  <a:lnTo>
                    <a:pt x="45" y="62"/>
                  </a:lnTo>
                  <a:lnTo>
                    <a:pt x="39" y="20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23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361" name="5-Point Star 360"/>
          <p:cNvSpPr/>
          <p:nvPr/>
        </p:nvSpPr>
        <p:spPr>
          <a:xfrm>
            <a:off x="1454491" y="2945893"/>
            <a:ext cx="155826" cy="168812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366" name="Rectangle 365"/>
          <p:cNvSpPr/>
          <p:nvPr/>
        </p:nvSpPr>
        <p:spPr>
          <a:xfrm>
            <a:off x="1316442" y="3130027"/>
            <a:ext cx="682141" cy="111929"/>
          </a:xfrm>
          <a:prstGeom prst="rect">
            <a:avLst/>
          </a:prstGeom>
          <a:solidFill>
            <a:srgbClr val="007C92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23" b="1" dirty="0">
                <a:solidFill>
                  <a:srgbClr val="000000"/>
                </a:solidFill>
              </a:rPr>
              <a:t>Канада</a:t>
            </a:r>
            <a:endParaRPr lang="en-US" sz="923" b="1" dirty="0">
              <a:solidFill>
                <a:srgbClr val="000000"/>
              </a:solidFill>
            </a:endParaRPr>
          </a:p>
        </p:txBody>
      </p:sp>
      <p:sp>
        <p:nvSpPr>
          <p:cNvPr id="368" name="Rectangle 367"/>
          <p:cNvSpPr/>
          <p:nvPr/>
        </p:nvSpPr>
        <p:spPr>
          <a:xfrm>
            <a:off x="5314168" y="3677539"/>
            <a:ext cx="567759" cy="336520"/>
          </a:xfrm>
          <a:prstGeom prst="rect">
            <a:avLst/>
          </a:prstGeom>
          <a:solidFill>
            <a:srgbClr val="007C92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23" b="1" dirty="0">
                <a:solidFill>
                  <a:srgbClr val="000000"/>
                </a:solidFill>
              </a:rPr>
              <a:t>Китай</a:t>
            </a:r>
            <a:endParaRPr lang="en-US" sz="923" b="1" dirty="0">
              <a:solidFill>
                <a:srgbClr val="000000"/>
              </a:solidFill>
            </a:endParaRPr>
          </a:p>
        </p:txBody>
      </p:sp>
      <p:sp>
        <p:nvSpPr>
          <p:cNvPr id="369" name="Rectangle 368"/>
          <p:cNvSpPr/>
          <p:nvPr/>
        </p:nvSpPr>
        <p:spPr>
          <a:xfrm>
            <a:off x="4854503" y="4062895"/>
            <a:ext cx="567759" cy="336520"/>
          </a:xfrm>
          <a:prstGeom prst="rect">
            <a:avLst/>
          </a:prstGeom>
          <a:solidFill>
            <a:srgbClr val="007C92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23" b="1" dirty="0">
                <a:solidFill>
                  <a:srgbClr val="000000"/>
                </a:solidFill>
              </a:rPr>
              <a:t>Индия</a:t>
            </a:r>
            <a:endParaRPr lang="en-US" sz="923" b="1" dirty="0">
              <a:solidFill>
                <a:srgbClr val="000000"/>
              </a:solidFill>
            </a:endParaRPr>
          </a:p>
        </p:txBody>
      </p:sp>
      <p:sp>
        <p:nvSpPr>
          <p:cNvPr id="370" name="Rectangle 369"/>
          <p:cNvSpPr/>
          <p:nvPr/>
        </p:nvSpPr>
        <p:spPr>
          <a:xfrm>
            <a:off x="3303586" y="3035213"/>
            <a:ext cx="1170258" cy="184530"/>
          </a:xfrm>
          <a:prstGeom prst="rect">
            <a:avLst/>
          </a:prstGeom>
          <a:solidFill>
            <a:srgbClr val="007C92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23" b="1" dirty="0">
                <a:solidFill>
                  <a:srgbClr val="000000"/>
                </a:solidFill>
              </a:rPr>
              <a:t>Великобритания</a:t>
            </a:r>
            <a:endParaRPr lang="en-US" sz="923" b="1" dirty="0">
              <a:solidFill>
                <a:srgbClr val="000000"/>
              </a:solidFill>
            </a:endParaRPr>
          </a:p>
        </p:txBody>
      </p:sp>
      <p:sp>
        <p:nvSpPr>
          <p:cNvPr id="371" name="Rectangle 370"/>
          <p:cNvSpPr/>
          <p:nvPr/>
        </p:nvSpPr>
        <p:spPr>
          <a:xfrm>
            <a:off x="1651051" y="3697854"/>
            <a:ext cx="567759" cy="192970"/>
          </a:xfrm>
          <a:prstGeom prst="rect">
            <a:avLst/>
          </a:prstGeom>
          <a:solidFill>
            <a:srgbClr val="007C92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23" b="1" dirty="0">
                <a:solidFill>
                  <a:srgbClr val="000000"/>
                </a:solidFill>
              </a:rPr>
              <a:t>США</a:t>
            </a:r>
            <a:endParaRPr lang="en-US" sz="923" b="1" dirty="0">
              <a:solidFill>
                <a:srgbClr val="000000"/>
              </a:solidFill>
            </a:endParaRPr>
          </a:p>
        </p:txBody>
      </p:sp>
      <p:sp>
        <p:nvSpPr>
          <p:cNvPr id="373" name="5-Point Star 372"/>
          <p:cNvSpPr/>
          <p:nvPr/>
        </p:nvSpPr>
        <p:spPr>
          <a:xfrm>
            <a:off x="1610495" y="3593079"/>
            <a:ext cx="155826" cy="168812"/>
          </a:xfrm>
          <a:prstGeom prst="star5">
            <a:avLst/>
          </a:prstGeom>
          <a:solidFill>
            <a:srgbClr val="00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374" name="5-Point Star 373"/>
          <p:cNvSpPr/>
          <p:nvPr/>
        </p:nvSpPr>
        <p:spPr>
          <a:xfrm>
            <a:off x="3557577" y="3188502"/>
            <a:ext cx="155826" cy="168812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376" name="5-Point Star 375"/>
          <p:cNvSpPr/>
          <p:nvPr/>
        </p:nvSpPr>
        <p:spPr>
          <a:xfrm>
            <a:off x="5252779" y="3728901"/>
            <a:ext cx="155826" cy="168812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377" name="5-Point Star 376"/>
          <p:cNvSpPr/>
          <p:nvPr/>
        </p:nvSpPr>
        <p:spPr>
          <a:xfrm>
            <a:off x="5072558" y="4015774"/>
            <a:ext cx="155826" cy="168812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404" name="5-Point Star 403"/>
          <p:cNvSpPr/>
          <p:nvPr/>
        </p:nvSpPr>
        <p:spPr>
          <a:xfrm>
            <a:off x="3670019" y="3447534"/>
            <a:ext cx="155826" cy="168812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405" name="Rectangle 404"/>
          <p:cNvSpPr/>
          <p:nvPr/>
        </p:nvSpPr>
        <p:spPr>
          <a:xfrm>
            <a:off x="3105860" y="3502581"/>
            <a:ext cx="682141" cy="154420"/>
          </a:xfrm>
          <a:prstGeom prst="rect">
            <a:avLst/>
          </a:prstGeom>
          <a:solidFill>
            <a:srgbClr val="007C92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23" b="1" dirty="0">
                <a:solidFill>
                  <a:srgbClr val="000000"/>
                </a:solidFill>
              </a:rPr>
              <a:t>Франция</a:t>
            </a:r>
            <a:endParaRPr lang="en-US" sz="923" b="1" dirty="0">
              <a:solidFill>
                <a:srgbClr val="000000"/>
              </a:solidFill>
            </a:endParaRPr>
          </a:p>
        </p:txBody>
      </p:sp>
      <p:sp>
        <p:nvSpPr>
          <p:cNvPr id="406" name="5-Point Star 405"/>
          <p:cNvSpPr/>
          <p:nvPr/>
        </p:nvSpPr>
        <p:spPr>
          <a:xfrm>
            <a:off x="3831044" y="3317568"/>
            <a:ext cx="155826" cy="168812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410" name="Rectangle 409"/>
          <p:cNvSpPr/>
          <p:nvPr/>
        </p:nvSpPr>
        <p:spPr>
          <a:xfrm>
            <a:off x="3777255" y="3226795"/>
            <a:ext cx="742566" cy="154420"/>
          </a:xfrm>
          <a:prstGeom prst="rect">
            <a:avLst/>
          </a:prstGeom>
          <a:solidFill>
            <a:srgbClr val="007C92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23" b="1" dirty="0">
                <a:solidFill>
                  <a:srgbClr val="000000"/>
                </a:solidFill>
              </a:rPr>
              <a:t>Германия</a:t>
            </a:r>
            <a:endParaRPr lang="en-US" sz="923" b="1" dirty="0">
              <a:solidFill>
                <a:srgbClr val="000000"/>
              </a:solidFill>
            </a:endParaRPr>
          </a:p>
        </p:txBody>
      </p:sp>
      <p:sp>
        <p:nvSpPr>
          <p:cNvPr id="411" name="5-Point Star 410"/>
          <p:cNvSpPr/>
          <p:nvPr/>
        </p:nvSpPr>
        <p:spPr>
          <a:xfrm>
            <a:off x="6201795" y="3764364"/>
            <a:ext cx="77913" cy="84406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419" name="Rectangle 418"/>
          <p:cNvSpPr/>
          <p:nvPr/>
        </p:nvSpPr>
        <p:spPr>
          <a:xfrm>
            <a:off x="3702924" y="3793380"/>
            <a:ext cx="682141" cy="154420"/>
          </a:xfrm>
          <a:prstGeom prst="rect">
            <a:avLst/>
          </a:prstGeom>
          <a:solidFill>
            <a:srgbClr val="007C92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23" b="1" dirty="0">
                <a:solidFill>
                  <a:srgbClr val="000000"/>
                </a:solidFill>
              </a:rPr>
              <a:t>Израиль</a:t>
            </a:r>
            <a:endParaRPr lang="en-US" sz="923" b="1" dirty="0">
              <a:solidFill>
                <a:srgbClr val="000000"/>
              </a:solidFill>
            </a:endParaRPr>
          </a:p>
        </p:txBody>
      </p:sp>
      <p:sp>
        <p:nvSpPr>
          <p:cNvPr id="420" name="5-Point Star 419"/>
          <p:cNvSpPr/>
          <p:nvPr/>
        </p:nvSpPr>
        <p:spPr>
          <a:xfrm>
            <a:off x="3461214" y="3291928"/>
            <a:ext cx="155826" cy="168812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421" name="Rectangle 420"/>
          <p:cNvSpPr/>
          <p:nvPr/>
        </p:nvSpPr>
        <p:spPr>
          <a:xfrm>
            <a:off x="2746682" y="3312739"/>
            <a:ext cx="823766" cy="167330"/>
          </a:xfrm>
          <a:prstGeom prst="rect">
            <a:avLst/>
          </a:prstGeom>
          <a:solidFill>
            <a:srgbClr val="007C92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23" b="1" dirty="0">
                <a:solidFill>
                  <a:srgbClr val="000000"/>
                </a:solidFill>
              </a:rPr>
              <a:t>Ирландия</a:t>
            </a:r>
            <a:endParaRPr lang="en-US" sz="923" b="1" dirty="0">
              <a:solidFill>
                <a:srgbClr val="000000"/>
              </a:solidFill>
            </a:endParaRPr>
          </a:p>
        </p:txBody>
      </p:sp>
      <p:sp>
        <p:nvSpPr>
          <p:cNvPr id="422" name="5-Point Star 421"/>
          <p:cNvSpPr/>
          <p:nvPr/>
        </p:nvSpPr>
        <p:spPr>
          <a:xfrm>
            <a:off x="5697087" y="4032955"/>
            <a:ext cx="155826" cy="168812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769" name="Rectangle 768"/>
          <p:cNvSpPr/>
          <p:nvPr/>
        </p:nvSpPr>
        <p:spPr>
          <a:xfrm>
            <a:off x="5766173" y="3892730"/>
            <a:ext cx="893018" cy="336520"/>
          </a:xfrm>
          <a:prstGeom prst="rect">
            <a:avLst/>
          </a:prstGeom>
          <a:solidFill>
            <a:srgbClr val="007C92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23" b="1" dirty="0">
                <a:solidFill>
                  <a:srgbClr val="000000"/>
                </a:solidFill>
              </a:rPr>
              <a:t>Гонконг</a:t>
            </a:r>
            <a:endParaRPr lang="en-US" sz="923" b="1" dirty="0">
              <a:solidFill>
                <a:srgbClr val="000000"/>
              </a:solidFill>
            </a:endParaRPr>
          </a:p>
        </p:txBody>
      </p:sp>
      <p:sp>
        <p:nvSpPr>
          <p:cNvPr id="771" name="5-Point Star 770"/>
          <p:cNvSpPr/>
          <p:nvPr/>
        </p:nvSpPr>
        <p:spPr>
          <a:xfrm>
            <a:off x="3607786" y="3667920"/>
            <a:ext cx="77913" cy="84406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772" name="5-Point Star 771"/>
          <p:cNvSpPr/>
          <p:nvPr/>
        </p:nvSpPr>
        <p:spPr>
          <a:xfrm>
            <a:off x="3820340" y="3009683"/>
            <a:ext cx="77913" cy="84406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773" name="5-Point Star 772"/>
          <p:cNvSpPr/>
          <p:nvPr/>
        </p:nvSpPr>
        <p:spPr>
          <a:xfrm>
            <a:off x="4189979" y="2883347"/>
            <a:ext cx="77913" cy="84406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774" name="5-Point Star 773"/>
          <p:cNvSpPr/>
          <p:nvPr/>
        </p:nvSpPr>
        <p:spPr>
          <a:xfrm>
            <a:off x="3915660" y="3621659"/>
            <a:ext cx="77913" cy="84406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1120" name="5-Point Star 1119"/>
          <p:cNvSpPr/>
          <p:nvPr/>
        </p:nvSpPr>
        <p:spPr>
          <a:xfrm>
            <a:off x="3757683" y="3350692"/>
            <a:ext cx="77913" cy="84406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1121" name="5-Point Star 1120"/>
          <p:cNvSpPr/>
          <p:nvPr/>
        </p:nvSpPr>
        <p:spPr>
          <a:xfrm>
            <a:off x="3755407" y="3428693"/>
            <a:ext cx="77913" cy="84406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1122" name="5-Point Star 1121"/>
          <p:cNvSpPr/>
          <p:nvPr/>
        </p:nvSpPr>
        <p:spPr>
          <a:xfrm>
            <a:off x="3919806" y="3486112"/>
            <a:ext cx="77913" cy="84406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1123" name="5-Point Star 1122"/>
          <p:cNvSpPr/>
          <p:nvPr/>
        </p:nvSpPr>
        <p:spPr>
          <a:xfrm>
            <a:off x="3947085" y="3424182"/>
            <a:ext cx="77913" cy="84406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1124" name="5-Point Star 1123"/>
          <p:cNvSpPr/>
          <p:nvPr/>
        </p:nvSpPr>
        <p:spPr>
          <a:xfrm>
            <a:off x="4063788" y="5144475"/>
            <a:ext cx="77913" cy="84406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1125" name="5-Point Star 1124"/>
          <p:cNvSpPr/>
          <p:nvPr/>
        </p:nvSpPr>
        <p:spPr>
          <a:xfrm>
            <a:off x="3924930" y="3722350"/>
            <a:ext cx="77913" cy="84406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1126" name="5-Point Star 1125"/>
          <p:cNvSpPr/>
          <p:nvPr/>
        </p:nvSpPr>
        <p:spPr>
          <a:xfrm>
            <a:off x="4145288" y="3552967"/>
            <a:ext cx="77913" cy="84406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1127" name="5-Point Star 1126"/>
          <p:cNvSpPr/>
          <p:nvPr/>
        </p:nvSpPr>
        <p:spPr>
          <a:xfrm>
            <a:off x="4046015" y="3369859"/>
            <a:ext cx="77913" cy="84406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1128" name="5-Point Star 1127"/>
          <p:cNvSpPr/>
          <p:nvPr/>
        </p:nvSpPr>
        <p:spPr>
          <a:xfrm>
            <a:off x="4034317" y="3467530"/>
            <a:ext cx="77913" cy="84406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1129" name="5-Point Star 1128"/>
          <p:cNvSpPr/>
          <p:nvPr/>
        </p:nvSpPr>
        <p:spPr>
          <a:xfrm>
            <a:off x="4090759" y="3701881"/>
            <a:ext cx="77913" cy="84406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424" name="Rectangle 423"/>
          <p:cNvSpPr/>
          <p:nvPr/>
        </p:nvSpPr>
        <p:spPr>
          <a:xfrm>
            <a:off x="4416879" y="3094089"/>
            <a:ext cx="779766" cy="110134"/>
          </a:xfrm>
          <a:prstGeom prst="rect">
            <a:avLst/>
          </a:prstGeom>
          <a:solidFill>
            <a:srgbClr val="007C92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23" b="1" dirty="0">
                <a:solidFill>
                  <a:srgbClr val="000000"/>
                </a:solidFill>
              </a:rPr>
              <a:t>Россия</a:t>
            </a:r>
            <a:endParaRPr lang="en-US" sz="923" b="1" dirty="0">
              <a:solidFill>
                <a:srgbClr val="000000"/>
              </a:solidFill>
            </a:endParaRPr>
          </a:p>
        </p:txBody>
      </p:sp>
      <p:sp>
        <p:nvSpPr>
          <p:cNvPr id="425" name="5-Point Star 424"/>
          <p:cNvSpPr/>
          <p:nvPr/>
        </p:nvSpPr>
        <p:spPr>
          <a:xfrm>
            <a:off x="4396894" y="3164895"/>
            <a:ext cx="77913" cy="84406"/>
          </a:xfrm>
          <a:prstGeom prst="star5">
            <a:avLst/>
          </a:prstGeom>
          <a:solidFill>
            <a:srgbClr val="80BE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418" name="5-Point Star 417"/>
          <p:cNvSpPr/>
          <p:nvPr/>
        </p:nvSpPr>
        <p:spPr>
          <a:xfrm>
            <a:off x="4282076" y="3811276"/>
            <a:ext cx="155826" cy="168812"/>
          </a:xfrm>
          <a:prstGeom prst="star5">
            <a:avLst/>
          </a:prstGeom>
          <a:solidFill>
            <a:srgbClr val="00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23" dirty="0">
              <a:solidFill>
                <a:srgbClr val="FFFFFF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33413" y="4382163"/>
            <a:ext cx="5224549" cy="1891601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marL="228600" indent="-228600">
              <a:buClr>
                <a:srgbClr val="00338D"/>
              </a:buClr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</a:rPr>
              <a:t>Изложена не только история понятия и концепции устойчивого развития, но и детально рассматриваются способы перехода к устойчивому развитию</a:t>
            </a:r>
          </a:p>
          <a:p>
            <a:pPr marL="228600" indent="-228600">
              <a:buClr>
                <a:srgbClr val="00338D"/>
              </a:buClr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</a:rPr>
              <a:t>Основные теоретические концепции устойчивого развития и перехода к нему, изложенные в монографии, проиллюстрированы результатами научных исследований, проведенными в Финансовом университете в последние годы</a:t>
            </a:r>
          </a:p>
          <a:p>
            <a:pPr marL="228600" indent="-228600">
              <a:buClr>
                <a:srgbClr val="00338D"/>
              </a:buClr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</a:rPr>
              <a:t> В книге представлены теоретические и прикладные аспекты управления устойчивым развитием, рассмотрены его особенности, детерминированные серьезной трансформацией современной социально – экономической системы</a:t>
            </a:r>
          </a:p>
          <a:p>
            <a:pPr marL="228600" indent="-228600">
              <a:buClr>
                <a:srgbClr val="00338D"/>
              </a:buClr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</a:rPr>
              <a:t>Особое внимание уделено специфике перехода к устойчивому развитию в России, кроме того, проанализированы процессы перехода на трех уровнях: национальном, региональном, уровне компании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396" name="Rectangle 395"/>
          <p:cNvSpPr/>
          <p:nvPr/>
        </p:nvSpPr>
        <p:spPr>
          <a:xfrm>
            <a:off x="450093" y="1023329"/>
            <a:ext cx="8307692" cy="1580655"/>
          </a:xfrm>
          <a:prstGeom prst="rect">
            <a:avLst/>
          </a:prstGeom>
          <a:solidFill>
            <a:schemeClr val="accent1">
              <a:lumMod val="25000"/>
            </a:schemeClr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just"/>
            <a:r>
              <a:rPr lang="ru-RU" sz="1100" dirty="0" smtClean="0">
                <a:solidFill>
                  <a:schemeClr val="bg1"/>
                </a:solidFill>
              </a:rPr>
              <a:t>	</a:t>
            </a:r>
            <a:r>
              <a:rPr lang="ru-RU" sz="1600" dirty="0" smtClean="0">
                <a:solidFill>
                  <a:schemeClr val="bg1"/>
                </a:solidFill>
              </a:rPr>
              <a:t>«В ХХ </a:t>
            </a:r>
            <a:r>
              <a:rPr lang="ru-RU" sz="1600" dirty="0">
                <a:solidFill>
                  <a:schemeClr val="bg1"/>
                </a:solidFill>
              </a:rPr>
              <a:t>веке человечество превратилось в единую, тесно </a:t>
            </a:r>
            <a:r>
              <a:rPr lang="ru-RU" sz="1600" dirty="0" smtClean="0">
                <a:solidFill>
                  <a:schemeClr val="bg1"/>
                </a:solidFill>
              </a:rPr>
              <a:t>взаимосв</a:t>
            </a:r>
            <a:r>
              <a:rPr lang="ru-RU" sz="1600" dirty="0">
                <a:solidFill>
                  <a:schemeClr val="bg1"/>
                </a:solidFill>
              </a:rPr>
              <a:t>я</a:t>
            </a:r>
            <a:r>
              <a:rPr lang="ru-RU" sz="1600" dirty="0" smtClean="0">
                <a:solidFill>
                  <a:schemeClr val="bg1"/>
                </a:solidFill>
              </a:rPr>
              <a:t>занную </a:t>
            </a:r>
            <a:r>
              <a:rPr lang="ru-RU" sz="1600" dirty="0">
                <a:solidFill>
                  <a:schemeClr val="bg1"/>
                </a:solidFill>
              </a:rPr>
              <a:t>планетарную общность, сила ее </a:t>
            </a:r>
            <a:r>
              <a:rPr lang="ru-RU" sz="1600" dirty="0" smtClean="0">
                <a:solidFill>
                  <a:schemeClr val="bg1"/>
                </a:solidFill>
              </a:rPr>
              <a:t>воздействия </a:t>
            </a:r>
            <a:r>
              <a:rPr lang="ru-RU" sz="1600" dirty="0">
                <a:solidFill>
                  <a:schemeClr val="bg1"/>
                </a:solidFill>
              </a:rPr>
              <a:t>на нашу </a:t>
            </a:r>
            <a:r>
              <a:rPr lang="ru-RU" sz="1600" dirty="0" smtClean="0">
                <a:solidFill>
                  <a:schemeClr val="bg1"/>
                </a:solidFill>
              </a:rPr>
              <a:t>планету </a:t>
            </a:r>
            <a:r>
              <a:rPr lang="ru-RU" sz="1600" dirty="0">
                <a:solidFill>
                  <a:schemeClr val="bg1"/>
                </a:solidFill>
              </a:rPr>
              <a:t>в некоторых случаях вполне сопоставима с силами </a:t>
            </a:r>
            <a:r>
              <a:rPr lang="ru-RU" sz="1600" dirty="0" smtClean="0">
                <a:solidFill>
                  <a:schemeClr val="bg1"/>
                </a:solidFill>
              </a:rPr>
              <a:t>самой природы</a:t>
            </a:r>
            <a:r>
              <a:rPr lang="ru-RU" sz="1600" dirty="0">
                <a:solidFill>
                  <a:schemeClr val="bg1"/>
                </a:solidFill>
              </a:rPr>
              <a:t>, а значит, в ответ на вызовы, возникшие благодаря </a:t>
            </a:r>
            <a:r>
              <a:rPr lang="ru-RU" sz="1600" dirty="0" smtClean="0">
                <a:solidFill>
                  <a:schemeClr val="bg1"/>
                </a:solidFill>
              </a:rPr>
              <a:t>человеческой </a:t>
            </a:r>
            <a:r>
              <a:rPr lang="ru-RU" sz="1600" dirty="0">
                <a:solidFill>
                  <a:schemeClr val="bg1"/>
                </a:solidFill>
              </a:rPr>
              <a:t>деятельности, людям придется самим </a:t>
            </a:r>
            <a:r>
              <a:rPr lang="ru-RU" sz="1600" dirty="0" smtClean="0">
                <a:solidFill>
                  <a:schemeClr val="bg1"/>
                </a:solidFill>
              </a:rPr>
              <a:t>искать ответы» </a:t>
            </a:r>
            <a:endParaRPr lang="ru-RU" sz="1600" dirty="0">
              <a:solidFill>
                <a:schemeClr val="bg1"/>
              </a:solidFill>
            </a:endParaRPr>
          </a:p>
        </p:txBody>
      </p:sp>
      <p:grpSp>
        <p:nvGrpSpPr>
          <p:cNvPr id="397" name="NumberTag"/>
          <p:cNvGrpSpPr/>
          <p:nvPr/>
        </p:nvGrpSpPr>
        <p:grpSpPr>
          <a:xfrm>
            <a:off x="286071" y="1003548"/>
            <a:ext cx="459231" cy="393642"/>
            <a:chOff x="352003" y="1063988"/>
            <a:chExt cx="497500" cy="393642"/>
          </a:xfrm>
          <a:solidFill>
            <a:srgbClr val="3C8C93"/>
          </a:solidFill>
        </p:grpSpPr>
        <p:sp>
          <p:nvSpPr>
            <p:cNvPr id="398" name="Rectangle 2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52003" y="1073697"/>
              <a:ext cx="369047" cy="295387"/>
            </a:xfrm>
            <a:prstGeom prst="parallelogram">
              <a:avLst>
                <a:gd name="adj" fmla="val 29841"/>
              </a:avLst>
            </a:pr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 anchorCtr="0"/>
            <a:lstStyle/>
            <a:p>
              <a:pPr marL="271463" fontAlgn="base">
                <a:spcBef>
                  <a:spcPct val="50000"/>
                </a:spcBef>
                <a:spcAft>
                  <a:spcPct val="0"/>
                </a:spcAft>
                <a:buClr>
                  <a:srgbClr val="0070C0"/>
                </a:buClr>
                <a:tabLst>
                  <a:tab pos="450850" algn="l"/>
                </a:tabLst>
                <a:defRPr/>
              </a:pPr>
              <a:endParaRPr lang="en-GB" sz="2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99" name="TextBox 398"/>
            <p:cNvSpPr txBox="1"/>
            <p:nvPr/>
          </p:nvSpPr>
          <p:spPr>
            <a:xfrm>
              <a:off x="435920" y="1063988"/>
              <a:ext cx="413583" cy="393642"/>
            </a:xfrm>
            <a:prstGeom prst="rect">
              <a:avLst/>
            </a:prstGeom>
            <a:grpFill/>
          </p:spPr>
          <p:txBody>
            <a:bodyPr wrap="square" lIns="54000" tIns="54000" rIns="54000" bIns="54000" rtlCol="0">
              <a:noAutofit/>
            </a:bodyPr>
            <a:lstStyle/>
            <a:p>
              <a:r>
                <a:rPr lang="en-US" sz="1600" dirty="0" smtClean="0">
                  <a:solidFill>
                    <a:schemeClr val="bg1"/>
                  </a:solidFill>
                  <a:latin typeface="Arial Black" pitchFamily="34" charset="0"/>
                  <a:cs typeface="Arial" pitchFamily="34" charset="0"/>
                </a:rPr>
                <a:t>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328640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arallelogram 7"/>
          <p:cNvSpPr/>
          <p:nvPr/>
        </p:nvSpPr>
        <p:spPr>
          <a:xfrm>
            <a:off x="1371988" y="2605057"/>
            <a:ext cx="7147926" cy="608481"/>
          </a:xfrm>
          <a:prstGeom prst="parallelogram">
            <a:avLst>
              <a:gd name="adj" fmla="val 32940"/>
            </a:avLst>
          </a:prstGeom>
          <a:solidFill>
            <a:srgbClr val="BBE0E3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9846" rIns="0" bIns="49846" rtlCol="0" anchor="ctr"/>
          <a:lstStyle/>
          <a:p>
            <a:pPr marL="358775" indent="-1588"/>
            <a:r>
              <a:rPr lang="ru-RU" sz="1400" b="1" dirty="0" smtClean="0">
                <a:solidFill>
                  <a:srgbClr val="0C1C1D"/>
                </a:solidFill>
              </a:rPr>
              <a:t>На пути к «новой экономике» - </a:t>
            </a:r>
            <a:r>
              <a:rPr lang="ru-RU" sz="1400" b="1" dirty="0">
                <a:solidFill>
                  <a:srgbClr val="0C1C1D"/>
                </a:solidFill>
              </a:rPr>
              <a:t>т</a:t>
            </a:r>
            <a:r>
              <a:rPr lang="ru-RU" sz="1400" b="1" dirty="0" smtClean="0">
                <a:solidFill>
                  <a:srgbClr val="0C1C1D"/>
                </a:solidFill>
              </a:rPr>
              <a:t>рансформация бизнеса </a:t>
            </a:r>
            <a:endParaRPr lang="ru-RU" sz="1400" b="1" dirty="0">
              <a:solidFill>
                <a:srgbClr val="0C1C1D"/>
              </a:solidFill>
            </a:endParaRPr>
          </a:p>
        </p:txBody>
      </p:sp>
      <p:sp>
        <p:nvSpPr>
          <p:cNvPr id="6" name="Parallelogram 5"/>
          <p:cNvSpPr/>
          <p:nvPr/>
        </p:nvSpPr>
        <p:spPr>
          <a:xfrm>
            <a:off x="1363212" y="3317462"/>
            <a:ext cx="7136489" cy="576092"/>
          </a:xfrm>
          <a:prstGeom prst="parallelogram">
            <a:avLst>
              <a:gd name="adj" fmla="val 32940"/>
            </a:avLst>
          </a:prstGeom>
          <a:solidFill>
            <a:srgbClr val="BBE0E3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9846" rIns="0" bIns="49846" rtlCol="0" anchor="ctr"/>
          <a:lstStyle/>
          <a:p>
            <a:pPr marL="347663"/>
            <a:endParaRPr lang="ru-RU" sz="1200" b="1" dirty="0" smtClean="0">
              <a:solidFill>
                <a:srgbClr val="409DAD"/>
              </a:solidFill>
            </a:endParaRPr>
          </a:p>
          <a:p>
            <a:pPr marL="347663"/>
            <a:r>
              <a:rPr lang="ru-RU" sz="1400" b="1" dirty="0" smtClean="0">
                <a:solidFill>
                  <a:srgbClr val="0C1C1D"/>
                </a:solidFill>
              </a:rPr>
              <a:t>Экономика – наука – инновации: управление взаимосвязями в интересах устойчивого развития</a:t>
            </a:r>
            <a:endParaRPr lang="ru-RU" sz="1400" b="1" dirty="0">
              <a:solidFill>
                <a:srgbClr val="0C1C1D"/>
              </a:solidFill>
            </a:endParaRPr>
          </a:p>
          <a:p>
            <a:pPr marL="347663"/>
            <a:endParaRPr lang="ru-RU" sz="1400" b="1" dirty="0">
              <a:solidFill>
                <a:srgbClr val="409DAD"/>
              </a:solidFill>
            </a:endParaRPr>
          </a:p>
        </p:txBody>
      </p:sp>
      <p:sp>
        <p:nvSpPr>
          <p:cNvPr id="8" name="Parallelogram 7"/>
          <p:cNvSpPr/>
          <p:nvPr/>
        </p:nvSpPr>
        <p:spPr>
          <a:xfrm>
            <a:off x="1394719" y="1817487"/>
            <a:ext cx="7185835" cy="601566"/>
          </a:xfrm>
          <a:prstGeom prst="parallelogram">
            <a:avLst>
              <a:gd name="adj" fmla="val 32940"/>
            </a:avLst>
          </a:prstGeom>
          <a:solidFill>
            <a:srgbClr val="BBE0E3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9846" rIns="0" bIns="49846" rtlCol="0" anchor="ctr"/>
          <a:lstStyle/>
          <a:p>
            <a:pPr marL="358775" indent="-1588"/>
            <a:r>
              <a:rPr lang="ru-RU" sz="1400" b="1" dirty="0" smtClean="0">
                <a:solidFill>
                  <a:srgbClr val="0C1C1D"/>
                </a:solidFill>
              </a:rPr>
              <a:t>Трансформация государственного и муниципального управления в целях обеспечения устойчивого развития</a:t>
            </a:r>
            <a:endParaRPr lang="ru-RU" sz="1400" b="1" dirty="0">
              <a:solidFill>
                <a:srgbClr val="0C1C1D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азделы монографии</a:t>
            </a:r>
            <a:endParaRPr lang="en-US" dirty="0"/>
          </a:p>
        </p:txBody>
      </p:sp>
      <p:sp>
        <p:nvSpPr>
          <p:cNvPr id="4" name="Parallelogram 3"/>
          <p:cNvSpPr/>
          <p:nvPr/>
        </p:nvSpPr>
        <p:spPr>
          <a:xfrm>
            <a:off x="1372033" y="1062025"/>
            <a:ext cx="7157987" cy="610994"/>
          </a:xfrm>
          <a:prstGeom prst="parallelogram">
            <a:avLst>
              <a:gd name="adj" fmla="val 32940"/>
            </a:avLst>
          </a:prstGeom>
          <a:solidFill>
            <a:schemeClr val="accent1"/>
          </a:solidFill>
          <a:ln w="12700" cap="rnd" cmpd="sng" algn="ctr">
            <a:solidFill>
              <a:schemeClr val="accent1">
                <a:shade val="50000"/>
                <a:alpha val="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9846" rIns="0" bIns="49846" rtlCol="0" anchor="ctr"/>
          <a:lstStyle/>
          <a:p>
            <a:pPr marL="361950" indent="-4763"/>
            <a:r>
              <a:rPr lang="ru-RU" sz="1400" b="1" dirty="0" smtClean="0">
                <a:solidFill>
                  <a:srgbClr val="0C1C1D"/>
                </a:solidFill>
              </a:rPr>
              <a:t>Управление переходом к устойчивому развитию социально – экономических систем – новое направление исследований</a:t>
            </a:r>
            <a:endParaRPr lang="ru-RU" sz="1400" b="1" dirty="0">
              <a:solidFill>
                <a:srgbClr val="0C1C1D"/>
              </a:solidFill>
            </a:endParaRPr>
          </a:p>
        </p:txBody>
      </p:sp>
      <p:sp>
        <p:nvSpPr>
          <p:cNvPr id="5" name="Pentagon 4"/>
          <p:cNvSpPr/>
          <p:nvPr/>
        </p:nvSpPr>
        <p:spPr>
          <a:xfrm>
            <a:off x="1361924" y="1051078"/>
            <a:ext cx="679621" cy="632891"/>
          </a:xfrm>
          <a:prstGeom prst="homePlate">
            <a:avLst>
              <a:gd name="adj" fmla="val 31395"/>
            </a:avLst>
          </a:prstGeom>
          <a:solidFill>
            <a:schemeClr val="accent1">
              <a:lumMod val="25000"/>
            </a:schemeClr>
          </a:solidFill>
          <a:ln w="190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ru-RU" sz="2585" dirty="0">
                <a:solidFill>
                  <a:schemeClr val="bg1"/>
                </a:solidFill>
                <a:sym typeface="Wingdings" panose="05000000000000000000" pitchFamily="2" charset="2"/>
              </a:rPr>
              <a:t></a:t>
            </a:r>
            <a:endParaRPr lang="ru-RU" sz="2585" dirty="0">
              <a:solidFill>
                <a:schemeClr val="bg1"/>
              </a:solidFill>
            </a:endParaRPr>
          </a:p>
        </p:txBody>
      </p:sp>
      <p:sp>
        <p:nvSpPr>
          <p:cNvPr id="7" name="Pentagon 6"/>
          <p:cNvSpPr/>
          <p:nvPr/>
        </p:nvSpPr>
        <p:spPr>
          <a:xfrm>
            <a:off x="1361927" y="1839382"/>
            <a:ext cx="669511" cy="591232"/>
          </a:xfrm>
          <a:prstGeom prst="homePlate">
            <a:avLst/>
          </a:prstGeom>
          <a:solidFill>
            <a:srgbClr val="1E4649"/>
          </a:solidFill>
          <a:ln w="190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ru-RU" sz="2585" dirty="0">
                <a:solidFill>
                  <a:schemeClr val="bg1"/>
                </a:solidFill>
                <a:sym typeface="Wingdings" panose="05000000000000000000" pitchFamily="2" charset="2"/>
              </a:rPr>
              <a:t></a:t>
            </a:r>
            <a:endParaRPr lang="ru-RU" sz="2585" dirty="0">
              <a:solidFill>
                <a:schemeClr val="bg1"/>
              </a:solidFill>
            </a:endParaRPr>
          </a:p>
        </p:txBody>
      </p:sp>
      <p:sp>
        <p:nvSpPr>
          <p:cNvPr id="11" name="Pentagon 10"/>
          <p:cNvSpPr/>
          <p:nvPr/>
        </p:nvSpPr>
        <p:spPr>
          <a:xfrm>
            <a:off x="1360323" y="3333899"/>
            <a:ext cx="671115" cy="520047"/>
          </a:xfrm>
          <a:prstGeom prst="homePlate">
            <a:avLst>
              <a:gd name="adj" fmla="val 31395"/>
            </a:avLst>
          </a:prstGeom>
          <a:solidFill>
            <a:srgbClr val="1E4649"/>
          </a:solidFill>
          <a:ln w="190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ru-RU" sz="2585" dirty="0">
                <a:solidFill>
                  <a:schemeClr val="bg1"/>
                </a:solidFill>
                <a:sym typeface="Wingdings" panose="05000000000000000000" pitchFamily="2" charset="2"/>
              </a:rPr>
              <a:t></a:t>
            </a:r>
            <a:endParaRPr lang="ru-RU" sz="2585" dirty="0">
              <a:solidFill>
                <a:schemeClr val="bg1"/>
              </a:solidFill>
            </a:endParaRPr>
          </a:p>
        </p:txBody>
      </p:sp>
      <p:sp>
        <p:nvSpPr>
          <p:cNvPr id="14" name="Parallelogram 13"/>
          <p:cNvSpPr/>
          <p:nvPr/>
        </p:nvSpPr>
        <p:spPr>
          <a:xfrm>
            <a:off x="1388798" y="4013806"/>
            <a:ext cx="7131116" cy="510601"/>
          </a:xfrm>
          <a:prstGeom prst="parallelogram">
            <a:avLst>
              <a:gd name="adj" fmla="val 32940"/>
            </a:avLst>
          </a:prstGeom>
          <a:solidFill>
            <a:srgbClr val="BBE0E3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9846" rIns="0" bIns="49846" rtlCol="0" anchor="ctr"/>
          <a:lstStyle/>
          <a:p>
            <a:pPr marL="347663"/>
            <a:r>
              <a:rPr lang="ru-RU" sz="1400" b="1" dirty="0" smtClean="0">
                <a:solidFill>
                  <a:srgbClr val="0C1C1D"/>
                </a:solidFill>
              </a:rPr>
              <a:t>Управление бизнесом в целях устойчивого развития</a:t>
            </a:r>
            <a:endParaRPr lang="ru-RU" sz="1400" b="1" dirty="0">
              <a:solidFill>
                <a:srgbClr val="0C1C1D"/>
              </a:solidFill>
            </a:endParaRPr>
          </a:p>
        </p:txBody>
      </p:sp>
      <p:sp>
        <p:nvSpPr>
          <p:cNvPr id="15" name="Pentagon 14"/>
          <p:cNvSpPr/>
          <p:nvPr/>
        </p:nvSpPr>
        <p:spPr>
          <a:xfrm>
            <a:off x="1356808" y="4014097"/>
            <a:ext cx="674630" cy="510601"/>
          </a:xfrm>
          <a:prstGeom prst="homePlate">
            <a:avLst>
              <a:gd name="adj" fmla="val 31395"/>
            </a:avLst>
          </a:prstGeom>
          <a:solidFill>
            <a:srgbClr val="1E4649"/>
          </a:solidFill>
          <a:ln w="190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ru-RU" sz="2585" dirty="0">
                <a:solidFill>
                  <a:schemeClr val="bg1"/>
                </a:solidFill>
                <a:sym typeface="Wingdings" panose="05000000000000000000" pitchFamily="2" charset="2"/>
              </a:rPr>
              <a:t></a:t>
            </a:r>
            <a:endParaRPr lang="ru-RU" sz="2585" dirty="0">
              <a:solidFill>
                <a:schemeClr val="bg1"/>
              </a:solidFill>
            </a:endParaRPr>
          </a:p>
        </p:txBody>
      </p:sp>
      <p:sp>
        <p:nvSpPr>
          <p:cNvPr id="13" name="Parallelogram 12"/>
          <p:cNvSpPr/>
          <p:nvPr/>
        </p:nvSpPr>
        <p:spPr>
          <a:xfrm>
            <a:off x="1408496" y="4628454"/>
            <a:ext cx="7111419" cy="510601"/>
          </a:xfrm>
          <a:prstGeom prst="parallelogram">
            <a:avLst>
              <a:gd name="adj" fmla="val 32940"/>
            </a:avLst>
          </a:prstGeom>
          <a:solidFill>
            <a:srgbClr val="BBE0E3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9846" rIns="0" bIns="49846" rtlCol="0" anchor="ctr"/>
          <a:lstStyle/>
          <a:p>
            <a:pPr indent="357188"/>
            <a:r>
              <a:rPr lang="ru-RU" sz="1400" b="1" dirty="0" smtClean="0">
                <a:solidFill>
                  <a:srgbClr val="0C1C1D"/>
                </a:solidFill>
              </a:rPr>
              <a:t>Социальные аспекты устойчивого развития</a:t>
            </a:r>
            <a:endParaRPr lang="ru-RU" sz="1400" b="1" dirty="0">
              <a:solidFill>
                <a:srgbClr val="0C1C1D"/>
              </a:solidFill>
            </a:endParaRPr>
          </a:p>
        </p:txBody>
      </p:sp>
      <p:sp>
        <p:nvSpPr>
          <p:cNvPr id="16" name="Pentagon 15"/>
          <p:cNvSpPr/>
          <p:nvPr/>
        </p:nvSpPr>
        <p:spPr>
          <a:xfrm>
            <a:off x="1366913" y="4666847"/>
            <a:ext cx="674632" cy="510601"/>
          </a:xfrm>
          <a:prstGeom prst="homePlate">
            <a:avLst>
              <a:gd name="adj" fmla="val 31395"/>
            </a:avLst>
          </a:prstGeom>
          <a:solidFill>
            <a:srgbClr val="1E4649"/>
          </a:solidFill>
          <a:ln w="190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ru-RU" sz="2585" dirty="0">
                <a:solidFill>
                  <a:schemeClr val="bg1"/>
                </a:solidFill>
                <a:sym typeface="Wingdings" panose="05000000000000000000" pitchFamily="2" charset="2"/>
              </a:rPr>
              <a:t></a:t>
            </a:r>
            <a:endParaRPr lang="ru-RU" sz="2585" dirty="0">
              <a:solidFill>
                <a:schemeClr val="bg1"/>
              </a:solidFill>
            </a:endParaRPr>
          </a:p>
        </p:txBody>
      </p:sp>
      <p:sp>
        <p:nvSpPr>
          <p:cNvPr id="17" name="Parallelogram 16"/>
          <p:cNvSpPr/>
          <p:nvPr/>
        </p:nvSpPr>
        <p:spPr>
          <a:xfrm>
            <a:off x="1392629" y="5319164"/>
            <a:ext cx="7076752" cy="510601"/>
          </a:xfrm>
          <a:prstGeom prst="parallelogram">
            <a:avLst>
              <a:gd name="adj" fmla="val 32940"/>
            </a:avLst>
          </a:prstGeom>
          <a:solidFill>
            <a:srgbClr val="BBE0E3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9846" rIns="0" bIns="49846" rtlCol="0" anchor="ctr"/>
          <a:lstStyle/>
          <a:p>
            <a:pPr indent="357188"/>
            <a:r>
              <a:rPr lang="ru-RU" sz="1400" b="1" dirty="0" smtClean="0">
                <a:solidFill>
                  <a:srgbClr val="0C1C1D"/>
                </a:solidFill>
              </a:rPr>
              <a:t>Инструменты управления устойчивым развитием</a:t>
            </a:r>
            <a:endParaRPr lang="ru-RU" sz="1400" b="1" dirty="0">
              <a:solidFill>
                <a:srgbClr val="0C1C1D"/>
              </a:solidFill>
            </a:endParaRPr>
          </a:p>
        </p:txBody>
      </p:sp>
      <p:sp>
        <p:nvSpPr>
          <p:cNvPr id="19" name="Pentagon 18"/>
          <p:cNvSpPr/>
          <p:nvPr/>
        </p:nvSpPr>
        <p:spPr>
          <a:xfrm>
            <a:off x="1361798" y="5330257"/>
            <a:ext cx="669641" cy="510601"/>
          </a:xfrm>
          <a:prstGeom prst="homePlate">
            <a:avLst>
              <a:gd name="adj" fmla="val 31395"/>
            </a:avLst>
          </a:prstGeom>
          <a:solidFill>
            <a:srgbClr val="1E4649"/>
          </a:solidFill>
          <a:ln w="190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ru-RU" sz="2585" dirty="0">
                <a:solidFill>
                  <a:schemeClr val="bg1"/>
                </a:solidFill>
                <a:sym typeface="Wingdings" panose="05000000000000000000" pitchFamily="2" charset="2"/>
              </a:rPr>
              <a:t></a:t>
            </a:r>
            <a:endParaRPr lang="ru-RU" sz="2585" dirty="0">
              <a:solidFill>
                <a:schemeClr val="bg1"/>
              </a:solidFill>
            </a:endParaRPr>
          </a:p>
        </p:txBody>
      </p:sp>
      <p:sp>
        <p:nvSpPr>
          <p:cNvPr id="18" name="Pentagon 6"/>
          <p:cNvSpPr/>
          <p:nvPr/>
        </p:nvSpPr>
        <p:spPr>
          <a:xfrm>
            <a:off x="1360597" y="2632502"/>
            <a:ext cx="670842" cy="564523"/>
          </a:xfrm>
          <a:prstGeom prst="homePlate">
            <a:avLst/>
          </a:prstGeom>
          <a:solidFill>
            <a:srgbClr val="1E4649"/>
          </a:solidFill>
          <a:ln w="190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ru-RU" sz="2585" dirty="0">
                <a:solidFill>
                  <a:schemeClr val="bg1"/>
                </a:solidFill>
                <a:sym typeface="Wingdings" panose="05000000000000000000" pitchFamily="2" charset="2"/>
              </a:rPr>
              <a:t></a:t>
            </a:r>
            <a:endParaRPr lang="ru-RU" sz="2585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35359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6400" y="116632"/>
            <a:ext cx="8063142" cy="576064"/>
          </a:xfrm>
        </p:spPr>
        <p:txBody>
          <a:bodyPr/>
          <a:lstStyle/>
          <a:p>
            <a:r>
              <a:rPr lang="ru-RU" sz="2000" dirty="0" smtClean="0"/>
              <a:t>Методологический подход к изучению устойчивого развития и переходов к нему, предлагаемый авторами монографии </a:t>
            </a:r>
            <a:endParaRPr lang="en-US" sz="2000" dirty="0"/>
          </a:p>
        </p:txBody>
      </p:sp>
      <p:sp>
        <p:nvSpPr>
          <p:cNvPr id="23" name="Isosceles Triangle 22"/>
          <p:cNvSpPr/>
          <p:nvPr/>
        </p:nvSpPr>
        <p:spPr>
          <a:xfrm rot="16200000">
            <a:off x="3372976" y="2543627"/>
            <a:ext cx="3852950" cy="2811950"/>
          </a:xfrm>
          <a:prstGeom prst="triangle">
            <a:avLst>
              <a:gd name="adj" fmla="val 50000"/>
            </a:avLst>
          </a:prstGeom>
          <a:solidFill>
            <a:srgbClr val="E5F2F4"/>
          </a:solidFill>
          <a:ln w="635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sz="1100" b="1" dirty="0">
              <a:solidFill>
                <a:srgbClr val="FFFFFF"/>
              </a:solidFill>
            </a:endParaRPr>
          </a:p>
        </p:txBody>
      </p:sp>
      <p:sp>
        <p:nvSpPr>
          <p:cNvPr id="22" name="Isosceles Triangle 21"/>
          <p:cNvSpPr/>
          <p:nvPr/>
        </p:nvSpPr>
        <p:spPr>
          <a:xfrm rot="5400000">
            <a:off x="2019143" y="2645358"/>
            <a:ext cx="3865215" cy="2811950"/>
          </a:xfrm>
          <a:prstGeom prst="triangle">
            <a:avLst>
              <a:gd name="adj" fmla="val 50000"/>
            </a:avLst>
          </a:prstGeom>
          <a:solidFill>
            <a:srgbClr val="E5F2F4"/>
          </a:solidFill>
          <a:ln w="635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sz="1100" b="1" dirty="0">
              <a:solidFill>
                <a:srgbClr val="FFFFFF"/>
              </a:solidFill>
            </a:endParaRPr>
          </a:p>
        </p:txBody>
      </p:sp>
      <p:sp>
        <p:nvSpPr>
          <p:cNvPr id="4" name="Isosceles Triangle 3"/>
          <p:cNvSpPr/>
          <p:nvPr/>
        </p:nvSpPr>
        <p:spPr>
          <a:xfrm rot="5400000">
            <a:off x="552468" y="3907332"/>
            <a:ext cx="3852950" cy="300264"/>
          </a:xfrm>
          <a:prstGeom prst="triangle">
            <a:avLst/>
          </a:prstGeom>
          <a:solidFill>
            <a:srgbClr val="00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" tIns="49846" rIns="49846" bIns="49846" rtlCol="0" anchor="ctr"/>
          <a:lstStyle/>
          <a:p>
            <a:pPr algn="ctr"/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24" name="Isosceles Triangle 23"/>
          <p:cNvSpPr/>
          <p:nvPr/>
        </p:nvSpPr>
        <p:spPr>
          <a:xfrm rot="16200000">
            <a:off x="4851947" y="3896176"/>
            <a:ext cx="3852950" cy="298575"/>
          </a:xfrm>
          <a:prstGeom prst="triangle">
            <a:avLst/>
          </a:prstGeom>
          <a:solidFill>
            <a:srgbClr val="00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" tIns="49846" rIns="49846" bIns="49846" rtlCol="0" anchor="ctr"/>
          <a:lstStyle/>
          <a:p>
            <a:pPr algn="ctr"/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5" name="Can 4"/>
          <p:cNvSpPr/>
          <p:nvPr/>
        </p:nvSpPr>
        <p:spPr>
          <a:xfrm>
            <a:off x="4026745" y="2518476"/>
            <a:ext cx="1213681" cy="3036064"/>
          </a:xfrm>
          <a:prstGeom prst="can">
            <a:avLst/>
          </a:prstGeom>
          <a:solidFill>
            <a:schemeClr val="bg1"/>
          </a:solidFill>
          <a:ln w="19050">
            <a:solidFill>
              <a:srgbClr val="007C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100" b="1" dirty="0" smtClean="0">
                <a:solidFill>
                  <a:srgbClr val="00338D"/>
                </a:solidFill>
              </a:rPr>
              <a:t>Устойчивое развитие и управление переходом к устойчивому развитию</a:t>
            </a:r>
            <a:endParaRPr lang="en-US" sz="1100" b="1" dirty="0">
              <a:solidFill>
                <a:srgbClr val="00338D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036772" y="2112160"/>
            <a:ext cx="1943623" cy="1101414"/>
          </a:xfrm>
          <a:prstGeom prst="rect">
            <a:avLst/>
          </a:prstGeom>
          <a:solidFill>
            <a:srgbClr val="FFFFFF"/>
          </a:solidFill>
          <a:ln>
            <a:solidFill>
              <a:srgbClr val="007C9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r>
              <a:rPr lang="ru-RU" sz="1100" b="1" dirty="0" smtClean="0">
                <a:solidFill>
                  <a:srgbClr val="00338D"/>
                </a:solidFill>
              </a:rPr>
              <a:t>Предложены и обоснованы основные инструменты  механизма управления устойчивым социальным развитием</a:t>
            </a:r>
            <a:endParaRPr lang="ru-RU" sz="1100" b="1" dirty="0">
              <a:solidFill>
                <a:srgbClr val="00338D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7036773" y="3544172"/>
            <a:ext cx="1943622" cy="1179731"/>
          </a:xfrm>
          <a:prstGeom prst="rect">
            <a:avLst/>
          </a:prstGeom>
          <a:solidFill>
            <a:srgbClr val="FFFFFF"/>
          </a:solidFill>
          <a:ln>
            <a:solidFill>
              <a:srgbClr val="007C9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r>
              <a:rPr lang="ru-RU" sz="1100" b="1" dirty="0" smtClean="0">
                <a:solidFill>
                  <a:srgbClr val="00338D"/>
                </a:solidFill>
              </a:rPr>
              <a:t>Предложены механизмы трансформации бизнес – моделей современных компаний, позволяющие создавать новую ценность</a:t>
            </a:r>
            <a:endParaRPr lang="ru-RU" sz="1100" b="1" dirty="0">
              <a:solidFill>
                <a:srgbClr val="00338D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7036773" y="4965322"/>
            <a:ext cx="1943622" cy="1163793"/>
          </a:xfrm>
          <a:prstGeom prst="rect">
            <a:avLst/>
          </a:prstGeom>
          <a:solidFill>
            <a:srgbClr val="FFFFFF"/>
          </a:solidFill>
          <a:ln>
            <a:solidFill>
              <a:srgbClr val="007C9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r>
              <a:rPr lang="ru-RU" sz="1100" b="1" dirty="0" smtClean="0">
                <a:solidFill>
                  <a:srgbClr val="00338D"/>
                </a:solidFill>
              </a:rPr>
              <a:t>Проанализированы необходимые социальные изменения, сопровождающие переход к устойчивому развитию</a:t>
            </a:r>
            <a:endParaRPr lang="ru-RU" sz="1100" b="1" dirty="0">
              <a:solidFill>
                <a:srgbClr val="00338D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629076" y="3556169"/>
            <a:ext cx="1338067" cy="1102854"/>
          </a:xfrm>
          <a:prstGeom prst="rect">
            <a:avLst/>
          </a:prstGeom>
          <a:solidFill>
            <a:srgbClr val="E5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Анализ и интерпретация теоретических концепций устойчивого развития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5240426" y="3544172"/>
            <a:ext cx="1388706" cy="1090853"/>
          </a:xfrm>
          <a:prstGeom prst="rect">
            <a:avLst/>
          </a:prstGeom>
          <a:solidFill>
            <a:srgbClr val="E5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Формирование практических рекомендаций по переходу к устойчивому развитию в России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50093" y="1023330"/>
            <a:ext cx="8307692" cy="883755"/>
          </a:xfrm>
          <a:prstGeom prst="rect">
            <a:avLst/>
          </a:prstGeom>
          <a:solidFill>
            <a:schemeClr val="accent1">
              <a:lumMod val="25000"/>
            </a:schemeClr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161196">
              <a:spcBef>
                <a:spcPts val="300"/>
              </a:spcBef>
              <a:spcAft>
                <a:spcPts val="300"/>
              </a:spcAft>
            </a:pPr>
            <a:r>
              <a:rPr lang="ru-RU" sz="1100" b="1" dirty="0" smtClean="0">
                <a:solidFill>
                  <a:srgbClr val="FFFFFF"/>
                </a:solidFill>
              </a:rPr>
              <a:t>Представленные материалы, по мнению авторов, будут способствовать формированию более глубокого понимания ключевых положений перехода к устойчивому развитию и позволят реализовать современные технологии управления переходом к устойчивому развитию на практике</a:t>
            </a:r>
            <a:endParaRPr lang="ru-RU" sz="1100" b="1" dirty="0">
              <a:solidFill>
                <a:srgbClr val="FFFFFF"/>
              </a:solidFill>
            </a:endParaRPr>
          </a:p>
        </p:txBody>
      </p:sp>
      <p:grpSp>
        <p:nvGrpSpPr>
          <p:cNvPr id="28" name="NumberTag"/>
          <p:cNvGrpSpPr/>
          <p:nvPr/>
        </p:nvGrpSpPr>
        <p:grpSpPr>
          <a:xfrm>
            <a:off x="159596" y="1049428"/>
            <a:ext cx="459231" cy="393642"/>
            <a:chOff x="352003" y="1063988"/>
            <a:chExt cx="497500" cy="393642"/>
          </a:xfrm>
          <a:solidFill>
            <a:schemeClr val="accent1">
              <a:lumMod val="50000"/>
            </a:schemeClr>
          </a:solidFill>
        </p:grpSpPr>
        <p:sp>
          <p:nvSpPr>
            <p:cNvPr id="29" name="Rectangle 2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52003" y="1073697"/>
              <a:ext cx="369047" cy="295387"/>
            </a:xfrm>
            <a:prstGeom prst="parallelogram">
              <a:avLst>
                <a:gd name="adj" fmla="val 29841"/>
              </a:avLst>
            </a:pr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 anchorCtr="0"/>
            <a:lstStyle/>
            <a:p>
              <a:pPr marL="271463" fontAlgn="base">
                <a:spcBef>
                  <a:spcPct val="50000"/>
                </a:spcBef>
                <a:spcAft>
                  <a:spcPct val="0"/>
                </a:spcAft>
                <a:buClr>
                  <a:srgbClr val="0070C0"/>
                </a:buClr>
                <a:tabLst>
                  <a:tab pos="450850" algn="l"/>
                </a:tabLst>
                <a:defRPr/>
              </a:pPr>
              <a:endParaRPr lang="en-GB" sz="2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435920" y="1063988"/>
              <a:ext cx="413583" cy="393642"/>
            </a:xfrm>
            <a:prstGeom prst="rect">
              <a:avLst/>
            </a:prstGeom>
            <a:grpFill/>
          </p:spPr>
          <p:txBody>
            <a:bodyPr wrap="square" lIns="54000" tIns="54000" rIns="54000" bIns="54000" rtlCol="0">
              <a:noAutofit/>
            </a:bodyPr>
            <a:lstStyle/>
            <a:p>
              <a:r>
                <a:rPr lang="en-US" sz="1600" dirty="0" smtClean="0">
                  <a:solidFill>
                    <a:schemeClr val="bg1"/>
                  </a:solidFill>
                  <a:latin typeface="Arial Black" pitchFamily="34" charset="0"/>
                  <a:cs typeface="Arial" pitchFamily="34" charset="0"/>
                </a:rPr>
                <a:t>!</a:t>
              </a:r>
            </a:p>
          </p:txBody>
        </p:sp>
      </p:grpSp>
      <p:grpSp>
        <p:nvGrpSpPr>
          <p:cNvPr id="38" name="NumberTag"/>
          <p:cNvGrpSpPr/>
          <p:nvPr/>
        </p:nvGrpSpPr>
        <p:grpSpPr>
          <a:xfrm>
            <a:off x="6927709" y="2023127"/>
            <a:ext cx="432181" cy="393642"/>
            <a:chOff x="425539" y="1066220"/>
            <a:chExt cx="468196" cy="393642"/>
          </a:xfrm>
          <a:solidFill>
            <a:srgbClr val="1E4649"/>
          </a:solidFill>
        </p:grpSpPr>
        <p:sp>
          <p:nvSpPr>
            <p:cNvPr id="41" name="Rectangle 2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25539" y="1098162"/>
              <a:ext cx="329045" cy="232476"/>
            </a:xfrm>
            <a:prstGeom prst="parallelogram">
              <a:avLst>
                <a:gd name="adj" fmla="val 29841"/>
              </a:avLst>
            </a:pr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 anchorCtr="0"/>
            <a:lstStyle/>
            <a:p>
              <a:pPr marL="271463" fontAlgn="base">
                <a:spcBef>
                  <a:spcPct val="50000"/>
                </a:spcBef>
                <a:spcAft>
                  <a:spcPct val="0"/>
                </a:spcAft>
                <a:buClr>
                  <a:srgbClr val="0070C0"/>
                </a:buClr>
                <a:tabLst>
                  <a:tab pos="450850" algn="l"/>
                </a:tabLst>
                <a:defRPr/>
              </a:pPr>
              <a:endParaRPr lang="en-GB" sz="2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480152" y="1066220"/>
              <a:ext cx="413583" cy="393642"/>
            </a:xfrm>
            <a:prstGeom prst="rect">
              <a:avLst/>
            </a:prstGeom>
            <a:grpFill/>
          </p:spPr>
          <p:txBody>
            <a:bodyPr wrap="square" lIns="54000" tIns="54000" rIns="54000" bIns="54000" rtlCol="0">
              <a:noAutofit/>
            </a:bodyPr>
            <a:lstStyle/>
            <a:p>
              <a:r>
                <a:rPr lang="en-US" sz="1200" dirty="0" smtClean="0">
                  <a:solidFill>
                    <a:schemeClr val="bg1"/>
                  </a:solidFill>
                  <a:latin typeface="Arial Black" pitchFamily="34" charset="0"/>
                  <a:cs typeface="Arial" pitchFamily="34" charset="0"/>
                </a:rPr>
                <a:t>1</a:t>
              </a:r>
            </a:p>
          </p:txBody>
        </p:sp>
      </p:grpSp>
      <p:grpSp>
        <p:nvGrpSpPr>
          <p:cNvPr id="44" name="NumberTag"/>
          <p:cNvGrpSpPr/>
          <p:nvPr/>
        </p:nvGrpSpPr>
        <p:grpSpPr>
          <a:xfrm>
            <a:off x="6836236" y="3342625"/>
            <a:ext cx="483541" cy="393642"/>
            <a:chOff x="425539" y="1066220"/>
            <a:chExt cx="468196" cy="393642"/>
          </a:xfrm>
          <a:solidFill>
            <a:srgbClr val="1E4649"/>
          </a:solidFill>
        </p:grpSpPr>
        <p:sp>
          <p:nvSpPr>
            <p:cNvPr id="46" name="Rectangle 28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25539" y="1098162"/>
              <a:ext cx="329045" cy="232476"/>
            </a:xfrm>
            <a:prstGeom prst="parallelogram">
              <a:avLst>
                <a:gd name="adj" fmla="val 29841"/>
              </a:avLst>
            </a:pr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 anchorCtr="0"/>
            <a:lstStyle/>
            <a:p>
              <a:pPr marL="271463" fontAlgn="base">
                <a:spcBef>
                  <a:spcPct val="50000"/>
                </a:spcBef>
                <a:spcAft>
                  <a:spcPct val="0"/>
                </a:spcAft>
                <a:buClr>
                  <a:srgbClr val="0070C0"/>
                </a:buClr>
                <a:tabLst>
                  <a:tab pos="450850" algn="l"/>
                </a:tabLst>
                <a:defRPr/>
              </a:pPr>
              <a:endParaRPr lang="en-GB" sz="2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480152" y="1066220"/>
              <a:ext cx="413583" cy="393642"/>
            </a:xfrm>
            <a:prstGeom prst="rect">
              <a:avLst/>
            </a:prstGeom>
            <a:grpFill/>
          </p:spPr>
          <p:txBody>
            <a:bodyPr wrap="square" lIns="54000" tIns="54000" rIns="54000" bIns="54000" rtlCol="0">
              <a:noAutofit/>
            </a:bodyPr>
            <a:lstStyle/>
            <a:p>
              <a:r>
                <a:rPr lang="ru-RU" sz="1200" dirty="0" smtClean="0">
                  <a:solidFill>
                    <a:schemeClr val="bg1"/>
                  </a:solidFill>
                  <a:latin typeface="Arial Black" pitchFamily="34" charset="0"/>
                  <a:cs typeface="Arial" pitchFamily="34" charset="0"/>
                </a:rPr>
                <a:t>2</a:t>
              </a:r>
              <a:endParaRPr lang="en-US" sz="1200" dirty="0" smtClean="0">
                <a:solidFill>
                  <a:schemeClr val="bg1"/>
                </a:solidFill>
                <a:latin typeface="Arial Black" pitchFamily="34" charset="0"/>
                <a:cs typeface="Arial" pitchFamily="34" charset="0"/>
              </a:endParaRPr>
            </a:p>
          </p:txBody>
        </p:sp>
      </p:grpSp>
      <p:grpSp>
        <p:nvGrpSpPr>
          <p:cNvPr id="49" name="NumberTag"/>
          <p:cNvGrpSpPr/>
          <p:nvPr/>
        </p:nvGrpSpPr>
        <p:grpSpPr>
          <a:xfrm>
            <a:off x="6887596" y="4839408"/>
            <a:ext cx="432181" cy="393642"/>
            <a:chOff x="425539" y="1066220"/>
            <a:chExt cx="468196" cy="393642"/>
          </a:xfrm>
          <a:solidFill>
            <a:srgbClr val="1E4649"/>
          </a:solidFill>
        </p:grpSpPr>
        <p:sp>
          <p:nvSpPr>
            <p:cNvPr id="50" name="Rectangle 2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25539" y="1098162"/>
              <a:ext cx="329045" cy="232476"/>
            </a:xfrm>
            <a:prstGeom prst="parallelogram">
              <a:avLst>
                <a:gd name="adj" fmla="val 29841"/>
              </a:avLst>
            </a:pr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 anchorCtr="0"/>
            <a:lstStyle/>
            <a:p>
              <a:pPr marL="271463" fontAlgn="base">
                <a:spcBef>
                  <a:spcPct val="50000"/>
                </a:spcBef>
                <a:spcAft>
                  <a:spcPct val="0"/>
                </a:spcAft>
                <a:buClr>
                  <a:srgbClr val="0070C0"/>
                </a:buClr>
                <a:tabLst>
                  <a:tab pos="450850" algn="l"/>
                </a:tabLst>
                <a:defRPr/>
              </a:pPr>
              <a:endParaRPr lang="en-GB" sz="2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480152" y="1066220"/>
              <a:ext cx="413583" cy="393642"/>
            </a:xfrm>
            <a:prstGeom prst="rect">
              <a:avLst/>
            </a:prstGeom>
            <a:grpFill/>
          </p:spPr>
          <p:txBody>
            <a:bodyPr wrap="square" lIns="54000" tIns="54000" rIns="54000" bIns="54000" rtlCol="0">
              <a:noAutofit/>
            </a:bodyPr>
            <a:lstStyle/>
            <a:p>
              <a:r>
                <a:rPr lang="ru-RU" sz="1200" dirty="0" smtClean="0">
                  <a:solidFill>
                    <a:schemeClr val="bg1"/>
                  </a:solidFill>
                  <a:latin typeface="Arial Black" pitchFamily="34" charset="0"/>
                  <a:cs typeface="Arial" pitchFamily="34" charset="0"/>
                </a:rPr>
                <a:t>3</a:t>
              </a:r>
              <a:endParaRPr lang="en-US" sz="1200" dirty="0" smtClean="0">
                <a:solidFill>
                  <a:schemeClr val="bg1"/>
                </a:solidFill>
                <a:latin typeface="Arial Black" pitchFamily="34" charset="0"/>
                <a:cs typeface="Arial" pitchFamily="34" charset="0"/>
              </a:endParaRPr>
            </a:p>
          </p:txBody>
        </p:sp>
      </p:grpSp>
      <p:sp>
        <p:nvSpPr>
          <p:cNvPr id="35" name="Rectangle 34"/>
          <p:cNvSpPr/>
          <p:nvPr/>
        </p:nvSpPr>
        <p:spPr>
          <a:xfrm>
            <a:off x="458886" y="2023126"/>
            <a:ext cx="1806844" cy="1117226"/>
          </a:xfrm>
          <a:prstGeom prst="rect">
            <a:avLst/>
          </a:prstGeom>
          <a:solidFill>
            <a:srgbClr val="FFFFFF"/>
          </a:solidFill>
          <a:ln>
            <a:solidFill>
              <a:srgbClr val="007C9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r>
              <a:rPr lang="ru-RU" sz="1100" dirty="0" smtClean="0">
                <a:solidFill>
                  <a:srgbClr val="00338D"/>
                </a:solidFill>
              </a:rPr>
              <a:t>История формирования понятия, основные концепции устойчивого развития, реализация принципов устойчивого развития</a:t>
            </a:r>
            <a:endParaRPr lang="ru-RU" sz="1100" dirty="0">
              <a:solidFill>
                <a:srgbClr val="00338D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453933" y="5283788"/>
            <a:ext cx="1806844" cy="845327"/>
          </a:xfrm>
          <a:prstGeom prst="rect">
            <a:avLst/>
          </a:prstGeom>
          <a:solidFill>
            <a:srgbClr val="FFFFFF"/>
          </a:solidFill>
          <a:ln>
            <a:solidFill>
              <a:srgbClr val="007C9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r>
              <a:rPr lang="ru-RU" sz="1100" dirty="0" smtClean="0">
                <a:solidFill>
                  <a:srgbClr val="00338D"/>
                </a:solidFill>
              </a:rPr>
              <a:t>Примеры устойчивого развития в конкретных отраслях (электронный бизнес, строительство и проч.)</a:t>
            </a:r>
            <a:endParaRPr lang="en-US" sz="1100" dirty="0">
              <a:solidFill>
                <a:srgbClr val="00338D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464997" y="3251135"/>
            <a:ext cx="1806844" cy="589596"/>
          </a:xfrm>
          <a:prstGeom prst="rect">
            <a:avLst/>
          </a:prstGeom>
          <a:solidFill>
            <a:srgbClr val="FFFFFF"/>
          </a:solidFill>
          <a:ln>
            <a:solidFill>
              <a:srgbClr val="007C9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r>
              <a:rPr lang="ru-RU" sz="1100" dirty="0">
                <a:solidFill>
                  <a:srgbClr val="00338D"/>
                </a:solidFill>
              </a:rPr>
              <a:t>С</a:t>
            </a:r>
            <a:r>
              <a:rPr lang="ru-RU" sz="1100" dirty="0" smtClean="0">
                <a:solidFill>
                  <a:srgbClr val="00338D"/>
                </a:solidFill>
              </a:rPr>
              <a:t>пособы перехода к устойчивому развитию</a:t>
            </a:r>
          </a:p>
          <a:p>
            <a:pPr algn="ctr"/>
            <a:endParaRPr lang="ru-RU" sz="1100" dirty="0">
              <a:solidFill>
                <a:srgbClr val="00338D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478591" y="4016242"/>
            <a:ext cx="1815508" cy="1087583"/>
          </a:xfrm>
          <a:prstGeom prst="rect">
            <a:avLst/>
          </a:prstGeom>
          <a:solidFill>
            <a:srgbClr val="FFFFFF"/>
          </a:solidFill>
          <a:ln>
            <a:solidFill>
              <a:srgbClr val="007C9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r>
              <a:rPr lang="ru-RU" sz="1100" dirty="0" smtClean="0">
                <a:solidFill>
                  <a:srgbClr val="00338D"/>
                </a:solidFill>
              </a:rPr>
              <a:t>Государственное управление переходом к устойчивому развитию и государственная политика в области «зеленых» инноваций</a:t>
            </a:r>
            <a:endParaRPr lang="ru-RU" sz="1100" dirty="0">
              <a:solidFill>
                <a:srgbClr val="00338D"/>
              </a:solidFill>
            </a:endParaRPr>
          </a:p>
        </p:txBody>
      </p:sp>
      <p:pic>
        <p:nvPicPr>
          <p:cNvPr id="3" name="Изображение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09219" y="3251135"/>
            <a:ext cx="1049049" cy="1443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8323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4977" y="114072"/>
            <a:ext cx="7756977" cy="723546"/>
          </a:xfrm>
        </p:spPr>
        <p:txBody>
          <a:bodyPr/>
          <a:lstStyle/>
          <a:p>
            <a:r>
              <a:rPr lang="ru-RU" sz="2800" dirty="0" smtClean="0"/>
              <a:t>Для кого представляет интерес монография?</a:t>
            </a:r>
            <a:endParaRPr lang="en-US" sz="2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4"/>
          <a:stretch/>
        </p:blipFill>
        <p:spPr>
          <a:xfrm>
            <a:off x="400278" y="1075915"/>
            <a:ext cx="1153559" cy="1406132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1785005" y="942269"/>
            <a:ext cx="6972780" cy="1232836"/>
          </a:xfrm>
          <a:prstGeom prst="rect">
            <a:avLst/>
          </a:prstGeom>
          <a:solidFill>
            <a:schemeClr val="accent1">
              <a:lumMod val="25000"/>
            </a:schemeClr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r>
              <a:rPr lang="ru-RU" sz="1600" dirty="0">
                <a:solidFill>
                  <a:schemeClr val="bg1"/>
                </a:solidFill>
              </a:rPr>
              <a:t>Авторы выражают надежду, что монография поможет читателям более точно оценить состояние и тенденции управления устойчивым развитием в России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184089" y="3644645"/>
            <a:ext cx="2824615" cy="540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rgbClr val="007C9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Для преподавателей, студентов и слушателей  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84089" y="4390741"/>
            <a:ext cx="2824615" cy="1837356"/>
          </a:xfrm>
          <a:prstGeom prst="rect">
            <a:avLst/>
          </a:prstGeom>
          <a:solidFill>
            <a:srgbClr val="FFFFFF"/>
          </a:solidFill>
          <a:ln>
            <a:solidFill>
              <a:srgbClr val="007C9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rgbClr val="00338D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71450" indent="-171450" algn="l"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ru-RU" altLang="ko-KR" sz="1100" b="0" dirty="0" smtClean="0">
                <a:solidFill>
                  <a:schemeClr val="tx1"/>
                </a:solidFill>
              </a:rPr>
              <a:t>Монография является серьезным инструментом поддержки целого ряда управленческих дисциплин</a:t>
            </a:r>
          </a:p>
          <a:p>
            <a:pPr marL="171450" indent="-171450" algn="l"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ru-RU" altLang="ko-KR" sz="1100" b="0" dirty="0" smtClean="0">
                <a:solidFill>
                  <a:schemeClr val="tx1"/>
                </a:solidFill>
              </a:rPr>
              <a:t>В монографии упорядочена терминология в области устойчивого развития</a:t>
            </a:r>
          </a:p>
          <a:p>
            <a:pPr marL="171450" indent="-171450" algn="l"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ru-RU" altLang="ko-KR" sz="1100" b="0" dirty="0" smtClean="0">
                <a:solidFill>
                  <a:schemeClr val="tx1"/>
                </a:solidFill>
              </a:rPr>
              <a:t>Содержит ряд новых концепций, не освещавшихся ранее в российской литературе</a:t>
            </a:r>
            <a:endParaRPr lang="ru-RU" altLang="ko-KR" sz="1100" b="0" dirty="0">
              <a:solidFill>
                <a:schemeClr val="tx1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3136842" y="2603763"/>
            <a:ext cx="2808178" cy="679697"/>
          </a:xfrm>
          <a:prstGeom prst="rect">
            <a:avLst/>
          </a:prstGeom>
          <a:solidFill>
            <a:srgbClr val="3C8C93"/>
          </a:solidFill>
          <a:ln>
            <a:solidFill>
              <a:srgbClr val="007C9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r>
              <a:rPr lang="ru-RU" sz="1100" b="1" dirty="0">
                <a:solidFill>
                  <a:schemeClr val="bg1"/>
                </a:solidFill>
              </a:rPr>
              <a:t>Для руководителей государственных структур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173235" y="3367912"/>
            <a:ext cx="2806418" cy="1495148"/>
          </a:xfrm>
          <a:prstGeom prst="rect">
            <a:avLst/>
          </a:prstGeom>
          <a:solidFill>
            <a:srgbClr val="FFFFFF"/>
          </a:solidFill>
          <a:ln>
            <a:solidFill>
              <a:srgbClr val="007C9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rgbClr val="00338D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71450" indent="-171450" algn="l">
              <a:buClr>
                <a:srgbClr val="00338D"/>
              </a:buClr>
              <a:buFont typeface="Arial"/>
              <a:buChar char="•"/>
            </a:pPr>
            <a:r>
              <a:rPr lang="ru-RU" altLang="ko-KR" sz="1100" b="0" dirty="0">
                <a:solidFill>
                  <a:schemeClr val="tx1"/>
                </a:solidFill>
              </a:rPr>
              <a:t>Предложен ряд решений в области государственной поддержки управления устойчивым социальным развитием государства в целом, регионов и муниципальных образований</a:t>
            </a:r>
          </a:p>
          <a:p>
            <a:pPr marL="171450" indent="-171450" algn="l">
              <a:buClr>
                <a:srgbClr val="00338D"/>
              </a:buClr>
              <a:buFont typeface="Arial"/>
              <a:buChar char="•"/>
            </a:pPr>
            <a:r>
              <a:rPr lang="ru-RU" altLang="ko-KR" sz="1100" b="0" dirty="0">
                <a:solidFill>
                  <a:schemeClr val="tx1"/>
                </a:solidFill>
              </a:rPr>
              <a:t>Предложены принципы формирования политики «зеленых инноваций</a:t>
            </a:r>
            <a:r>
              <a:rPr lang="ru-RU" altLang="ko-KR" sz="1100" b="0" dirty="0" smtClean="0">
                <a:solidFill>
                  <a:schemeClr val="tx1"/>
                </a:solidFill>
              </a:rPr>
              <a:t>»</a:t>
            </a:r>
            <a:endParaRPr lang="ru-RU" altLang="ko-KR" sz="1100" b="0" dirty="0">
              <a:solidFill>
                <a:schemeClr val="tx1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3173235" y="4891714"/>
            <a:ext cx="2824615" cy="396000"/>
          </a:xfrm>
          <a:prstGeom prst="rect">
            <a:avLst/>
          </a:prstGeom>
          <a:solidFill>
            <a:srgbClr val="3C8C93"/>
          </a:solidFill>
          <a:ln>
            <a:solidFill>
              <a:srgbClr val="007C9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Для магистров и аспирантов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3136842" y="5390479"/>
            <a:ext cx="2824615" cy="951551"/>
          </a:xfrm>
          <a:prstGeom prst="rect">
            <a:avLst/>
          </a:prstGeom>
          <a:solidFill>
            <a:srgbClr val="FFFFFF"/>
          </a:solidFill>
          <a:ln>
            <a:solidFill>
              <a:srgbClr val="007C9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rgbClr val="00338D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buClr>
                <a:srgbClr val="00338D"/>
              </a:buClr>
            </a:pPr>
            <a:r>
              <a:rPr lang="ru-RU" altLang="ko-KR" sz="1000" b="0" dirty="0" smtClean="0">
                <a:solidFill>
                  <a:schemeClr val="tx1"/>
                </a:solidFill>
              </a:rPr>
              <a:t>Показаны возможности продолжения исследований, на базе представленного, структурной динамики перехода к устойчивому развитию, факторов способствующих переходу к устойчивому развитию  </a:t>
            </a:r>
            <a:endParaRPr lang="ru-RU" altLang="ko-KR" sz="1000" b="0" dirty="0">
              <a:solidFill>
                <a:schemeClr val="tx1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6089594" y="2333763"/>
            <a:ext cx="2887458" cy="540000"/>
          </a:xfrm>
          <a:prstGeom prst="rect">
            <a:avLst/>
          </a:prstGeom>
          <a:solidFill>
            <a:srgbClr val="3C8C93"/>
          </a:solidFill>
          <a:ln>
            <a:solidFill>
              <a:srgbClr val="007C9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Для практиков бизнеса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6089594" y="2941277"/>
            <a:ext cx="2887458" cy="1143099"/>
          </a:xfrm>
          <a:prstGeom prst="rect">
            <a:avLst/>
          </a:prstGeom>
          <a:solidFill>
            <a:srgbClr val="FFFFFF"/>
          </a:solidFill>
          <a:ln>
            <a:solidFill>
              <a:srgbClr val="007C9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rgbClr val="00338D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71450" indent="-171450" algn="l"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ru-RU" altLang="ko-KR" sz="1100" b="0" dirty="0" smtClean="0">
                <a:solidFill>
                  <a:schemeClr val="tx1"/>
                </a:solidFill>
              </a:rPr>
              <a:t>Предложен механизм </a:t>
            </a:r>
            <a:r>
              <a:rPr lang="ru-RU" altLang="ko-KR" sz="1100" b="0" dirty="0">
                <a:solidFill>
                  <a:schemeClr val="tx1"/>
                </a:solidFill>
              </a:rPr>
              <a:t>трансформации современных </a:t>
            </a:r>
            <a:r>
              <a:rPr lang="ru-RU" altLang="ko-KR" sz="1100" b="0" dirty="0" smtClean="0">
                <a:solidFill>
                  <a:schemeClr val="tx1"/>
                </a:solidFill>
              </a:rPr>
              <a:t>бизнес – моделей компаний в различных отраслях, позволяющий сформировать новую ценность для потребителей и инновационный продукт</a:t>
            </a:r>
            <a:endParaRPr lang="ru-RU" altLang="ko-KR" sz="1100" b="0" dirty="0">
              <a:solidFill>
                <a:schemeClr val="tx1"/>
              </a:solidFill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6089594" y="4120741"/>
            <a:ext cx="2887458" cy="474934"/>
          </a:xfrm>
          <a:prstGeom prst="rect">
            <a:avLst/>
          </a:prstGeom>
          <a:solidFill>
            <a:srgbClr val="3C8C93"/>
          </a:solidFill>
          <a:ln>
            <a:solidFill>
              <a:srgbClr val="007C9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Для </a:t>
            </a:r>
            <a:r>
              <a:rPr lang="ru-RU" sz="1100" b="1" dirty="0">
                <a:solidFill>
                  <a:schemeClr val="bg1"/>
                </a:solidFill>
              </a:rPr>
              <a:t>науки и научных сотрудников</a:t>
            </a:r>
          </a:p>
          <a:p>
            <a:pPr algn="ctr"/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089594" y="4654165"/>
            <a:ext cx="2887458" cy="1687865"/>
          </a:xfrm>
          <a:prstGeom prst="rect">
            <a:avLst/>
          </a:prstGeom>
          <a:solidFill>
            <a:srgbClr val="FFFFFF"/>
          </a:solidFill>
          <a:ln>
            <a:solidFill>
              <a:srgbClr val="007C9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srgbClr val="00338D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buClr>
                <a:srgbClr val="00338D"/>
              </a:buClr>
            </a:pPr>
            <a:r>
              <a:rPr lang="ru-RU" altLang="ko-KR" sz="1000" b="0" dirty="0" smtClean="0">
                <a:solidFill>
                  <a:schemeClr val="tx1"/>
                </a:solidFill>
              </a:rPr>
              <a:t>Раскрыты концепции: многоуровневой системы перехода, концепции социотехнических переходов</a:t>
            </a:r>
          </a:p>
          <a:p>
            <a:pPr algn="l">
              <a:buClr>
                <a:srgbClr val="00338D"/>
              </a:buClr>
            </a:pPr>
            <a:r>
              <a:rPr lang="ru-RU" altLang="ko-KR" sz="1000" b="0" dirty="0" smtClean="0">
                <a:solidFill>
                  <a:schemeClr val="tx1"/>
                </a:solidFill>
              </a:rPr>
              <a:t>Даны направления дальнейших исследований по формированию методологических подходов в области концентрации усилий на тех направлениях, которые позволяют внедрить новые технологии, запускающие изменения в смежных областях бизнеса и др. уровнях управления   </a:t>
            </a:r>
            <a:endParaRPr lang="ru-RU" altLang="ko-KR" sz="1000" b="0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025748" y="2418080"/>
            <a:ext cx="4295335" cy="294640"/>
          </a:xfrm>
          <a:prstGeom prst="rect">
            <a:avLst/>
          </a:prstGeom>
          <a:noFill/>
        </p:spPr>
        <p:txBody>
          <a:bodyPr wrap="none" lIns="54000" tIns="54000" rIns="54000" bIns="54000" rtlCol="0">
            <a:noAutofit/>
          </a:bodyPr>
          <a:lstStyle/>
          <a:p>
            <a:endParaRPr lang="ru-RU" sz="9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06819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Содержимое 9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-148059" b="-148059"/>
          <a:stretch/>
        </p:blipFill>
        <p:spPr>
          <a:xfrm>
            <a:off x="3575050" y="1529972"/>
            <a:ext cx="5111750" cy="5853113"/>
          </a:xfrm>
        </p:spPr>
      </p:pic>
      <p:sp>
        <p:nvSpPr>
          <p:cNvPr id="7" name="Текст 6"/>
          <p:cNvSpPr>
            <a:spLocks noGrp="1"/>
          </p:cNvSpPr>
          <p:nvPr>
            <p:ph type="body" sz="half" idx="2"/>
          </p:nvPr>
        </p:nvSpPr>
        <p:spPr>
          <a:xfrm>
            <a:off x="457200" y="958890"/>
            <a:ext cx="3008313" cy="5167274"/>
          </a:xfrm>
        </p:spPr>
        <p:txBody>
          <a:bodyPr/>
          <a:lstStyle/>
          <a:p>
            <a:r>
              <a:rPr lang="ru-RU" sz="1800" dirty="0" smtClean="0"/>
              <a:t>Авторы благодарны всем, кто оказывал содействие в работе над монографией и подготовке ее к публикации.</a:t>
            </a:r>
          </a:p>
          <a:p>
            <a:endParaRPr lang="ru-RU" sz="1800" dirty="0"/>
          </a:p>
          <a:p>
            <a:r>
              <a:rPr lang="ru-RU" sz="1800" dirty="0" smtClean="0"/>
              <a:t>Особая благодарность – издателю ООО «Издательский дом «Реальная экономика».</a:t>
            </a:r>
            <a:endParaRPr lang="ru-RU" sz="1800" dirty="0"/>
          </a:p>
        </p:txBody>
      </p:sp>
      <p:pic>
        <p:nvPicPr>
          <p:cNvPr id="11" name="Изображение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5715" y="596899"/>
            <a:ext cx="4646332" cy="2266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0359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азвание 4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772400" cy="2357153"/>
          </a:xfrm>
        </p:spPr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b="1" dirty="0" smtClean="0"/>
              <a:t>Благодарим </a:t>
            </a:r>
            <a:r>
              <a:rPr lang="ru-RU" b="1" dirty="0" smtClean="0"/>
              <a:t>за внимание!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5301338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Mali"/>
  <p:tag name="COUNTRY" val="Mali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Greenland"/>
  <p:tag name="COUNTRY" val="Greenlan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Greenland"/>
  <p:tag name="COUNTRY" val="Greenlan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hile"/>
  <p:tag name="COUNTRY" val="Chi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Venezuela"/>
  <p:tag name="COUNTRY" val="Venezuel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Ecuador"/>
  <p:tag name="COUNTRY" val="Ecuado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araguay"/>
  <p:tag name="COUNTRY" val="Paraguay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hile"/>
  <p:tag name="COUNTRY" val="Chi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hile"/>
  <p:tag name="COUNTRY" val="Chi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razil"/>
  <p:tag name="COUNTRY" val="Brazil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razil"/>
  <p:tag name="COUNTRY" val="Brazi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Tunisia"/>
  <p:tag name="COUNTRY" val="Tunisi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razil"/>
  <p:tag name="COUNTRY" val="Brazil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razil"/>
  <p:tag name="COUNTRY" val="Brazil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razil"/>
  <p:tag name="COUNTRY" val="Brazil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razil"/>
  <p:tag name="COUNTRY" val="Brazil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razil"/>
  <p:tag name="COUNTRY" val="Brazil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olombia"/>
  <p:tag name="COUNTRY" val="Colombi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olivia"/>
  <p:tag name="COUNTRY" val="Bolivi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Uruguay"/>
  <p:tag name="COUNTRY" val="Uruguay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Guyana"/>
  <p:tag name="COUNTRY" val="Guyan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nch Guiana"/>
  <p:tag name="COUNTRY" val="French Guia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Egypt"/>
  <p:tag name="COUNTRY" val="Egypt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eru"/>
  <p:tag name="COUNTRY" val="Peru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Argentina"/>
  <p:tag name="COUNTRY" val="Argentin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Argentina"/>
  <p:tag name="COUNTRY" val="Argentin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uriname"/>
  <p:tag name="COUNTRY" val="Surinam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Venezuela"/>
  <p:tag name="COUNTRY" val="Venezuel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Venezuela"/>
  <p:tag name="COUNTRY" val="Venezuel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Venezuela"/>
  <p:tag name="COUNTRY" val="Venezuel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Nicaragua"/>
  <p:tag name="COUNTRY" val="Nicaragu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anama"/>
  <p:tag name="COUNTRY" val="Panam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Guatemala"/>
  <p:tag name="COUNTRY" val="Guatema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Algeria"/>
  <p:tag name="COUNTRY" val="Algeri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elize"/>
  <p:tag name="COUNTRY" val="Beliz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El Salvador"/>
  <p:tag name="COUNTRY" val="El Salvado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osta Rica"/>
  <p:tag name="COUNTRY" val="Costa Ric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Honduras"/>
  <p:tag name="COUNTRY" val="Honduras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Mexico"/>
  <p:tag name="COUNTRY" val="Mexico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13"/>
  <p:tag name="COUNTRY" val="Freeform 313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14"/>
  <p:tag name="COUNTRY" val="Freeform 31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15"/>
  <p:tag name="COUNTRY" val="Freeform 315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16"/>
  <p:tag name="COUNTRY" val="Freeform 316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17"/>
  <p:tag name="COUNTRY" val="Freeform 31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Mauritania"/>
  <p:tag name="COUNTRY" val="Mauritani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18"/>
  <p:tag name="COUNTRY" val="Freeform 318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19"/>
  <p:tag name="COUNTRY" val="Freeform 319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20"/>
  <p:tag name="COUNTRY" val="Freeform 32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21"/>
  <p:tag name="COUNTRY" val="Freeform 32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22"/>
  <p:tag name="COUNTRY" val="Freeform 32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23"/>
  <p:tag name="COUNTRY" val="Freeform 323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24"/>
  <p:tag name="COUNTRY" val="Freeform 32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25"/>
  <p:tag name="COUNTRY" val="Freeform 32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26"/>
  <p:tag name="COUNTRY" val="Freeform 326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27"/>
  <p:tag name="COUNTRY" val="Freeform 32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Morocco"/>
  <p:tag name="COUNTRY" val="Morocco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28"/>
  <p:tag name="COUNTRY" val="Freeform 328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29"/>
  <p:tag name="COUNTRY" val="Freeform 329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Jamaica"/>
  <p:tag name="COUNTRY" val="Jamaic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Dominican Republic"/>
  <p:tag name="COUNTRY" val="Dominican Republic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32"/>
  <p:tag name="COUNTRY" val="Freeform 33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33"/>
  <p:tag name="COUNTRY" val="Freeform 33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34"/>
  <p:tag name="COUNTRY" val="Freeform 33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35"/>
  <p:tag name="COUNTRY" val="Freeform 335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36"/>
  <p:tag name="COUNTRY" val="Freeform 336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uerto Rico"/>
  <p:tag name="COUNTRY" val="Puerto Rico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omalia"/>
  <p:tag name="COUNTRY" val="Somali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41"/>
  <p:tag name="COUNTRY" val="Freeform 34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42"/>
  <p:tag name="COUNTRY" val="Freeform 34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43"/>
  <p:tag name="COUNTRY" val="Freeform 34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44"/>
  <p:tag name="COUNTRY" val="Freeform 34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45"/>
  <p:tag name="COUNTRY" val="Freeform 34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46"/>
  <p:tag name="COUNTRY" val="Freeform 346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Kuba"/>
  <p:tag name="COUNTRY" val="Kub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48"/>
  <p:tag name="COUNTRY" val="Freeform 348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49"/>
  <p:tag name="COUNTRY" val="Freeform 349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50"/>
  <p:tag name="COUNTRY" val="Freeform 35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udan"/>
  <p:tag name="COUNTRY" val="Suda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351"/>
  <p:tag name="COUNTRY" val="Freeform 35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Haiti"/>
  <p:tag name="COUNTRY" val="Haiti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Haiti"/>
  <p:tag name="COUNTRY" val="Haiti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Niger"/>
  <p:tag name="COUNTRY" val="Niger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Ethiopia"/>
  <p:tag name="COUNTRY" val="Ethiopi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BRARYTYPE" val="BuildIn"/>
  <p:tag name="NAME" val="World"/>
  <p:tag name="TYPEID" val="17b165d8-8ac7-48aa-bd11-2de6e52e9083"/>
  <p:tag name="CATEGORY" val="Default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Libya"/>
  <p:tag name="COUNTRY" val="Liby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nada"/>
  <p:tag name="COUNTRY" val="Canad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USA"/>
  <p:tag name="COUNTRY" val="US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USA"/>
  <p:tag name="COUNTRY" val="US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USA"/>
  <p:tag name="COUNTRY" val="US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USA"/>
  <p:tag name="COUNTRY" val="US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USA"/>
  <p:tag name="COUNTRY" val="US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USA"/>
  <p:tag name="COUNTRY" val="US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USA"/>
  <p:tag name="COUNTRY" val="US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USA"/>
  <p:tag name="COUNTRY" val="US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Western Sahara"/>
  <p:tag name="COUNTRY" val="Western Sahar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USA"/>
  <p:tag name="COUNTRY" val="US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USA"/>
  <p:tag name="COUNTRY" val="US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valbard and Jan Mayen"/>
  <p:tag name="COUNTRY" val="Svalbard and Jan Mayen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valbard and Jan Mayen"/>
  <p:tag name="COUNTRY" val="Svalbard and Jan Mayen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valbard and Jan Mayen"/>
  <p:tag name="COUNTRY" val="Svalbard and Jan Mayen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valbard and Jan Mayen"/>
  <p:tag name="COUNTRY" val="Svalbard and Jan Mayen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valbard and Jan Mayen"/>
  <p:tag name="COUNTRY" val="Svalbard and Jan Mayen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valbard and Jan Mayen"/>
  <p:tag name="COUNTRY" val="Svalbard and Jan Mayen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celand"/>
  <p:tag name="COUNTRY" val="Iceland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Russia"/>
  <p:tag name="COUNTRY" val="Russi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waziland"/>
  <p:tag name="COUNTRY" val="Swaziland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Austria"/>
  <p:tag name="COUNTRY" val="Austri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Andorra"/>
  <p:tag name="COUNTRY" val="Andorr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Liechtenstein"/>
  <p:tag name="COUNTRY" val="Liechtenstei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Luxembourg"/>
  <p:tag name="COUNTRY" val="Luxembour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witzerland"/>
  <p:tag name="COUNTRY" val="Switzerland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elgium"/>
  <p:tag name="COUNTRY" val="Belgium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pain"/>
  <p:tag name="COUNTRY" val="Spain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Netherland"/>
  <p:tag name="COUNTRY" val="Netherland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ortugal"/>
  <p:tag name="COUNTRY" val="Portugal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Germany"/>
  <p:tag name="COUNTRY" val="Germany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outh African Republic"/>
  <p:tag name="COUNTRY" val="South African Republic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reland"/>
  <p:tag name="COUNTRY" val="Ireland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Ukraine"/>
  <p:tag name="COUNTRY" val="Ukrain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Moldova"/>
  <p:tag name="COUNTRY" val="Moldov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elarus"/>
  <p:tag name="COUNTRY" val="Belarus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Greece"/>
  <p:tag name="COUNTRY" val="Greec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Greece"/>
  <p:tag name="COUNTRY" val="Greec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Hungary"/>
  <p:tag name="COUNTRY" val="Hungary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oland"/>
  <p:tag name="COUNTRY" val="Poland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Latvia"/>
  <p:tag name="COUNTRY" val="Latvi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zech Republic"/>
  <p:tag name="COUNTRY" val="Czech Republic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Malawi"/>
  <p:tag name="COUNTRY" val="Malawi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ulgaria"/>
  <p:tag name="COUNTRY" val="Bulgari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roatia"/>
  <p:tag name="COUNTRY" val="Croati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Albania"/>
  <p:tag name="COUNTRY" val="Albani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Lithuania"/>
  <p:tag name="COUNTRY" val="Lithuani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erbia"/>
  <p:tag name="COUNTRY" val="Serbi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lovakia"/>
  <p:tag name="COUNTRY" val="Slovaki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lovenia"/>
  <p:tag name="COUNTRY" val="Sloveni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Macedonia"/>
  <p:tag name="COUNTRY" val="Macedoni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Romania"/>
  <p:tag name="COUNTRY" val="Romani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Estonia"/>
  <p:tag name="COUNTRY" val="Estoni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Madagascar"/>
  <p:tag name="COUNTRY" val="Madagascar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inland"/>
  <p:tag name="COUNTRY" val="Finland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Denmark"/>
  <p:tag name="COUNTRY" val="Denmark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Norway"/>
  <p:tag name="COUNTRY" val="Norway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weden"/>
  <p:tag name="COUNTRY" val="Sweden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osnia and Herzegovina"/>
  <p:tag name="COUNTRY" val="Bosnia and Herzegovin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roatia"/>
  <p:tag name="COUNTRY" val="Croati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UK"/>
  <p:tag name="COUNTRY" val="UK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UK"/>
  <p:tag name="COUNTRY" val="UK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ance"/>
  <p:tag name="COUNTRY" val="Franc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ance"/>
  <p:tag name="COUNTRY" val="Franc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Lesotho"/>
  <p:tag name="COUNTRY" val="Lesotho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taly"/>
  <p:tag name="COUNTRY" val="Italy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taly"/>
  <p:tag name="COUNTRY" val="Italy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taly"/>
  <p:tag name="COUNTRY" val="Italy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Azerbaijan"/>
  <p:tag name="COUNTRY" val="Azerbaija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Azerbaijan"/>
  <p:tag name="COUNTRY" val="Azerbaija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Lebanon"/>
  <p:tag name="COUNTRY" val="Leban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Kuwait"/>
  <p:tag name="COUNTRY" val="Kuwait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audi Arabia"/>
  <p:tag name="COUNTRY" val="Saudi Arabi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Yemen"/>
  <p:tag name="COUNTRY" val="Yemen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United Arab Emirates"/>
  <p:tag name="COUNTRY" val="United Arab Emirate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Zambia"/>
  <p:tag name="COUNTRY" val="Zambi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ahrain"/>
  <p:tag name="COUNTRY" val="Bahrain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raq"/>
  <p:tag name="COUNTRY" val="Ira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Qatar"/>
  <p:tag name="COUNTRY" val="Qatar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United Arab Emirates"/>
  <p:tag name="COUNTRY" val="United Arab Emirates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Jordan"/>
  <p:tag name="COUNTRY" val="Jordan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yria"/>
  <p:tag name="COUNTRY" val="Syri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yprus"/>
  <p:tag name="COUNTRY" val="Cyprus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Turkey"/>
  <p:tag name="COUNTRY" val="Turkey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Turkey"/>
  <p:tag name="COUNTRY" val="Turkey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ran"/>
  <p:tag name="COUNTRY" val="Ira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Zimbabwe"/>
  <p:tag name="COUNTRY" val="Zimbabw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ran"/>
  <p:tag name="COUNTRY" val="Iran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Oman"/>
  <p:tag name="COUNTRY" val="Oman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Oman"/>
  <p:tag name="COUNTRY" val="Oman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srael"/>
  <p:tag name="COUNTRY" val="Israel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srael"/>
  <p:tag name="COUNTRY" val="Israel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srael"/>
  <p:tag name="COUNTRY" val="Israel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Russia"/>
  <p:tag name="COUNTRY" val="Russi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Russia"/>
  <p:tag name="COUNTRY" val="Russi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Russia"/>
  <p:tag name="COUNTRY" val="Russi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Russia"/>
  <p:tag name="COUNTRY" val="Russi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Namibia"/>
  <p:tag name="COUNTRY" val="Namibi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Russia"/>
  <p:tag name="COUNTRY" val="Russi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Russia"/>
  <p:tag name="COUNTRY" val="Russi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Russia"/>
  <p:tag name="COUNTRY" val="Russi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Russia"/>
  <p:tag name="COUNTRY" val="Russi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Russia"/>
  <p:tag name="COUNTRY" val="Russi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Russia"/>
  <p:tag name="COUNTRY" val="Russi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Russia"/>
  <p:tag name="COUNTRY" val="Russi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Russia"/>
  <p:tag name="COUNTRY" val="Russi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Russia"/>
  <p:tag name="COUNTRY" val="Russi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Russia"/>
  <p:tag name="COUNTRY" val="Russ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Mozambique"/>
  <p:tag name="COUNTRY" val="Mozambiqu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Russia"/>
  <p:tag name="COUNTRY" val="Russi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Japan"/>
  <p:tag name="COUNTRY" val="Japan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Japan"/>
  <p:tag name="COUNTRY" val="Japan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Japan"/>
  <p:tag name="COUNTRY" val="Japa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Japan"/>
  <p:tag name="COUNTRY" val="Japa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98"/>
  <p:tag name="COUNTRY" val="Freeform 98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ndia"/>
  <p:tag name="COUNTRY" val="Indi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akistan"/>
  <p:tag name="COUNTRY" val="Pakista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hutan"/>
  <p:tag name="COUNTRY" val="Bhutan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Nepal"/>
  <p:tag name="COUNTRY" val="Nepa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otswana"/>
  <p:tag name="COUNTRY" val="Botswan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angladesh"/>
  <p:tag name="COUNTRY" val="Bangladesh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ri Lanka"/>
  <p:tag name="COUNTRY" val="Sri La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hilippines"/>
  <p:tag name="COUNTRY" val="Philippines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hilippines"/>
  <p:tag name="COUNTRY" val="Philippines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hilippines"/>
  <p:tag name="COUNTRY" val="Philippines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hilippines"/>
  <p:tag name="COUNTRY" val="Philippines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hilippines"/>
  <p:tag name="COUNTRY" val="Philippines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hilippines"/>
  <p:tag name="COUNTRY" val="Philippines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hilippines"/>
  <p:tag name="COUNTRY" val="Philippines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hilippines"/>
  <p:tag name="COUNTRY" val="Philippine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Guinea"/>
  <p:tag name="COUNTRY" val="Guine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hilippines"/>
  <p:tag name="COUNTRY" val="Philippines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hilippines"/>
  <p:tag name="COUNTRY" val="Philippines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hilippines"/>
  <p:tag name="COUNTRY" val="Philippines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Angola"/>
  <p:tag name="COUNTRY" val="Angol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Angola"/>
  <p:tag name="COUNTRY" val="Angol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ATEGORY" val="NEW Desig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entral African Republic"/>
  <p:tag name="COUNTRY" val="Central African Republic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Gabon"/>
  <p:tag name="COUNTRY" val="Gab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The Gambia"/>
  <p:tag name="COUNTRY" val="The Gambi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Guinea-Bissau"/>
  <p:tag name="COUNTRY" val="Guinea-Bissau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Liberia"/>
  <p:tag name="COUNTRY" val="Liberi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Nigeria"/>
  <p:tag name="COUNTRY" val="Niger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ongo"/>
  <p:tag name="COUNTRY" val="Con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Ghana"/>
  <p:tag name="COUNTRY" val="Ghan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Equatorial Guinea"/>
  <p:tag name="COUNTRY" val="Equatorial Guine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urundi"/>
  <p:tag name="COUNTRY" val="Burundi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Uganda"/>
  <p:tag name="COUNTRY" val="Ugand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Rwada"/>
  <p:tag name="COUNTRY" val="Rwad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Kenya"/>
  <p:tag name="COUNTRY" val="Ken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enegal"/>
  <p:tag name="COUNTRY" val="Senegal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Tanzania (United Republic)"/>
  <p:tag name="COUNTRY" val="Tanzania (United Republic)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ierra Leone"/>
  <p:tag name="COUNTRY" val="Sierra Leo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ote d'Ivore"/>
  <p:tag name="COUNTRY" val="Cote d'Ivor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Togo"/>
  <p:tag name="COUNTRY" val="T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urkina Faso"/>
  <p:tag name="COUNTRY" val="Burkina Faso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DR Congo"/>
  <p:tag name="COUNTRY" val="DR Congo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Tasmania"/>
  <p:tag name="COUNTRY" val="Tasmani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Australia"/>
  <p:tag name="COUNTRY" val="Australi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New Zeland"/>
  <p:tag name="COUNTRY" val="New Zelan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New Zeland"/>
  <p:tag name="COUNTRY" val="New Zelan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New Caledonia"/>
  <p:tag name="COUNTRY" val="New Caledoni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Kyrzystan"/>
  <p:tag name="COUNTRY" val="Kyrzysta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Tajikistan"/>
  <p:tag name="COUNTRY" val="Tajikista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60"/>
  <p:tag name="COUNTRY" val="Freeform 6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61"/>
  <p:tag name="COUNTRY" val="Freeform 6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meroon"/>
  <p:tag name="COUNTRY" val="Camer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Freeform 62"/>
  <p:tag name="COUNTRY" val="Freeform 6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Afganistan"/>
  <p:tag name="COUNTRY" val="Afganista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ndonesia"/>
  <p:tag name="COUNTRY" val="Indonesi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ndonesia"/>
  <p:tag name="COUNTRY" val="Indonesi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ndonesia"/>
  <p:tag name="COUNTRY" val="Indonesi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apua New Guinea"/>
  <p:tag name="COUNTRY" val="Papua New Guine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apua New Guinea"/>
  <p:tag name="COUNTRY" val="Papua New Guine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runei"/>
  <p:tag name="COUNTRY" val="Brunei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ndonesia"/>
  <p:tag name="COUNTRY" val="Indonesi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Timor-Leste"/>
  <p:tag name="COUNTRY" val="Timor-Les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Benin"/>
  <p:tag name="COUNTRY" val="Beni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ndonesia"/>
  <p:tag name="COUNTRY" val="Indonesi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ndonesia"/>
  <p:tag name="COUNTRY" val="Indonesi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ndonesia"/>
  <p:tag name="COUNTRY" val="Indonesi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ndonesia"/>
  <p:tag name="COUNTRY" val="Indonesi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Indonesia"/>
  <p:tag name="COUNTRY" val="Indonesi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Papua New Guinea"/>
  <p:tag name="COUNTRY" val="Papua New Guine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Vietnam"/>
  <p:tag name="COUNTRY" val="Vietnam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Malaysia"/>
  <p:tag name="COUNTRY" val="Malaysi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Malaysia"/>
  <p:tag name="COUNTRY" val="Malaysi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Thailand"/>
  <p:tag name="COUNTRY" val="Thailan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had"/>
  <p:tag name="COUNTRY" val="Cha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Myanmar (Burma)"/>
  <p:tag name="COUNTRY" val="Myanmar (Burma)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ambodia"/>
  <p:tag name="COUNTRY" val="Cambodi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Laos"/>
  <p:tag name="COUNTRY" val="Laos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Taiwan"/>
  <p:tag name="COUNTRY" val="Taiwa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outh Korea"/>
  <p:tag name="COUNTRY" val="South Kore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Mongolia"/>
  <p:tag name="COUNTRY" val="Mongoli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China"/>
  <p:tag name="COUNTRY" val="Chi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South Korea"/>
  <p:tag name="COUNTRY" val="Chin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North Korea"/>
  <p:tag name="COUNTRY" val="North Kore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Djibouti"/>
  <p:tag name="COUNTRY" val="Djibouti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Euritania"/>
  <p:tag name="COUNTRY" val="Euritani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Armenia"/>
  <p:tag name="COUNTRY" val="Armeni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Kazakhstan"/>
  <p:tag name="COUNTRY" val="Kazakhsta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Georgia"/>
  <p:tag name="COUNTRY" val="Georgi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Uzbekistan"/>
  <p:tag name="COUNTRY" val="Uzbekista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Turkmenistan"/>
  <p:tag name="COUNTRY" val="Turkmenista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Greenland"/>
  <p:tag name="COUNTRY" val="Greenlan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Greenland"/>
  <p:tag name="COUNTRY" val="Greenlan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Greenland"/>
  <p:tag name="COUNTRY" val="Greenlan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Greenland"/>
  <p:tag name="COUNTRY" val="Greenlan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GION" val="Greenland"/>
  <p:tag name="COUNTRY" val="Greenland"/>
</p:tagLst>
</file>

<file path=ppt/theme/theme1.xml><?xml version="1.0" encoding="utf-8"?>
<a:theme xmlns:a="http://schemas.openxmlformats.org/drawingml/2006/main" name="Презентация3">
  <a:themeElements>
    <a:clrScheme name="Тема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Тема Office">
      <a:majorFont>
        <a:latin typeface="Trebuchet MS"/>
        <a:ea typeface="Arial"/>
        <a:cs typeface=""/>
      </a:majorFont>
      <a:minorFont>
        <a:latin typeface="Trebuchet MS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</a:defRPr>
        </a:defPPr>
      </a:lstStyle>
    </a:lnDef>
  </a:objectDefaults>
  <a:extraClrSchemeLst>
    <a:extraClrScheme>
      <a:clrScheme name="Тема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1">
  <a:themeElements>
    <a:clrScheme name="Тема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Тема Office">
      <a:majorFont>
        <a:latin typeface="Trebuchet MS"/>
        <a:ea typeface="Arial"/>
        <a:cs typeface=""/>
      </a:majorFont>
      <a:minorFont>
        <a:latin typeface="Trebuchet MS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</a:defRPr>
        </a:defPPr>
      </a:lstStyle>
    </a:lnDef>
  </a:objectDefaults>
  <a:extraClrSchemeLst>
    <a:extraClrScheme>
      <a:clrScheme name="Тема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Презентация3">
  <a:themeElements>
    <a:clrScheme name="Тема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Тема Office">
      <a:majorFont>
        <a:latin typeface="Trebuchet MS"/>
        <a:ea typeface="Arial"/>
        <a:cs typeface=""/>
      </a:majorFont>
      <a:minorFont>
        <a:latin typeface="Trebuchet MS"/>
        <a:ea typeface="Ari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</a:defRPr>
        </a:defPPr>
      </a:lstStyle>
    </a:lnDef>
  </a:objectDefaults>
  <a:extraClrSchemeLst>
    <a:extraClrScheme>
      <a:clrScheme name="Тема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8BBC1A0FF4511C4EB9DCA7637082EE21" ma:contentTypeVersion="1" ma:contentTypeDescription="Создание документа." ma:contentTypeScope="" ma:versionID="8a04f7e40ca8541b9ac9469e518bd7e6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2a10c82831e5d625bbb0173136b0368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Дата начала расписания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Дата окончания расписания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75E82553-A769-4066-8BDB-2C566EFC9967}"/>
</file>

<file path=customXml/itemProps2.xml><?xml version="1.0" encoding="utf-8"?>
<ds:datastoreItem xmlns:ds="http://schemas.openxmlformats.org/officeDocument/2006/customXml" ds:itemID="{580C5808-1D5D-41D1-ADFD-AFCC3684E43E}"/>
</file>

<file path=customXml/itemProps3.xml><?xml version="1.0" encoding="utf-8"?>
<ds:datastoreItem xmlns:ds="http://schemas.openxmlformats.org/officeDocument/2006/customXml" ds:itemID="{84FDA675-97A0-4925-AFF1-76C2D43572BD}"/>
</file>

<file path=docProps/app.xml><?xml version="1.0" encoding="utf-8"?>
<Properties xmlns="http://schemas.openxmlformats.org/officeDocument/2006/extended-properties" xmlns:vt="http://schemas.openxmlformats.org/officeDocument/2006/docPropsVTypes">
  <Template>Презентация3.thmx</Template>
  <TotalTime>220</TotalTime>
  <Words>563</Words>
  <Application>Microsoft Macintosh PowerPoint</Application>
  <PresentationFormat>Экран (4:3)</PresentationFormat>
  <Paragraphs>79</Paragraphs>
  <Slides>7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1" baseType="lpstr">
      <vt:lpstr>Презентация3</vt:lpstr>
      <vt:lpstr>Тема1</vt:lpstr>
      <vt:lpstr>1_Презентация3</vt:lpstr>
      <vt:lpstr>think-cell Slide</vt:lpstr>
      <vt:lpstr>УПРАВЛЕНИЕ УСТОЙЧИВЫМ РАЗВИТИЕМ</vt:lpstr>
      <vt:lpstr> Особенности монографии</vt:lpstr>
      <vt:lpstr>Разделы монографии</vt:lpstr>
      <vt:lpstr>Методологический подход к изучению устойчивого развития и переходов к нему, предлагаемый авторами монографии </vt:lpstr>
      <vt:lpstr>Для кого представляет интерес монография?</vt:lpstr>
      <vt:lpstr>Презентация PowerPoint</vt:lpstr>
      <vt:lpstr> Благодарим за внимание!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УПРАВЛЕНИЕ УСТОЙЧИВЫМ РАЗВИТИЕМ</dc:title>
  <dc:creator>NATALIE LINDER</dc:creator>
  <cp:lastModifiedBy>NATALIE LINDER</cp:lastModifiedBy>
  <cp:revision>17</cp:revision>
  <dcterms:created xsi:type="dcterms:W3CDTF">2015-11-29T17:28:39Z</dcterms:created>
  <dcterms:modified xsi:type="dcterms:W3CDTF">2015-11-30T21:5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BC1A0FF4511C4EB9DCA7637082EE21</vt:lpwstr>
  </property>
</Properties>
</file>